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ppt/theme/themeOverride6.xml" ContentType="application/vnd.openxmlformats-officedocument.themeOverride+xml"/>
  <Override PartName="/ppt/tags/tag8.xml" ContentType="application/vnd.openxmlformats-officedocument.presentationml.tags+xml"/>
  <Override PartName="/ppt/theme/themeOverride7.xml" ContentType="application/vnd.openxmlformats-officedocument.themeOverride+xml"/>
  <Override PartName="/ppt/tags/tag9.xml" ContentType="application/vnd.openxmlformats-officedocument.presentationml.tags+xml"/>
  <Override PartName="/ppt/theme/themeOverride8.xml" ContentType="application/vnd.openxmlformats-officedocument.themeOverride+xml"/>
  <Override PartName="/ppt/tags/tag10.xml" ContentType="application/vnd.openxmlformats-officedocument.presentationml.tags+xml"/>
  <Override PartName="/ppt/theme/themeOverride9.xml" ContentType="application/vnd.openxmlformats-officedocument.themeOverride+xml"/>
  <Override PartName="/ppt/tags/tag11.xml" ContentType="application/vnd.openxmlformats-officedocument.presentationml.tags+xml"/>
  <Override PartName="/ppt/theme/themeOverride10.xml" ContentType="application/vnd.openxmlformats-officedocument.themeOverride+xml"/>
  <Override PartName="/ppt/tags/tag12.xml" ContentType="application/vnd.openxmlformats-officedocument.presentationml.tags+xml"/>
  <Override PartName="/ppt/theme/themeOverride11.xml" ContentType="application/vnd.openxmlformats-officedocument.themeOverride+xml"/>
  <Override PartName="/ppt/tags/tag13.xml" ContentType="application/vnd.openxmlformats-officedocument.presentationml.tags+xml"/>
  <Override PartName="/ppt/theme/themeOverride12.xml" ContentType="application/vnd.openxmlformats-officedocument.themeOverride+xml"/>
  <Override PartName="/ppt/tags/tag14.xml" ContentType="application/vnd.openxmlformats-officedocument.presentationml.tags+xml"/>
  <Override PartName="/ppt/theme/themeOverride13.xml" ContentType="application/vnd.openxmlformats-officedocument.themeOverride+xml"/>
  <Override PartName="/ppt/tags/tag15.xml" ContentType="application/vnd.openxmlformats-officedocument.presentationml.tags+xml"/>
  <Override PartName="/ppt/theme/themeOverride14.xml" ContentType="application/vnd.openxmlformats-officedocument.themeOverride+xml"/>
  <Override PartName="/ppt/tags/tag16.xml" ContentType="application/vnd.openxmlformats-officedocument.presentationml.tags+xml"/>
  <Override PartName="/ppt/theme/themeOverride15.xml" ContentType="application/vnd.openxmlformats-officedocument.themeOverride+xml"/>
  <Override PartName="/ppt/tags/tag17.xml" ContentType="application/vnd.openxmlformats-officedocument.presentationml.tags+xml"/>
  <Override PartName="/ppt/theme/themeOverride16.xml" ContentType="application/vnd.openxmlformats-officedocument.themeOverride+xml"/>
  <Override PartName="/ppt/tags/tag18.xml" ContentType="application/vnd.openxmlformats-officedocument.presentationml.tags+xml"/>
  <Override PartName="/ppt/theme/themeOverride17.xml" ContentType="application/vnd.openxmlformats-officedocument.themeOverride+xml"/>
  <Override PartName="/ppt/tags/tag19.xml" ContentType="application/vnd.openxmlformats-officedocument.presentationml.tags+xml"/>
  <Override PartName="/ppt/theme/themeOverride18.xml" ContentType="application/vnd.openxmlformats-officedocument.themeOverride+xml"/>
  <Override PartName="/ppt/tags/tag20.xml" ContentType="application/vnd.openxmlformats-officedocument.presentationml.tags+xml"/>
  <Override PartName="/ppt/theme/themeOverride19.xml" ContentType="application/vnd.openxmlformats-officedocument.themeOverr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ags/tag22.xml" ContentType="application/vnd.openxmlformats-officedocument.presentationml.tags+xml"/>
  <Override PartName="/ppt/theme/themeOverride22.xml" ContentType="application/vnd.openxmlformats-officedocument.themeOverride+xml"/>
  <Override PartName="/ppt/tags/tag23.xml" ContentType="application/vnd.openxmlformats-officedocument.presentationml.tags+xml"/>
  <Override PartName="/ppt/theme/themeOverride23.xml" ContentType="application/vnd.openxmlformats-officedocument.themeOverride+xml"/>
  <Override PartName="/ppt/tags/tag24.xml" ContentType="application/vnd.openxmlformats-officedocument.presentationml.tags+xml"/>
  <Override PartName="/ppt/theme/themeOverride24.xml" ContentType="application/vnd.openxmlformats-officedocument.themeOverride+xml"/>
  <Override PartName="/ppt/tags/tag25.xml" ContentType="application/vnd.openxmlformats-officedocument.presentationml.tags+xml"/>
  <Override PartName="/ppt/theme/themeOverride25.xml" ContentType="application/vnd.openxmlformats-officedocument.themeOverride+xml"/>
  <Override PartName="/ppt/tags/tag26.xml" ContentType="application/vnd.openxmlformats-officedocument.presentationml.tags+xml"/>
  <Override PartName="/ppt/theme/themeOverride26.xml" ContentType="application/vnd.openxmlformats-officedocument.themeOverride+xml"/>
  <Override PartName="/ppt/tags/tag27.xml" ContentType="application/vnd.openxmlformats-officedocument.presentationml.tags+xml"/>
  <Override PartName="/ppt/theme/themeOverride27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269" r:id="rId3"/>
    <p:sldId id="258" r:id="rId4"/>
    <p:sldId id="301" r:id="rId5"/>
    <p:sldId id="273" r:id="rId6"/>
    <p:sldId id="274" r:id="rId7"/>
    <p:sldId id="275" r:id="rId8"/>
    <p:sldId id="277" r:id="rId9"/>
    <p:sldId id="278" r:id="rId10"/>
    <p:sldId id="279" r:id="rId11"/>
    <p:sldId id="280" r:id="rId12"/>
    <p:sldId id="281" r:id="rId13"/>
    <p:sldId id="1744" r:id="rId14"/>
    <p:sldId id="284" r:id="rId15"/>
    <p:sldId id="285" r:id="rId16"/>
    <p:sldId id="300" r:id="rId17"/>
    <p:sldId id="287" r:id="rId18"/>
    <p:sldId id="289" r:id="rId19"/>
    <p:sldId id="1797" r:id="rId20"/>
    <p:sldId id="291" r:id="rId21"/>
    <p:sldId id="292" r:id="rId22"/>
    <p:sldId id="293" r:id="rId23"/>
    <p:sldId id="295" r:id="rId24"/>
    <p:sldId id="296" r:id="rId25"/>
    <p:sldId id="297" r:id="rId26"/>
    <p:sldId id="299" r:id="rId27"/>
    <p:sldId id="261" r:id="rId28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012"/>
    <a:srgbClr val="ECEFF4"/>
    <a:srgbClr val="2B2F3B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609" autoAdjust="0"/>
  </p:normalViewPr>
  <p:slideViewPr>
    <p:cSldViewPr snapToGrid="0">
      <p:cViewPr varScale="1">
        <p:scale>
          <a:sx n="70" d="100"/>
          <a:sy n="70" d="100"/>
        </p:scale>
        <p:origin x="283" y="5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66" d="100"/>
        <a:sy n="66" d="100"/>
      </p:scale>
      <p:origin x="0" y="-366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553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6788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ŝ1îḋè">
            <a:extLst>
              <a:ext uri="{FF2B5EF4-FFF2-40B4-BE49-F238E27FC236}">
                <a16:creationId xmlns:a16="http://schemas.microsoft.com/office/drawing/2014/main" id="{4F833D28-6FD6-4AC4-98F2-E6315EFE867C}"/>
              </a:ext>
            </a:extLst>
          </p:cNvPr>
          <p:cNvSpPr/>
          <p:nvPr userDrawn="1"/>
        </p:nvSpPr>
        <p:spPr>
          <a:xfrm>
            <a:off x="957897" y="612564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pic>
        <p:nvPicPr>
          <p:cNvPr id="7" name="图片 6" descr="建筑的摆设布局&#10;&#10;描述已自动生成">
            <a:extLst>
              <a:ext uri="{FF2B5EF4-FFF2-40B4-BE49-F238E27FC236}">
                <a16:creationId xmlns:a16="http://schemas.microsoft.com/office/drawing/2014/main" id="{3B0DE106-49D5-40DC-A127-F11CBB1EA8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1"/>
          </a:xfrm>
          <a:prstGeom prst="rect">
            <a:avLst/>
          </a:prstGeom>
        </p:spPr>
      </p:pic>
      <p:pic>
        <p:nvPicPr>
          <p:cNvPr id="8" name="Picture 18_1" descr="建筑的摆设布局&#10;&#10;描述已自动生成">
            <a:extLst>
              <a:ext uri="{FF2B5EF4-FFF2-40B4-BE49-F238E27FC236}">
                <a16:creationId xmlns:a16="http://schemas.microsoft.com/office/drawing/2014/main" id="{8090DD69-BA70-4D36-9D99-CEF24E5B33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111215"/>
            <a:ext cx="10845800" cy="369332"/>
          </a:xfrm>
          <a:noFill/>
        </p:spPr>
        <p:txBody>
          <a:bodyPr wrap="square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lang="en-US" sz="2000" spc="600" dirty="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lvl="0" algn="ctr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vert="horz" lIns="91440" tIns="45720" rIns="91440" bIns="45720" rtlCol="0" anchor="b">
            <a:normAutofit/>
          </a:bodyPr>
          <a:lstStyle>
            <a:lvl1pPr marL="857250" indent="-857250" algn="ctr">
              <a:buFont typeface="Arial" panose="020B0604020202020204" pitchFamily="34" charset="0"/>
              <a:buNone/>
              <a:defRPr lang="zh-CN" altLang="en-US" sz="6000" u="sng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</a:lstStyle>
          <a:p>
            <a:pPr marL="0" lvl="0" indent="0" algn="ctr" fontAlgn="b"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9" name="图形 8">
            <a:extLst>
              <a:ext uri="{FF2B5EF4-FFF2-40B4-BE49-F238E27FC236}">
                <a16:creationId xmlns:a16="http://schemas.microsoft.com/office/drawing/2014/main" id="{09227143-1E9E-425A-A23B-0AEB11F481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77355" y="793283"/>
            <a:ext cx="2637290" cy="52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770213" y="389164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771329" y="478699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18_1" descr="建筑的摆设布局&#10;&#10;描述已自动生成">
            <a:extLst>
              <a:ext uri="{FF2B5EF4-FFF2-40B4-BE49-F238E27FC236}">
                <a16:creationId xmlns:a16="http://schemas.microsoft.com/office/drawing/2014/main" id="{13AE0335-D9D8-48F5-9DDA-99D77AB368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-276113"/>
            <a:ext cx="12192000" cy="3152134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7CAB11BE-F6D9-4EBA-9FBC-67140521B7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71729" y="5682344"/>
            <a:ext cx="2320690" cy="462232"/>
          </a:xfrm>
          <a:prstGeom prst="rect">
            <a:avLst/>
          </a:prstGeom>
        </p:spPr>
      </p:pic>
      <p:sp>
        <p:nvSpPr>
          <p:cNvPr id="6" name="î$ľîďê">
            <a:extLst>
              <a:ext uri="{FF2B5EF4-FFF2-40B4-BE49-F238E27FC236}">
                <a16:creationId xmlns:a16="http://schemas.microsoft.com/office/drawing/2014/main" id="{F6FD8F89-04ED-4165-9B82-132E4BA1B32F}"/>
              </a:ext>
            </a:extLst>
          </p:cNvPr>
          <p:cNvSpPr/>
          <p:nvPr userDrawn="1"/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îṥḻíďe">
            <a:extLst>
              <a:ext uri="{FF2B5EF4-FFF2-40B4-BE49-F238E27FC236}">
                <a16:creationId xmlns:a16="http://schemas.microsoft.com/office/drawing/2014/main" id="{2D5907BD-60E0-41B1-8C01-0FCC3047856D}"/>
              </a:ext>
            </a:extLst>
          </p:cNvPr>
          <p:cNvSpPr/>
          <p:nvPr userDrawn="1"/>
        </p:nvSpPr>
        <p:spPr>
          <a:xfrm>
            <a:off x="0" y="1653506"/>
            <a:ext cx="10121900" cy="5204493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 flip="none" rotWithShape="1">
            <a:gsLst>
              <a:gs pos="1700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accent4">
                  <a:alpha val="75000"/>
                </a:schemeClr>
              </a:gs>
            </a:gsLst>
            <a:lin ang="5400000" scaled="1"/>
            <a:tileRect/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$ľíḓè">
            <a:extLst>
              <a:ext uri="{FF2B5EF4-FFF2-40B4-BE49-F238E27FC236}">
                <a16:creationId xmlns:a16="http://schemas.microsoft.com/office/drawing/2014/main" id="{1AB419AC-73DB-431C-BE92-CD899BC3FAD1}"/>
              </a:ext>
            </a:extLst>
          </p:cNvPr>
          <p:cNvSpPr/>
          <p:nvPr userDrawn="1"/>
        </p:nvSpPr>
        <p:spPr>
          <a:xfrm>
            <a:off x="1770697" y="793283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5" name="Picture 18_1" descr="建筑的摆设布局&#10;&#10;描述已自动生成">
            <a:extLst>
              <a:ext uri="{FF2B5EF4-FFF2-40B4-BE49-F238E27FC236}">
                <a16:creationId xmlns:a16="http://schemas.microsoft.com/office/drawing/2014/main" id="{6FEF89AD-DB89-4344-BB70-D93C3819A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形 10">
            <a:extLst>
              <a:ext uri="{FF2B5EF4-FFF2-40B4-BE49-F238E27FC236}">
                <a16:creationId xmlns:a16="http://schemas.microsoft.com/office/drawing/2014/main" id="{060D238B-2981-475F-8E3A-6CD94B3BA2F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86875" y="511345"/>
            <a:ext cx="2233612" cy="4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19.xml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26.xml"/><Relationship Id="rId4" Type="http://schemas.openxmlformats.org/officeDocument/2006/relationships/image" Target="../media/image5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šļiḍ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îs1íḍ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šḷiḓ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ľïḑê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www.hust.edu.cn</a:t>
            </a:r>
          </a:p>
        </p:txBody>
      </p:sp>
      <p:sp>
        <p:nvSpPr>
          <p:cNvPr id="4" name="isḻîḍé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华中科技大学</a:t>
            </a:r>
            <a:r>
              <a:rPr lang="zh-CN" altLang="en-US" dirty="0">
                <a:solidFill>
                  <a:schemeClr val="accent2"/>
                </a:solidFill>
              </a:rPr>
              <a:t>通用模板</a:t>
            </a:r>
          </a:p>
        </p:txBody>
      </p:sp>
      <p:sp>
        <p:nvSpPr>
          <p:cNvPr id="8" name="işľîḍê">
            <a:extLst>
              <a:ext uri="{FF2B5EF4-FFF2-40B4-BE49-F238E27FC236}">
                <a16:creationId xmlns:a16="http://schemas.microsoft.com/office/drawing/2014/main" id="{0AFE6246-6A79-4877-AC7C-E87C6D4C648A}"/>
              </a:ext>
            </a:extLst>
          </p:cNvPr>
          <p:cNvSpPr txBox="1">
            <a:spLocks/>
          </p:cNvSpPr>
          <p:nvPr/>
        </p:nvSpPr>
        <p:spPr>
          <a:xfrm>
            <a:off x="3794261" y="3882366"/>
            <a:ext cx="4537650" cy="312601"/>
          </a:xfrm>
          <a:custGeom>
            <a:avLst/>
            <a:gdLst/>
            <a:ahLst/>
            <a:cxnLst/>
            <a:rect l="l" t="t" r="r" b="b"/>
            <a:pathLst>
              <a:path w="4537650" h="312601">
                <a:moveTo>
                  <a:pt x="119660" y="233658"/>
                </a:moveTo>
                <a:cubicBezTo>
                  <a:pt x="119660" y="233658"/>
                  <a:pt x="119601" y="233717"/>
                  <a:pt x="119484" y="233834"/>
                </a:cubicBezTo>
                <a:cubicBezTo>
                  <a:pt x="119367" y="233952"/>
                  <a:pt x="119308" y="234010"/>
                  <a:pt x="119308" y="234010"/>
                </a:cubicBezTo>
                <a:lnTo>
                  <a:pt x="117898" y="238239"/>
                </a:lnTo>
                <a:cubicBezTo>
                  <a:pt x="118838" y="236360"/>
                  <a:pt x="119425" y="234833"/>
                  <a:pt x="119660" y="233658"/>
                </a:cubicBezTo>
                <a:close/>
                <a:moveTo>
                  <a:pt x="4230688" y="206169"/>
                </a:moveTo>
                <a:cubicBezTo>
                  <a:pt x="4236797" y="209928"/>
                  <a:pt x="4239734" y="211573"/>
                  <a:pt x="4239499" y="211103"/>
                </a:cubicBezTo>
                <a:cubicBezTo>
                  <a:pt x="4243728" y="216506"/>
                  <a:pt x="4248310" y="219913"/>
                  <a:pt x="4253243" y="221323"/>
                </a:cubicBezTo>
                <a:cubicBezTo>
                  <a:pt x="4255358" y="222263"/>
                  <a:pt x="4259117" y="222733"/>
                  <a:pt x="4264521" y="222733"/>
                </a:cubicBezTo>
                <a:cubicBezTo>
                  <a:pt x="4268985" y="222733"/>
                  <a:pt x="4273273" y="222263"/>
                  <a:pt x="4277385" y="221323"/>
                </a:cubicBezTo>
                <a:cubicBezTo>
                  <a:pt x="4281496" y="220383"/>
                  <a:pt x="4284844" y="218973"/>
                  <a:pt x="4287429" y="217094"/>
                </a:cubicBezTo>
                <a:lnTo>
                  <a:pt x="4299411" y="207931"/>
                </a:lnTo>
                <a:cubicBezTo>
                  <a:pt x="4297532" y="211925"/>
                  <a:pt x="4296592" y="216389"/>
                  <a:pt x="4296592" y="221323"/>
                </a:cubicBezTo>
                <a:cubicBezTo>
                  <a:pt x="4296357" y="224612"/>
                  <a:pt x="4295946" y="227255"/>
                  <a:pt x="4295358" y="229253"/>
                </a:cubicBezTo>
                <a:cubicBezTo>
                  <a:pt x="4294771" y="231250"/>
                  <a:pt x="4293185" y="233540"/>
                  <a:pt x="4290601" y="236125"/>
                </a:cubicBezTo>
                <a:cubicBezTo>
                  <a:pt x="4289661" y="237065"/>
                  <a:pt x="4287899" y="238827"/>
                  <a:pt x="4285314" y="241411"/>
                </a:cubicBezTo>
                <a:cubicBezTo>
                  <a:pt x="4282730" y="243996"/>
                  <a:pt x="4280792" y="246345"/>
                  <a:pt x="4279499" y="248460"/>
                </a:cubicBezTo>
                <a:cubicBezTo>
                  <a:pt x="4278207" y="250574"/>
                  <a:pt x="4277561" y="252689"/>
                  <a:pt x="4277561" y="254803"/>
                </a:cubicBezTo>
                <a:cubicBezTo>
                  <a:pt x="4277796" y="257858"/>
                  <a:pt x="4276562" y="260266"/>
                  <a:pt x="4273861" y="262028"/>
                </a:cubicBezTo>
                <a:cubicBezTo>
                  <a:pt x="4271158" y="263790"/>
                  <a:pt x="4267928" y="264671"/>
                  <a:pt x="4264169" y="264671"/>
                </a:cubicBezTo>
                <a:cubicBezTo>
                  <a:pt x="4261114" y="264671"/>
                  <a:pt x="4258530" y="264201"/>
                  <a:pt x="4256415" y="263262"/>
                </a:cubicBezTo>
                <a:cubicBezTo>
                  <a:pt x="4251481" y="261382"/>
                  <a:pt x="4247957" y="259150"/>
                  <a:pt x="4245842" y="256565"/>
                </a:cubicBezTo>
                <a:cubicBezTo>
                  <a:pt x="4243258" y="253041"/>
                  <a:pt x="4241261" y="246874"/>
                  <a:pt x="4239852" y="238063"/>
                </a:cubicBezTo>
                <a:cubicBezTo>
                  <a:pt x="4238442" y="229253"/>
                  <a:pt x="4237619" y="224025"/>
                  <a:pt x="4237384" y="222380"/>
                </a:cubicBezTo>
                <a:cubicBezTo>
                  <a:pt x="4235740" y="215332"/>
                  <a:pt x="4233508" y="209928"/>
                  <a:pt x="4230688" y="206169"/>
                </a:cubicBezTo>
                <a:close/>
                <a:moveTo>
                  <a:pt x="633572" y="190662"/>
                </a:moveTo>
                <a:lnTo>
                  <a:pt x="596567" y="199120"/>
                </a:lnTo>
                <a:cubicBezTo>
                  <a:pt x="597742" y="200530"/>
                  <a:pt x="599152" y="201940"/>
                  <a:pt x="600796" y="203349"/>
                </a:cubicBezTo>
                <a:cubicBezTo>
                  <a:pt x="602206" y="204759"/>
                  <a:pt x="604086" y="205816"/>
                  <a:pt x="606435" y="206521"/>
                </a:cubicBezTo>
                <a:cubicBezTo>
                  <a:pt x="608785" y="207226"/>
                  <a:pt x="610664" y="207578"/>
                  <a:pt x="612074" y="207578"/>
                </a:cubicBezTo>
                <a:cubicBezTo>
                  <a:pt x="619122" y="206639"/>
                  <a:pt x="626289" y="201000"/>
                  <a:pt x="633572" y="190662"/>
                </a:cubicBezTo>
                <a:close/>
                <a:moveTo>
                  <a:pt x="3090736" y="165287"/>
                </a:moveTo>
                <a:lnTo>
                  <a:pt x="3050560" y="170574"/>
                </a:lnTo>
                <a:lnTo>
                  <a:pt x="3069591" y="181147"/>
                </a:lnTo>
                <a:cubicBezTo>
                  <a:pt x="3071705" y="184436"/>
                  <a:pt x="3073115" y="188078"/>
                  <a:pt x="3073820" y="192072"/>
                </a:cubicBezTo>
                <a:cubicBezTo>
                  <a:pt x="3074055" y="193716"/>
                  <a:pt x="3073879" y="194950"/>
                  <a:pt x="3073291" y="195772"/>
                </a:cubicBezTo>
                <a:cubicBezTo>
                  <a:pt x="3072704" y="196594"/>
                  <a:pt x="3071647" y="197593"/>
                  <a:pt x="3070119" y="198768"/>
                </a:cubicBezTo>
                <a:cubicBezTo>
                  <a:pt x="3068592" y="199943"/>
                  <a:pt x="3067476" y="201352"/>
                  <a:pt x="3066771" y="202997"/>
                </a:cubicBezTo>
                <a:lnTo>
                  <a:pt x="3066419" y="203702"/>
                </a:lnTo>
                <a:cubicBezTo>
                  <a:pt x="3073702" y="204642"/>
                  <a:pt x="3083570" y="206521"/>
                  <a:pt x="3096023" y="209341"/>
                </a:cubicBezTo>
                <a:cubicBezTo>
                  <a:pt x="3096257" y="205111"/>
                  <a:pt x="3096375" y="198885"/>
                  <a:pt x="3096375" y="190662"/>
                </a:cubicBezTo>
                <a:cubicBezTo>
                  <a:pt x="3096375" y="184083"/>
                  <a:pt x="3096257" y="178914"/>
                  <a:pt x="3096023" y="175155"/>
                </a:cubicBezTo>
                <a:cubicBezTo>
                  <a:pt x="3096023" y="173981"/>
                  <a:pt x="3095259" y="172277"/>
                  <a:pt x="3093732" y="170045"/>
                </a:cubicBezTo>
                <a:cubicBezTo>
                  <a:pt x="3092205" y="167813"/>
                  <a:pt x="3091206" y="166227"/>
                  <a:pt x="3090736" y="165287"/>
                </a:cubicBezTo>
                <a:close/>
                <a:moveTo>
                  <a:pt x="655070" y="161411"/>
                </a:moveTo>
                <a:cubicBezTo>
                  <a:pt x="664468" y="161411"/>
                  <a:pt x="670929" y="163290"/>
                  <a:pt x="674453" y="167050"/>
                </a:cubicBezTo>
                <a:cubicBezTo>
                  <a:pt x="676333" y="169869"/>
                  <a:pt x="677273" y="173158"/>
                  <a:pt x="677273" y="176917"/>
                </a:cubicBezTo>
                <a:cubicBezTo>
                  <a:pt x="677273" y="180207"/>
                  <a:pt x="676568" y="183144"/>
                  <a:pt x="675158" y="185728"/>
                </a:cubicBezTo>
                <a:cubicBezTo>
                  <a:pt x="678447" y="185258"/>
                  <a:pt x="682559" y="184083"/>
                  <a:pt x="687493" y="182204"/>
                </a:cubicBezTo>
                <a:cubicBezTo>
                  <a:pt x="695011" y="179854"/>
                  <a:pt x="700298" y="178680"/>
                  <a:pt x="703352" y="178680"/>
                </a:cubicBezTo>
                <a:cubicBezTo>
                  <a:pt x="707346" y="178680"/>
                  <a:pt x="711223" y="179854"/>
                  <a:pt x="714982" y="182204"/>
                </a:cubicBezTo>
                <a:cubicBezTo>
                  <a:pt x="720386" y="185493"/>
                  <a:pt x="724733" y="190368"/>
                  <a:pt x="728022" y="196829"/>
                </a:cubicBezTo>
                <a:cubicBezTo>
                  <a:pt x="731311" y="203291"/>
                  <a:pt x="732956" y="208871"/>
                  <a:pt x="732956" y="213570"/>
                </a:cubicBezTo>
                <a:cubicBezTo>
                  <a:pt x="732956" y="215214"/>
                  <a:pt x="732721" y="216506"/>
                  <a:pt x="732251" y="217446"/>
                </a:cubicBezTo>
                <a:cubicBezTo>
                  <a:pt x="730606" y="220031"/>
                  <a:pt x="727611" y="222968"/>
                  <a:pt x="723264" y="226257"/>
                </a:cubicBezTo>
                <a:cubicBezTo>
                  <a:pt x="718918" y="229546"/>
                  <a:pt x="713925" y="231191"/>
                  <a:pt x="708286" y="231191"/>
                </a:cubicBezTo>
                <a:cubicBezTo>
                  <a:pt x="700063" y="231191"/>
                  <a:pt x="691487" y="229194"/>
                  <a:pt x="682559" y="225200"/>
                </a:cubicBezTo>
                <a:cubicBezTo>
                  <a:pt x="690312" y="220266"/>
                  <a:pt x="694189" y="216506"/>
                  <a:pt x="694189" y="213922"/>
                </a:cubicBezTo>
                <a:cubicBezTo>
                  <a:pt x="694189" y="211807"/>
                  <a:pt x="692897" y="210045"/>
                  <a:pt x="690312" y="208636"/>
                </a:cubicBezTo>
                <a:cubicBezTo>
                  <a:pt x="687728" y="207226"/>
                  <a:pt x="683264" y="205464"/>
                  <a:pt x="676920" y="203349"/>
                </a:cubicBezTo>
                <a:cubicBezTo>
                  <a:pt x="666817" y="199825"/>
                  <a:pt x="658359" y="194774"/>
                  <a:pt x="651545" y="188195"/>
                </a:cubicBezTo>
                <a:lnTo>
                  <a:pt x="647669" y="188195"/>
                </a:lnTo>
                <a:lnTo>
                  <a:pt x="636039" y="190310"/>
                </a:lnTo>
                <a:cubicBezTo>
                  <a:pt x="634864" y="194069"/>
                  <a:pt x="634277" y="197945"/>
                  <a:pt x="634277" y="201940"/>
                </a:cubicBezTo>
                <a:cubicBezTo>
                  <a:pt x="634277" y="204054"/>
                  <a:pt x="634512" y="206521"/>
                  <a:pt x="634982" y="209341"/>
                </a:cubicBezTo>
                <a:cubicBezTo>
                  <a:pt x="635451" y="212160"/>
                  <a:pt x="635687" y="214627"/>
                  <a:pt x="635687" y="216741"/>
                </a:cubicBezTo>
                <a:cubicBezTo>
                  <a:pt x="635687" y="219326"/>
                  <a:pt x="635217" y="221910"/>
                  <a:pt x="634277" y="224495"/>
                </a:cubicBezTo>
                <a:cubicBezTo>
                  <a:pt x="634042" y="225200"/>
                  <a:pt x="632750" y="228900"/>
                  <a:pt x="630400" y="235596"/>
                </a:cubicBezTo>
                <a:cubicBezTo>
                  <a:pt x="628051" y="242292"/>
                  <a:pt x="625349" y="246815"/>
                  <a:pt x="622294" y="249165"/>
                </a:cubicBezTo>
                <a:cubicBezTo>
                  <a:pt x="626523" y="249869"/>
                  <a:pt x="630635" y="250222"/>
                  <a:pt x="634629" y="250222"/>
                </a:cubicBezTo>
                <a:cubicBezTo>
                  <a:pt x="641913" y="250222"/>
                  <a:pt x="648080" y="248988"/>
                  <a:pt x="653131" y="246521"/>
                </a:cubicBezTo>
                <a:cubicBezTo>
                  <a:pt x="658183" y="244054"/>
                  <a:pt x="661413" y="240471"/>
                  <a:pt x="662823" y="235772"/>
                </a:cubicBezTo>
                <a:cubicBezTo>
                  <a:pt x="663293" y="233658"/>
                  <a:pt x="661884" y="227197"/>
                  <a:pt x="658594" y="216389"/>
                </a:cubicBezTo>
                <a:cubicBezTo>
                  <a:pt x="662588" y="217799"/>
                  <a:pt x="668110" y="220618"/>
                  <a:pt x="675158" y="224847"/>
                </a:cubicBezTo>
                <a:cubicBezTo>
                  <a:pt x="682207" y="228606"/>
                  <a:pt x="688080" y="231426"/>
                  <a:pt x="692779" y="233305"/>
                </a:cubicBezTo>
                <a:cubicBezTo>
                  <a:pt x="697478" y="235185"/>
                  <a:pt x="702765" y="236125"/>
                  <a:pt x="708638" y="236125"/>
                </a:cubicBezTo>
                <a:lnTo>
                  <a:pt x="708638" y="248460"/>
                </a:lnTo>
                <a:cubicBezTo>
                  <a:pt x="708638" y="255743"/>
                  <a:pt x="707934" y="261676"/>
                  <a:pt x="706524" y="266257"/>
                </a:cubicBezTo>
                <a:cubicBezTo>
                  <a:pt x="705114" y="270839"/>
                  <a:pt x="702295" y="274422"/>
                  <a:pt x="698066" y="277006"/>
                </a:cubicBezTo>
                <a:cubicBezTo>
                  <a:pt x="682324" y="286169"/>
                  <a:pt x="664820" y="290751"/>
                  <a:pt x="645554" y="290751"/>
                </a:cubicBezTo>
                <a:cubicBezTo>
                  <a:pt x="625349" y="290751"/>
                  <a:pt x="606435" y="285875"/>
                  <a:pt x="588814" y="276125"/>
                </a:cubicBezTo>
                <a:cubicBezTo>
                  <a:pt x="571193" y="266375"/>
                  <a:pt x="558270" y="253041"/>
                  <a:pt x="550047" y="236125"/>
                </a:cubicBezTo>
                <a:cubicBezTo>
                  <a:pt x="548403" y="232601"/>
                  <a:pt x="547110" y="228841"/>
                  <a:pt x="546171" y="224847"/>
                </a:cubicBezTo>
                <a:cubicBezTo>
                  <a:pt x="545231" y="220853"/>
                  <a:pt x="544643" y="218269"/>
                  <a:pt x="544408" y="217094"/>
                </a:cubicBezTo>
                <a:cubicBezTo>
                  <a:pt x="542999" y="208401"/>
                  <a:pt x="540884" y="201940"/>
                  <a:pt x="538065" y="197710"/>
                </a:cubicBezTo>
                <a:cubicBezTo>
                  <a:pt x="537595" y="196771"/>
                  <a:pt x="539416" y="197064"/>
                  <a:pt x="543527" y="198592"/>
                </a:cubicBezTo>
                <a:cubicBezTo>
                  <a:pt x="547639" y="200119"/>
                  <a:pt x="551868" y="202057"/>
                  <a:pt x="556215" y="204407"/>
                </a:cubicBezTo>
                <a:cubicBezTo>
                  <a:pt x="560561" y="206756"/>
                  <a:pt x="563322" y="208753"/>
                  <a:pt x="564497" y="210398"/>
                </a:cubicBezTo>
                <a:cubicBezTo>
                  <a:pt x="569666" y="218386"/>
                  <a:pt x="575892" y="225200"/>
                  <a:pt x="583175" y="230838"/>
                </a:cubicBezTo>
                <a:cubicBezTo>
                  <a:pt x="590459" y="236477"/>
                  <a:pt x="598212" y="240941"/>
                  <a:pt x="606435" y="244231"/>
                </a:cubicBezTo>
                <a:cubicBezTo>
                  <a:pt x="602911" y="241411"/>
                  <a:pt x="599974" y="237887"/>
                  <a:pt x="597625" y="233658"/>
                </a:cubicBezTo>
                <a:cubicBezTo>
                  <a:pt x="595275" y="229429"/>
                  <a:pt x="593983" y="225670"/>
                  <a:pt x="593748" y="222380"/>
                </a:cubicBezTo>
                <a:cubicBezTo>
                  <a:pt x="593043" y="209693"/>
                  <a:pt x="592691" y="202292"/>
                  <a:pt x="592691" y="200177"/>
                </a:cubicBezTo>
                <a:lnTo>
                  <a:pt x="574364" y="204054"/>
                </a:lnTo>
                <a:cubicBezTo>
                  <a:pt x="569196" y="205229"/>
                  <a:pt x="562382" y="201235"/>
                  <a:pt x="553924" y="192072"/>
                </a:cubicBezTo>
                <a:cubicBezTo>
                  <a:pt x="550870" y="188782"/>
                  <a:pt x="549342" y="185963"/>
                  <a:pt x="549342" y="183613"/>
                </a:cubicBezTo>
                <a:cubicBezTo>
                  <a:pt x="549342" y="181029"/>
                  <a:pt x="551222" y="179619"/>
                  <a:pt x="554981" y="179384"/>
                </a:cubicBezTo>
                <a:cubicBezTo>
                  <a:pt x="574247" y="178914"/>
                  <a:pt x="599974" y="174215"/>
                  <a:pt x="632162" y="165287"/>
                </a:cubicBezTo>
                <a:cubicBezTo>
                  <a:pt x="635451" y="164113"/>
                  <a:pt x="638506" y="163290"/>
                  <a:pt x="641325" y="162820"/>
                </a:cubicBezTo>
                <a:cubicBezTo>
                  <a:pt x="645319" y="161881"/>
                  <a:pt x="649901" y="161411"/>
                  <a:pt x="655070" y="161411"/>
                </a:cubicBezTo>
                <a:close/>
                <a:moveTo>
                  <a:pt x="66444" y="157534"/>
                </a:moveTo>
                <a:cubicBezTo>
                  <a:pt x="63860" y="157534"/>
                  <a:pt x="60864" y="157769"/>
                  <a:pt x="57457" y="158239"/>
                </a:cubicBezTo>
                <a:cubicBezTo>
                  <a:pt x="54051" y="158709"/>
                  <a:pt x="51290" y="159061"/>
                  <a:pt x="49175" y="159296"/>
                </a:cubicBezTo>
                <a:lnTo>
                  <a:pt x="49175" y="198768"/>
                </a:lnTo>
                <a:cubicBezTo>
                  <a:pt x="52935" y="198298"/>
                  <a:pt x="55754" y="198063"/>
                  <a:pt x="57633" y="198063"/>
                </a:cubicBezTo>
                <a:cubicBezTo>
                  <a:pt x="70556" y="196653"/>
                  <a:pt x="77487" y="195596"/>
                  <a:pt x="78427" y="194891"/>
                </a:cubicBezTo>
                <a:cubicBezTo>
                  <a:pt x="80306" y="193951"/>
                  <a:pt x="82185" y="193364"/>
                  <a:pt x="84066" y="193129"/>
                </a:cubicBezTo>
                <a:lnTo>
                  <a:pt x="85475" y="162468"/>
                </a:lnTo>
                <a:cubicBezTo>
                  <a:pt x="84066" y="161998"/>
                  <a:pt x="82714" y="161411"/>
                  <a:pt x="81422" y="160706"/>
                </a:cubicBezTo>
                <a:cubicBezTo>
                  <a:pt x="80130" y="160001"/>
                  <a:pt x="78896" y="159414"/>
                  <a:pt x="77721" y="158944"/>
                </a:cubicBezTo>
                <a:cubicBezTo>
                  <a:pt x="73962" y="158004"/>
                  <a:pt x="70203" y="157534"/>
                  <a:pt x="66444" y="157534"/>
                </a:cubicBezTo>
                <a:close/>
                <a:moveTo>
                  <a:pt x="4373068" y="140970"/>
                </a:moveTo>
                <a:cubicBezTo>
                  <a:pt x="4363435" y="140970"/>
                  <a:pt x="4348398" y="143320"/>
                  <a:pt x="4327958" y="148019"/>
                </a:cubicBezTo>
                <a:cubicBezTo>
                  <a:pt x="4331247" y="148488"/>
                  <a:pt x="4334654" y="150016"/>
                  <a:pt x="4338178" y="152600"/>
                </a:cubicBezTo>
                <a:cubicBezTo>
                  <a:pt x="4344052" y="150955"/>
                  <a:pt x="4346989" y="150133"/>
                  <a:pt x="4346989" y="150133"/>
                </a:cubicBezTo>
                <a:cubicBezTo>
                  <a:pt x="4351452" y="147549"/>
                  <a:pt x="4356151" y="146256"/>
                  <a:pt x="4361085" y="146256"/>
                </a:cubicBezTo>
                <a:cubicBezTo>
                  <a:pt x="4366724" y="146256"/>
                  <a:pt x="4374125" y="148723"/>
                  <a:pt x="4383288" y="153657"/>
                </a:cubicBezTo>
                <a:cubicBezTo>
                  <a:pt x="4388222" y="156242"/>
                  <a:pt x="4390689" y="160236"/>
                  <a:pt x="4390689" y="165640"/>
                </a:cubicBezTo>
                <a:cubicBezTo>
                  <a:pt x="4390689" y="169634"/>
                  <a:pt x="4389162" y="173158"/>
                  <a:pt x="4386108" y="176213"/>
                </a:cubicBezTo>
                <a:cubicBezTo>
                  <a:pt x="4383053" y="179267"/>
                  <a:pt x="4379294" y="180794"/>
                  <a:pt x="4374830" y="180794"/>
                </a:cubicBezTo>
                <a:cubicBezTo>
                  <a:pt x="4373890" y="180794"/>
                  <a:pt x="4372246" y="180559"/>
                  <a:pt x="4369896" y="180089"/>
                </a:cubicBezTo>
                <a:cubicBezTo>
                  <a:pt x="4364962" y="178680"/>
                  <a:pt x="4359793" y="177975"/>
                  <a:pt x="4354389" y="177975"/>
                </a:cubicBezTo>
                <a:cubicBezTo>
                  <a:pt x="4350161" y="177975"/>
                  <a:pt x="4345931" y="178327"/>
                  <a:pt x="4341702" y="179032"/>
                </a:cubicBezTo>
                <a:cubicBezTo>
                  <a:pt x="4341937" y="181851"/>
                  <a:pt x="4342055" y="186668"/>
                  <a:pt x="4342055" y="193481"/>
                </a:cubicBezTo>
                <a:cubicBezTo>
                  <a:pt x="4346283" y="194656"/>
                  <a:pt x="4352510" y="195478"/>
                  <a:pt x="4360733" y="195948"/>
                </a:cubicBezTo>
                <a:cubicBezTo>
                  <a:pt x="4367782" y="196418"/>
                  <a:pt x="4373361" y="197182"/>
                  <a:pt x="4377473" y="198239"/>
                </a:cubicBezTo>
                <a:cubicBezTo>
                  <a:pt x="4381585" y="199296"/>
                  <a:pt x="4384933" y="201587"/>
                  <a:pt x="4387518" y="205111"/>
                </a:cubicBezTo>
                <a:cubicBezTo>
                  <a:pt x="4388692" y="206756"/>
                  <a:pt x="4389984" y="208871"/>
                  <a:pt x="4391394" y="211455"/>
                </a:cubicBezTo>
                <a:cubicBezTo>
                  <a:pt x="4397973" y="191014"/>
                  <a:pt x="4402437" y="168694"/>
                  <a:pt x="4404786" y="144494"/>
                </a:cubicBezTo>
                <a:cubicBezTo>
                  <a:pt x="4402437" y="146139"/>
                  <a:pt x="4399735" y="146961"/>
                  <a:pt x="4396680" y="146961"/>
                </a:cubicBezTo>
                <a:cubicBezTo>
                  <a:pt x="4393156" y="146961"/>
                  <a:pt x="4389162" y="145787"/>
                  <a:pt x="4384698" y="143437"/>
                </a:cubicBezTo>
                <a:cubicBezTo>
                  <a:pt x="4382114" y="142732"/>
                  <a:pt x="4380292" y="142145"/>
                  <a:pt x="4379236" y="141675"/>
                </a:cubicBezTo>
                <a:cubicBezTo>
                  <a:pt x="4378178" y="141205"/>
                  <a:pt x="4376122" y="140970"/>
                  <a:pt x="4373068" y="140970"/>
                </a:cubicBezTo>
                <a:close/>
                <a:moveTo>
                  <a:pt x="2540172" y="137093"/>
                </a:moveTo>
                <a:cubicBezTo>
                  <a:pt x="2547455" y="142027"/>
                  <a:pt x="2555679" y="144494"/>
                  <a:pt x="2564842" y="144494"/>
                </a:cubicBezTo>
                <a:cubicBezTo>
                  <a:pt x="2567191" y="144494"/>
                  <a:pt x="2569835" y="144318"/>
                  <a:pt x="2572771" y="143966"/>
                </a:cubicBezTo>
                <a:cubicBezTo>
                  <a:pt x="2575708" y="143613"/>
                  <a:pt x="2577882" y="143437"/>
                  <a:pt x="2579291" y="143437"/>
                </a:cubicBezTo>
                <a:cubicBezTo>
                  <a:pt x="2583521" y="142732"/>
                  <a:pt x="2587515" y="142380"/>
                  <a:pt x="2591274" y="142380"/>
                </a:cubicBezTo>
                <a:cubicBezTo>
                  <a:pt x="2597383" y="142380"/>
                  <a:pt x="2602317" y="143907"/>
                  <a:pt x="2606076" y="146961"/>
                </a:cubicBezTo>
                <a:cubicBezTo>
                  <a:pt x="2610070" y="150486"/>
                  <a:pt x="2613418" y="155243"/>
                  <a:pt x="2616120" y="161235"/>
                </a:cubicBezTo>
                <a:cubicBezTo>
                  <a:pt x="2618822" y="167226"/>
                  <a:pt x="2620173" y="172218"/>
                  <a:pt x="2620173" y="176213"/>
                </a:cubicBezTo>
                <a:cubicBezTo>
                  <a:pt x="2620173" y="178092"/>
                  <a:pt x="2619938" y="179267"/>
                  <a:pt x="2619468" y="179737"/>
                </a:cubicBezTo>
                <a:cubicBezTo>
                  <a:pt x="2618058" y="181381"/>
                  <a:pt x="2614828" y="183437"/>
                  <a:pt x="2609776" y="185904"/>
                </a:cubicBezTo>
                <a:cubicBezTo>
                  <a:pt x="2604725" y="188371"/>
                  <a:pt x="2600084" y="189605"/>
                  <a:pt x="2595855" y="189605"/>
                </a:cubicBezTo>
                <a:cubicBezTo>
                  <a:pt x="2587867" y="189605"/>
                  <a:pt x="2579761" y="187020"/>
                  <a:pt x="2571538" y="181851"/>
                </a:cubicBezTo>
                <a:cubicBezTo>
                  <a:pt x="2579291" y="178092"/>
                  <a:pt x="2583168" y="175155"/>
                  <a:pt x="2583168" y="173041"/>
                </a:cubicBezTo>
                <a:cubicBezTo>
                  <a:pt x="2582933" y="171631"/>
                  <a:pt x="2581876" y="170163"/>
                  <a:pt x="2579996" y="168635"/>
                </a:cubicBezTo>
                <a:cubicBezTo>
                  <a:pt x="2578117" y="167108"/>
                  <a:pt x="2574710" y="165052"/>
                  <a:pt x="2569776" y="162468"/>
                </a:cubicBezTo>
                <a:cubicBezTo>
                  <a:pt x="2564842" y="160118"/>
                  <a:pt x="2559262" y="156301"/>
                  <a:pt x="2553036" y="151014"/>
                </a:cubicBezTo>
                <a:cubicBezTo>
                  <a:pt x="2546810" y="145728"/>
                  <a:pt x="2542521" y="141088"/>
                  <a:pt x="2540172" y="137093"/>
                </a:cubicBezTo>
                <a:close/>
                <a:moveTo>
                  <a:pt x="211643" y="131455"/>
                </a:moveTo>
                <a:cubicBezTo>
                  <a:pt x="210469" y="131455"/>
                  <a:pt x="207179" y="131748"/>
                  <a:pt x="201775" y="132336"/>
                </a:cubicBezTo>
                <a:cubicBezTo>
                  <a:pt x="196371" y="132923"/>
                  <a:pt x="190263" y="133922"/>
                  <a:pt x="183449" y="135331"/>
                </a:cubicBezTo>
                <a:cubicBezTo>
                  <a:pt x="182274" y="145199"/>
                  <a:pt x="180865" y="154950"/>
                  <a:pt x="179220" y="164583"/>
                </a:cubicBezTo>
                <a:cubicBezTo>
                  <a:pt x="189088" y="160823"/>
                  <a:pt x="196841" y="157417"/>
                  <a:pt x="202480" y="154362"/>
                </a:cubicBezTo>
                <a:cubicBezTo>
                  <a:pt x="205535" y="152718"/>
                  <a:pt x="208706" y="151895"/>
                  <a:pt x="211996" y="151895"/>
                </a:cubicBezTo>
                <a:cubicBezTo>
                  <a:pt x="220219" y="151895"/>
                  <a:pt x="228677" y="156712"/>
                  <a:pt x="237370" y="166345"/>
                </a:cubicBezTo>
                <a:lnTo>
                  <a:pt x="237370" y="136389"/>
                </a:lnTo>
                <a:cubicBezTo>
                  <a:pt x="235491" y="137563"/>
                  <a:pt x="233259" y="138151"/>
                  <a:pt x="230674" y="138151"/>
                </a:cubicBezTo>
                <a:cubicBezTo>
                  <a:pt x="227855" y="138151"/>
                  <a:pt x="225270" y="137563"/>
                  <a:pt x="222920" y="136389"/>
                </a:cubicBezTo>
                <a:cubicBezTo>
                  <a:pt x="221746" y="136154"/>
                  <a:pt x="220630" y="135507"/>
                  <a:pt x="219573" y="134450"/>
                </a:cubicBezTo>
                <a:cubicBezTo>
                  <a:pt x="218515" y="133393"/>
                  <a:pt x="217400" y="132571"/>
                  <a:pt x="216225" y="131983"/>
                </a:cubicBezTo>
                <a:cubicBezTo>
                  <a:pt x="215050" y="131396"/>
                  <a:pt x="213523" y="131220"/>
                  <a:pt x="211643" y="131455"/>
                </a:cubicBezTo>
                <a:close/>
                <a:moveTo>
                  <a:pt x="599387" y="120882"/>
                </a:moveTo>
                <a:lnTo>
                  <a:pt x="584585" y="124406"/>
                </a:lnTo>
                <a:cubicBezTo>
                  <a:pt x="585995" y="125111"/>
                  <a:pt x="587052" y="126286"/>
                  <a:pt x="587757" y="127930"/>
                </a:cubicBezTo>
                <a:cubicBezTo>
                  <a:pt x="588462" y="129810"/>
                  <a:pt x="588814" y="135449"/>
                  <a:pt x="588814" y="144847"/>
                </a:cubicBezTo>
                <a:lnTo>
                  <a:pt x="602559" y="141675"/>
                </a:lnTo>
                <a:cubicBezTo>
                  <a:pt x="602559" y="132277"/>
                  <a:pt x="601501" y="125346"/>
                  <a:pt x="599387" y="120882"/>
                </a:cubicBezTo>
                <a:close/>
                <a:moveTo>
                  <a:pt x="1450274" y="113481"/>
                </a:moveTo>
                <a:cubicBezTo>
                  <a:pt x="1447455" y="113951"/>
                  <a:pt x="1442991" y="114421"/>
                  <a:pt x="1436882" y="114891"/>
                </a:cubicBezTo>
                <a:cubicBezTo>
                  <a:pt x="1416676" y="117240"/>
                  <a:pt x="1401757" y="119707"/>
                  <a:pt x="1392124" y="122292"/>
                </a:cubicBezTo>
                <a:lnTo>
                  <a:pt x="1392124" y="128988"/>
                </a:lnTo>
                <a:lnTo>
                  <a:pt x="1420318" y="124759"/>
                </a:lnTo>
                <a:cubicBezTo>
                  <a:pt x="1440994" y="121939"/>
                  <a:pt x="1455326" y="119825"/>
                  <a:pt x="1463314" y="118415"/>
                </a:cubicBezTo>
                <a:lnTo>
                  <a:pt x="1463666" y="115948"/>
                </a:lnTo>
                <a:cubicBezTo>
                  <a:pt x="1462022" y="115948"/>
                  <a:pt x="1459790" y="115478"/>
                  <a:pt x="1456970" y="114538"/>
                </a:cubicBezTo>
                <a:cubicBezTo>
                  <a:pt x="1454151" y="113598"/>
                  <a:pt x="1451919" y="113246"/>
                  <a:pt x="1450274" y="113481"/>
                </a:cubicBezTo>
                <a:close/>
                <a:moveTo>
                  <a:pt x="647669" y="110661"/>
                </a:moveTo>
                <a:cubicBezTo>
                  <a:pt x="647669" y="110427"/>
                  <a:pt x="639093" y="112189"/>
                  <a:pt x="621942" y="115948"/>
                </a:cubicBezTo>
                <a:cubicBezTo>
                  <a:pt x="624526" y="116888"/>
                  <a:pt x="626171" y="118297"/>
                  <a:pt x="626876" y="120177"/>
                </a:cubicBezTo>
                <a:cubicBezTo>
                  <a:pt x="628051" y="122526"/>
                  <a:pt x="628638" y="127460"/>
                  <a:pt x="628638" y="134979"/>
                </a:cubicBezTo>
                <a:lnTo>
                  <a:pt x="642735" y="131455"/>
                </a:lnTo>
                <a:cubicBezTo>
                  <a:pt x="644145" y="126756"/>
                  <a:pt x="645378" y="122233"/>
                  <a:pt x="646435" y="117886"/>
                </a:cubicBezTo>
                <a:cubicBezTo>
                  <a:pt x="647493" y="113540"/>
                  <a:pt x="647904" y="111131"/>
                  <a:pt x="647669" y="110661"/>
                </a:cubicBezTo>
                <a:close/>
                <a:moveTo>
                  <a:pt x="2719204" y="108899"/>
                </a:moveTo>
                <a:cubicBezTo>
                  <a:pt x="2710276" y="109839"/>
                  <a:pt x="2696296" y="111719"/>
                  <a:pt x="2677266" y="114538"/>
                </a:cubicBezTo>
                <a:cubicBezTo>
                  <a:pt x="2677266" y="134039"/>
                  <a:pt x="2677383" y="148841"/>
                  <a:pt x="2677618" y="158944"/>
                </a:cubicBezTo>
                <a:lnTo>
                  <a:pt x="2687486" y="163878"/>
                </a:lnTo>
                <a:cubicBezTo>
                  <a:pt x="2706047" y="145317"/>
                  <a:pt x="2714388" y="131102"/>
                  <a:pt x="2712508" y="121234"/>
                </a:cubicBezTo>
                <a:close/>
                <a:moveTo>
                  <a:pt x="4400205" y="107842"/>
                </a:moveTo>
                <a:cubicBezTo>
                  <a:pt x="4396915" y="108782"/>
                  <a:pt x="4391981" y="109722"/>
                  <a:pt x="4385403" y="110661"/>
                </a:cubicBezTo>
                <a:cubicBezTo>
                  <a:pt x="4388692" y="111836"/>
                  <a:pt x="4392452" y="113716"/>
                  <a:pt x="4396680" y="116300"/>
                </a:cubicBezTo>
                <a:cubicBezTo>
                  <a:pt x="4400910" y="118885"/>
                  <a:pt x="4404082" y="121117"/>
                  <a:pt x="4406196" y="122996"/>
                </a:cubicBezTo>
                <a:lnTo>
                  <a:pt x="4406548" y="117358"/>
                </a:lnTo>
                <a:cubicBezTo>
                  <a:pt x="4404199" y="114068"/>
                  <a:pt x="4402084" y="110896"/>
                  <a:pt x="4400205" y="107842"/>
                </a:cubicBezTo>
                <a:close/>
                <a:moveTo>
                  <a:pt x="1870089" y="103613"/>
                </a:moveTo>
                <a:cubicBezTo>
                  <a:pt x="1870089" y="102908"/>
                  <a:pt x="1872849" y="104318"/>
                  <a:pt x="1878371" y="107842"/>
                </a:cubicBezTo>
                <a:cubicBezTo>
                  <a:pt x="1883892" y="111366"/>
                  <a:pt x="1889648" y="115537"/>
                  <a:pt x="1895639" y="120353"/>
                </a:cubicBezTo>
                <a:cubicBezTo>
                  <a:pt x="1901630" y="125170"/>
                  <a:pt x="1905801" y="128988"/>
                  <a:pt x="1908150" y="131807"/>
                </a:cubicBezTo>
                <a:cubicBezTo>
                  <a:pt x="1910735" y="135566"/>
                  <a:pt x="1912027" y="138386"/>
                  <a:pt x="1912027" y="140265"/>
                </a:cubicBezTo>
                <a:cubicBezTo>
                  <a:pt x="1912027" y="141675"/>
                  <a:pt x="1910852" y="142850"/>
                  <a:pt x="1908503" y="143789"/>
                </a:cubicBezTo>
                <a:cubicBezTo>
                  <a:pt x="1907798" y="143789"/>
                  <a:pt x="1903687" y="147196"/>
                  <a:pt x="1896168" y="154010"/>
                </a:cubicBezTo>
                <a:cubicBezTo>
                  <a:pt x="1875727" y="171396"/>
                  <a:pt x="1861396" y="183026"/>
                  <a:pt x="1853172" y="188900"/>
                </a:cubicBezTo>
                <a:cubicBezTo>
                  <a:pt x="1856696" y="191249"/>
                  <a:pt x="1858576" y="192542"/>
                  <a:pt x="1858811" y="192777"/>
                </a:cubicBezTo>
                <a:cubicBezTo>
                  <a:pt x="1874083" y="189957"/>
                  <a:pt x="1887299" y="187138"/>
                  <a:pt x="1898458" y="184318"/>
                </a:cubicBezTo>
                <a:cubicBezTo>
                  <a:pt x="1909619" y="181499"/>
                  <a:pt x="1916374" y="179502"/>
                  <a:pt x="1918723" y="178327"/>
                </a:cubicBezTo>
                <a:cubicBezTo>
                  <a:pt x="1919663" y="177857"/>
                  <a:pt x="1921308" y="177622"/>
                  <a:pt x="1923657" y="177622"/>
                </a:cubicBezTo>
                <a:cubicBezTo>
                  <a:pt x="1929531" y="177622"/>
                  <a:pt x="1936697" y="179326"/>
                  <a:pt x="1945155" y="182732"/>
                </a:cubicBezTo>
                <a:cubicBezTo>
                  <a:pt x="1953613" y="186139"/>
                  <a:pt x="1959134" y="189487"/>
                  <a:pt x="1961719" y="192777"/>
                </a:cubicBezTo>
                <a:cubicBezTo>
                  <a:pt x="1963599" y="195126"/>
                  <a:pt x="1964539" y="197710"/>
                  <a:pt x="1964539" y="200530"/>
                </a:cubicBezTo>
                <a:cubicBezTo>
                  <a:pt x="1964539" y="204994"/>
                  <a:pt x="1962893" y="208988"/>
                  <a:pt x="1959605" y="212512"/>
                </a:cubicBezTo>
                <a:cubicBezTo>
                  <a:pt x="1956315" y="216037"/>
                  <a:pt x="1952203" y="217681"/>
                  <a:pt x="1947269" y="217446"/>
                </a:cubicBezTo>
                <a:cubicBezTo>
                  <a:pt x="1946330" y="217446"/>
                  <a:pt x="1944861" y="217035"/>
                  <a:pt x="1942864" y="216213"/>
                </a:cubicBezTo>
                <a:cubicBezTo>
                  <a:pt x="1940867" y="215390"/>
                  <a:pt x="1939282" y="214744"/>
                  <a:pt x="1938107" y="214274"/>
                </a:cubicBezTo>
                <a:cubicBezTo>
                  <a:pt x="1937637" y="214274"/>
                  <a:pt x="1936990" y="214098"/>
                  <a:pt x="1936168" y="213746"/>
                </a:cubicBezTo>
                <a:cubicBezTo>
                  <a:pt x="1935346" y="213393"/>
                  <a:pt x="1934230" y="213335"/>
                  <a:pt x="1932820" y="213570"/>
                </a:cubicBezTo>
                <a:cubicBezTo>
                  <a:pt x="1924362" y="213805"/>
                  <a:pt x="1903804" y="215802"/>
                  <a:pt x="1871146" y="219561"/>
                </a:cubicBezTo>
                <a:cubicBezTo>
                  <a:pt x="1871616" y="221910"/>
                  <a:pt x="1872086" y="225787"/>
                  <a:pt x="1872555" y="231191"/>
                </a:cubicBezTo>
                <a:cubicBezTo>
                  <a:pt x="1873025" y="237769"/>
                  <a:pt x="1873261" y="242586"/>
                  <a:pt x="1873261" y="245640"/>
                </a:cubicBezTo>
                <a:cubicBezTo>
                  <a:pt x="1873261" y="256918"/>
                  <a:pt x="1872144" y="266551"/>
                  <a:pt x="1869913" y="274539"/>
                </a:cubicBezTo>
                <a:cubicBezTo>
                  <a:pt x="1867680" y="282527"/>
                  <a:pt x="1864567" y="288166"/>
                  <a:pt x="1860573" y="291456"/>
                </a:cubicBezTo>
                <a:cubicBezTo>
                  <a:pt x="1854465" y="296859"/>
                  <a:pt x="1843069" y="301793"/>
                  <a:pt x="1826388" y="306257"/>
                </a:cubicBezTo>
                <a:lnTo>
                  <a:pt x="1799603" y="266081"/>
                </a:lnTo>
                <a:cubicBezTo>
                  <a:pt x="1816520" y="266081"/>
                  <a:pt x="1825683" y="265259"/>
                  <a:pt x="1827092" y="263614"/>
                </a:cubicBezTo>
                <a:cubicBezTo>
                  <a:pt x="1832967" y="255626"/>
                  <a:pt x="1835903" y="245523"/>
                  <a:pt x="1835903" y="233305"/>
                </a:cubicBezTo>
                <a:cubicBezTo>
                  <a:pt x="1835903" y="231191"/>
                  <a:pt x="1835668" y="228019"/>
                  <a:pt x="1835198" y="223790"/>
                </a:cubicBezTo>
                <a:cubicBezTo>
                  <a:pt x="1798781" y="228254"/>
                  <a:pt x="1772819" y="231896"/>
                  <a:pt x="1757312" y="234715"/>
                </a:cubicBezTo>
                <a:cubicBezTo>
                  <a:pt x="1755433" y="235185"/>
                  <a:pt x="1753671" y="234774"/>
                  <a:pt x="1752026" y="233482"/>
                </a:cubicBezTo>
                <a:cubicBezTo>
                  <a:pt x="1750381" y="232189"/>
                  <a:pt x="1748619" y="230369"/>
                  <a:pt x="1746740" y="228019"/>
                </a:cubicBezTo>
                <a:cubicBezTo>
                  <a:pt x="1744860" y="225670"/>
                  <a:pt x="1743098" y="223672"/>
                  <a:pt x="1741453" y="222028"/>
                </a:cubicBezTo>
                <a:cubicBezTo>
                  <a:pt x="1739574" y="219913"/>
                  <a:pt x="1736989" y="217564"/>
                  <a:pt x="1733700" y="214979"/>
                </a:cubicBezTo>
                <a:cubicBezTo>
                  <a:pt x="1733230" y="214509"/>
                  <a:pt x="1732232" y="213628"/>
                  <a:pt x="1730704" y="212336"/>
                </a:cubicBezTo>
                <a:cubicBezTo>
                  <a:pt x="1729177" y="211044"/>
                  <a:pt x="1728237" y="210104"/>
                  <a:pt x="1727885" y="209517"/>
                </a:cubicBezTo>
                <a:cubicBezTo>
                  <a:pt x="1727533" y="208929"/>
                  <a:pt x="1727709" y="208636"/>
                  <a:pt x="1728414" y="208636"/>
                </a:cubicBezTo>
                <a:cubicBezTo>
                  <a:pt x="1753788" y="208636"/>
                  <a:pt x="1785976" y="205346"/>
                  <a:pt x="1824978" y="198768"/>
                </a:cubicBezTo>
                <a:lnTo>
                  <a:pt x="1819692" y="193834"/>
                </a:lnTo>
                <a:cubicBezTo>
                  <a:pt x="1817342" y="192424"/>
                  <a:pt x="1815521" y="189663"/>
                  <a:pt x="1814229" y="185552"/>
                </a:cubicBezTo>
                <a:cubicBezTo>
                  <a:pt x="1812937" y="181440"/>
                  <a:pt x="1812173" y="176917"/>
                  <a:pt x="1811938" y="171983"/>
                </a:cubicBezTo>
                <a:cubicBezTo>
                  <a:pt x="1815698" y="176917"/>
                  <a:pt x="1819281" y="180089"/>
                  <a:pt x="1822687" y="181499"/>
                </a:cubicBezTo>
                <a:cubicBezTo>
                  <a:pt x="1826094" y="182909"/>
                  <a:pt x="1830734" y="183731"/>
                  <a:pt x="1836608" y="183966"/>
                </a:cubicBezTo>
                <a:cubicBezTo>
                  <a:pt x="1838253" y="183966"/>
                  <a:pt x="1840250" y="184201"/>
                  <a:pt x="1842599" y="184671"/>
                </a:cubicBezTo>
                <a:cubicBezTo>
                  <a:pt x="1849413" y="168929"/>
                  <a:pt x="1854112" y="158709"/>
                  <a:pt x="1856696" y="154010"/>
                </a:cubicBezTo>
                <a:cubicBezTo>
                  <a:pt x="1845654" y="155654"/>
                  <a:pt x="1836021" y="157534"/>
                  <a:pt x="1827798" y="159649"/>
                </a:cubicBezTo>
                <a:cubicBezTo>
                  <a:pt x="1819574" y="161763"/>
                  <a:pt x="1814993" y="163760"/>
                  <a:pt x="1814053" y="165640"/>
                </a:cubicBezTo>
                <a:cubicBezTo>
                  <a:pt x="1811703" y="169164"/>
                  <a:pt x="1808766" y="170926"/>
                  <a:pt x="1805242" y="170926"/>
                </a:cubicBezTo>
                <a:cubicBezTo>
                  <a:pt x="1792320" y="165287"/>
                  <a:pt x="1783510" y="161058"/>
                  <a:pt x="1778811" y="158239"/>
                </a:cubicBezTo>
                <a:cubicBezTo>
                  <a:pt x="1776696" y="156829"/>
                  <a:pt x="1775639" y="154597"/>
                  <a:pt x="1775639" y="151543"/>
                </a:cubicBezTo>
                <a:cubicBezTo>
                  <a:pt x="1775639" y="149663"/>
                  <a:pt x="1776050" y="147607"/>
                  <a:pt x="1776872" y="145375"/>
                </a:cubicBezTo>
                <a:cubicBezTo>
                  <a:pt x="1777694" y="143143"/>
                  <a:pt x="1778105" y="141557"/>
                  <a:pt x="1778105" y="140618"/>
                </a:cubicBezTo>
                <a:cubicBezTo>
                  <a:pt x="1778105" y="138973"/>
                  <a:pt x="1779867" y="133217"/>
                  <a:pt x="1783392" y="123349"/>
                </a:cubicBezTo>
                <a:lnTo>
                  <a:pt x="1785859" y="131102"/>
                </a:lnTo>
                <a:lnTo>
                  <a:pt x="1788679" y="136741"/>
                </a:lnTo>
                <a:cubicBezTo>
                  <a:pt x="1789383" y="137681"/>
                  <a:pt x="1790558" y="138151"/>
                  <a:pt x="1792203" y="138151"/>
                </a:cubicBezTo>
                <a:cubicBezTo>
                  <a:pt x="1793847" y="138151"/>
                  <a:pt x="1795139" y="137916"/>
                  <a:pt x="1796079" y="137446"/>
                </a:cubicBezTo>
                <a:cubicBezTo>
                  <a:pt x="1797489" y="136741"/>
                  <a:pt x="1802893" y="135214"/>
                  <a:pt x="1812291" y="132864"/>
                </a:cubicBezTo>
                <a:cubicBezTo>
                  <a:pt x="1840485" y="125346"/>
                  <a:pt x="1856109" y="120177"/>
                  <a:pt x="1859163" y="117358"/>
                </a:cubicBezTo>
                <a:cubicBezTo>
                  <a:pt x="1865742" y="110779"/>
                  <a:pt x="1869383" y="106197"/>
                  <a:pt x="1870089" y="103613"/>
                </a:cubicBezTo>
                <a:close/>
                <a:moveTo>
                  <a:pt x="1740749" y="89868"/>
                </a:moveTo>
                <a:lnTo>
                  <a:pt x="1747092" y="102556"/>
                </a:lnTo>
                <a:lnTo>
                  <a:pt x="1761542" y="117358"/>
                </a:lnTo>
                <a:cubicBezTo>
                  <a:pt x="1762951" y="119002"/>
                  <a:pt x="1763656" y="122292"/>
                  <a:pt x="1763656" y="127225"/>
                </a:cubicBezTo>
                <a:cubicBezTo>
                  <a:pt x="1763656" y="132864"/>
                  <a:pt x="1762775" y="138856"/>
                  <a:pt x="1761013" y="145199"/>
                </a:cubicBezTo>
                <a:cubicBezTo>
                  <a:pt x="1759251" y="151543"/>
                  <a:pt x="1757312" y="155419"/>
                  <a:pt x="1755198" y="156829"/>
                </a:cubicBezTo>
                <a:cubicBezTo>
                  <a:pt x="1751204" y="160118"/>
                  <a:pt x="1736637" y="163878"/>
                  <a:pt x="1711497" y="168107"/>
                </a:cubicBezTo>
                <a:cubicBezTo>
                  <a:pt x="1717841" y="160823"/>
                  <a:pt x="1722657" y="152776"/>
                  <a:pt x="1725947" y="143966"/>
                </a:cubicBezTo>
                <a:cubicBezTo>
                  <a:pt x="1729236" y="135155"/>
                  <a:pt x="1732643" y="123231"/>
                  <a:pt x="1736167" y="108195"/>
                </a:cubicBezTo>
                <a:close/>
                <a:moveTo>
                  <a:pt x="3084392" y="89516"/>
                </a:moveTo>
                <a:cubicBezTo>
                  <a:pt x="3074290" y="90691"/>
                  <a:pt x="3067829" y="91278"/>
                  <a:pt x="3065009" y="91278"/>
                </a:cubicBezTo>
                <a:cubicBezTo>
                  <a:pt x="3063600" y="91278"/>
                  <a:pt x="3059371" y="91748"/>
                  <a:pt x="3052322" y="92688"/>
                </a:cubicBezTo>
                <a:cubicBezTo>
                  <a:pt x="3052557" y="94098"/>
                  <a:pt x="3053379" y="100089"/>
                  <a:pt x="3054789" y="110662"/>
                </a:cubicBezTo>
                <a:lnTo>
                  <a:pt x="3108005" y="100794"/>
                </a:lnTo>
                <a:lnTo>
                  <a:pt x="3109415" y="95507"/>
                </a:lnTo>
                <a:cubicBezTo>
                  <a:pt x="3107770" y="95507"/>
                  <a:pt x="3106478" y="95390"/>
                  <a:pt x="3105538" y="95155"/>
                </a:cubicBezTo>
                <a:cubicBezTo>
                  <a:pt x="3102954" y="94685"/>
                  <a:pt x="3100487" y="93628"/>
                  <a:pt x="3098137" y="91983"/>
                </a:cubicBezTo>
                <a:cubicBezTo>
                  <a:pt x="3096963" y="91043"/>
                  <a:pt x="3095612" y="90397"/>
                  <a:pt x="3094084" y="90045"/>
                </a:cubicBezTo>
                <a:cubicBezTo>
                  <a:pt x="3092557" y="89692"/>
                  <a:pt x="3089326" y="89516"/>
                  <a:pt x="3084392" y="89516"/>
                </a:cubicBezTo>
                <a:close/>
                <a:moveTo>
                  <a:pt x="139396" y="88811"/>
                </a:moveTo>
                <a:lnTo>
                  <a:pt x="138339" y="89164"/>
                </a:lnTo>
                <a:cubicBezTo>
                  <a:pt x="137399" y="89399"/>
                  <a:pt x="136107" y="89986"/>
                  <a:pt x="134462" y="90926"/>
                </a:cubicBezTo>
                <a:cubicBezTo>
                  <a:pt x="132817" y="91865"/>
                  <a:pt x="131055" y="92805"/>
                  <a:pt x="129176" y="93745"/>
                </a:cubicBezTo>
                <a:cubicBezTo>
                  <a:pt x="128236" y="94215"/>
                  <a:pt x="127355" y="100970"/>
                  <a:pt x="126532" y="114010"/>
                </a:cubicBezTo>
                <a:cubicBezTo>
                  <a:pt x="125710" y="127049"/>
                  <a:pt x="125064" y="138914"/>
                  <a:pt x="124594" y="149604"/>
                </a:cubicBezTo>
                <a:cubicBezTo>
                  <a:pt x="124124" y="160295"/>
                  <a:pt x="123772" y="168694"/>
                  <a:pt x="123537" y="174803"/>
                </a:cubicBezTo>
                <a:cubicBezTo>
                  <a:pt x="123302" y="180207"/>
                  <a:pt x="122891" y="189957"/>
                  <a:pt x="122303" y="204054"/>
                </a:cubicBezTo>
                <a:cubicBezTo>
                  <a:pt x="121716" y="218151"/>
                  <a:pt x="121187" y="227079"/>
                  <a:pt x="120718" y="230838"/>
                </a:cubicBezTo>
                <a:cubicBezTo>
                  <a:pt x="134814" y="192542"/>
                  <a:pt x="141863" y="156242"/>
                  <a:pt x="141863" y="121939"/>
                </a:cubicBezTo>
                <a:cubicBezTo>
                  <a:pt x="141863" y="109957"/>
                  <a:pt x="141041" y="98914"/>
                  <a:pt x="139396" y="88811"/>
                </a:cubicBezTo>
                <a:close/>
                <a:moveTo>
                  <a:pt x="4331834" y="78943"/>
                </a:moveTo>
                <a:cubicBezTo>
                  <a:pt x="4306460" y="85992"/>
                  <a:pt x="4287899" y="90691"/>
                  <a:pt x="4276151" y="93040"/>
                </a:cubicBezTo>
                <a:cubicBezTo>
                  <a:pt x="4276386" y="93510"/>
                  <a:pt x="4276680" y="94215"/>
                  <a:pt x="4277032" y="95155"/>
                </a:cubicBezTo>
                <a:cubicBezTo>
                  <a:pt x="4277385" y="96095"/>
                  <a:pt x="4277913" y="97152"/>
                  <a:pt x="4278618" y="98327"/>
                </a:cubicBezTo>
                <a:cubicBezTo>
                  <a:pt x="4279558" y="99971"/>
                  <a:pt x="4281026" y="101440"/>
                  <a:pt x="4283023" y="102732"/>
                </a:cubicBezTo>
                <a:cubicBezTo>
                  <a:pt x="4285020" y="104024"/>
                  <a:pt x="4286489" y="104670"/>
                  <a:pt x="4287429" y="104670"/>
                </a:cubicBezTo>
                <a:cubicBezTo>
                  <a:pt x="4292363" y="105375"/>
                  <a:pt x="4298824" y="103672"/>
                  <a:pt x="4306812" y="99560"/>
                </a:cubicBezTo>
                <a:cubicBezTo>
                  <a:pt x="4314800" y="95448"/>
                  <a:pt x="4320674" y="91161"/>
                  <a:pt x="4324433" y="86697"/>
                </a:cubicBezTo>
                <a:cubicBezTo>
                  <a:pt x="4321614" y="91631"/>
                  <a:pt x="4319323" y="96330"/>
                  <a:pt x="4317561" y="100794"/>
                </a:cubicBezTo>
                <a:cubicBezTo>
                  <a:pt x="4315799" y="105258"/>
                  <a:pt x="4314448" y="109252"/>
                  <a:pt x="4313508" y="112776"/>
                </a:cubicBezTo>
                <a:cubicBezTo>
                  <a:pt x="4311863" y="118415"/>
                  <a:pt x="4310101" y="122996"/>
                  <a:pt x="4308222" y="126521"/>
                </a:cubicBezTo>
                <a:lnTo>
                  <a:pt x="4306812" y="128283"/>
                </a:lnTo>
                <a:cubicBezTo>
                  <a:pt x="4309397" y="127813"/>
                  <a:pt x="4313038" y="126873"/>
                  <a:pt x="4317738" y="125463"/>
                </a:cubicBezTo>
                <a:cubicBezTo>
                  <a:pt x="4322201" y="118415"/>
                  <a:pt x="4325667" y="111601"/>
                  <a:pt x="4328134" y="105023"/>
                </a:cubicBezTo>
                <a:cubicBezTo>
                  <a:pt x="4330601" y="98444"/>
                  <a:pt x="4331247" y="94332"/>
                  <a:pt x="4330072" y="92688"/>
                </a:cubicBezTo>
                <a:cubicBezTo>
                  <a:pt x="4329367" y="91513"/>
                  <a:pt x="4329015" y="90338"/>
                  <a:pt x="4329015" y="89164"/>
                </a:cubicBezTo>
                <a:cubicBezTo>
                  <a:pt x="4329015" y="87519"/>
                  <a:pt x="4329426" y="85639"/>
                  <a:pt x="4330248" y="83525"/>
                </a:cubicBezTo>
                <a:cubicBezTo>
                  <a:pt x="4331070" y="81410"/>
                  <a:pt x="4331599" y="79883"/>
                  <a:pt x="4331834" y="78943"/>
                </a:cubicBezTo>
                <a:close/>
                <a:moveTo>
                  <a:pt x="634982" y="78238"/>
                </a:moveTo>
                <a:lnTo>
                  <a:pt x="620180" y="82115"/>
                </a:lnTo>
                <a:cubicBezTo>
                  <a:pt x="620180" y="88694"/>
                  <a:pt x="620062" y="92570"/>
                  <a:pt x="619827" y="93745"/>
                </a:cubicBezTo>
                <a:lnTo>
                  <a:pt x="619827" y="94450"/>
                </a:lnTo>
                <a:cubicBezTo>
                  <a:pt x="639328" y="89046"/>
                  <a:pt x="651311" y="85639"/>
                  <a:pt x="655775" y="84230"/>
                </a:cubicBezTo>
                <a:cubicBezTo>
                  <a:pt x="653660" y="83760"/>
                  <a:pt x="650253" y="82702"/>
                  <a:pt x="645554" y="81058"/>
                </a:cubicBezTo>
                <a:cubicBezTo>
                  <a:pt x="641795" y="78943"/>
                  <a:pt x="638271" y="78003"/>
                  <a:pt x="634982" y="78238"/>
                </a:cubicBezTo>
                <a:close/>
                <a:moveTo>
                  <a:pt x="135942" y="76984"/>
                </a:moveTo>
                <a:lnTo>
                  <a:pt x="137634" y="80705"/>
                </a:lnTo>
                <a:lnTo>
                  <a:pt x="137281" y="78591"/>
                </a:lnTo>
                <a:close/>
                <a:moveTo>
                  <a:pt x="3981095" y="65199"/>
                </a:moveTo>
                <a:cubicBezTo>
                  <a:pt x="3981330" y="67548"/>
                  <a:pt x="3982388" y="69663"/>
                  <a:pt x="3984267" y="71542"/>
                </a:cubicBezTo>
                <a:cubicBezTo>
                  <a:pt x="3986147" y="73422"/>
                  <a:pt x="3988966" y="74714"/>
                  <a:pt x="3992725" y="75419"/>
                </a:cubicBezTo>
                <a:cubicBezTo>
                  <a:pt x="3999539" y="76594"/>
                  <a:pt x="4006587" y="78415"/>
                  <a:pt x="4013871" y="80882"/>
                </a:cubicBezTo>
                <a:cubicBezTo>
                  <a:pt x="4021154" y="83349"/>
                  <a:pt x="4025501" y="85639"/>
                  <a:pt x="4026910" y="87754"/>
                </a:cubicBezTo>
                <a:cubicBezTo>
                  <a:pt x="4027850" y="88929"/>
                  <a:pt x="4028027" y="90397"/>
                  <a:pt x="4027439" y="92159"/>
                </a:cubicBezTo>
                <a:cubicBezTo>
                  <a:pt x="4026852" y="93921"/>
                  <a:pt x="4026029" y="95683"/>
                  <a:pt x="4024972" y="97446"/>
                </a:cubicBezTo>
                <a:cubicBezTo>
                  <a:pt x="4023915" y="99208"/>
                  <a:pt x="4023269" y="100559"/>
                  <a:pt x="4023034" y="101498"/>
                </a:cubicBezTo>
                <a:cubicBezTo>
                  <a:pt x="4023034" y="136741"/>
                  <a:pt x="4022094" y="164583"/>
                  <a:pt x="4020214" y="185023"/>
                </a:cubicBezTo>
                <a:cubicBezTo>
                  <a:pt x="4019510" y="192777"/>
                  <a:pt x="4015809" y="199355"/>
                  <a:pt x="4009113" y="204759"/>
                </a:cubicBezTo>
                <a:cubicBezTo>
                  <a:pt x="4002417" y="210163"/>
                  <a:pt x="3994605" y="214509"/>
                  <a:pt x="3985677" y="217799"/>
                </a:cubicBezTo>
                <a:cubicBezTo>
                  <a:pt x="3986851" y="202997"/>
                  <a:pt x="3987439" y="181851"/>
                  <a:pt x="3987439" y="154362"/>
                </a:cubicBezTo>
                <a:cubicBezTo>
                  <a:pt x="3987439" y="126403"/>
                  <a:pt x="3986851" y="106315"/>
                  <a:pt x="3985677" y="94098"/>
                </a:cubicBezTo>
                <a:cubicBezTo>
                  <a:pt x="3985442" y="92923"/>
                  <a:pt x="3984150" y="90691"/>
                  <a:pt x="3981800" y="87401"/>
                </a:cubicBezTo>
                <a:cubicBezTo>
                  <a:pt x="3979451" y="84112"/>
                  <a:pt x="3978276" y="81880"/>
                  <a:pt x="3978276" y="80705"/>
                </a:cubicBezTo>
                <a:close/>
                <a:moveTo>
                  <a:pt x="1480935" y="44406"/>
                </a:moveTo>
                <a:cubicBezTo>
                  <a:pt x="1482345" y="43701"/>
                  <a:pt x="1484812" y="44171"/>
                  <a:pt x="1488336" y="45815"/>
                </a:cubicBezTo>
                <a:cubicBezTo>
                  <a:pt x="1491860" y="47460"/>
                  <a:pt x="1495561" y="49868"/>
                  <a:pt x="1499437" y="53040"/>
                </a:cubicBezTo>
                <a:cubicBezTo>
                  <a:pt x="1503314" y="56212"/>
                  <a:pt x="1506192" y="59560"/>
                  <a:pt x="1508072" y="63084"/>
                </a:cubicBezTo>
                <a:cubicBezTo>
                  <a:pt x="1513241" y="71777"/>
                  <a:pt x="1515238" y="76476"/>
                  <a:pt x="1514063" y="77181"/>
                </a:cubicBezTo>
                <a:cubicBezTo>
                  <a:pt x="1513828" y="77181"/>
                  <a:pt x="1512830" y="77710"/>
                  <a:pt x="1511068" y="78767"/>
                </a:cubicBezTo>
                <a:cubicBezTo>
                  <a:pt x="1509305" y="79824"/>
                  <a:pt x="1507367" y="80705"/>
                  <a:pt x="1505252" y="81410"/>
                </a:cubicBezTo>
                <a:cubicBezTo>
                  <a:pt x="1503373" y="82350"/>
                  <a:pt x="1498909" y="95507"/>
                  <a:pt x="1491860" y="120882"/>
                </a:cubicBezTo>
                <a:cubicBezTo>
                  <a:pt x="1492800" y="121587"/>
                  <a:pt x="1493975" y="122879"/>
                  <a:pt x="1495384" y="124759"/>
                </a:cubicBezTo>
                <a:cubicBezTo>
                  <a:pt x="1497264" y="128048"/>
                  <a:pt x="1498204" y="130985"/>
                  <a:pt x="1498204" y="133569"/>
                </a:cubicBezTo>
                <a:cubicBezTo>
                  <a:pt x="1498204" y="138033"/>
                  <a:pt x="1495737" y="141557"/>
                  <a:pt x="1490803" y="144142"/>
                </a:cubicBezTo>
                <a:cubicBezTo>
                  <a:pt x="1497147" y="150955"/>
                  <a:pt x="1502433" y="157534"/>
                  <a:pt x="1506662" y="163878"/>
                </a:cubicBezTo>
                <a:cubicBezTo>
                  <a:pt x="1508542" y="167637"/>
                  <a:pt x="1509482" y="169869"/>
                  <a:pt x="1509482" y="170574"/>
                </a:cubicBezTo>
                <a:cubicBezTo>
                  <a:pt x="1509482" y="171514"/>
                  <a:pt x="1509246" y="172101"/>
                  <a:pt x="1508777" y="172336"/>
                </a:cubicBezTo>
                <a:cubicBezTo>
                  <a:pt x="1508307" y="172571"/>
                  <a:pt x="1507837" y="172747"/>
                  <a:pt x="1507367" y="172865"/>
                </a:cubicBezTo>
                <a:cubicBezTo>
                  <a:pt x="1506897" y="172982"/>
                  <a:pt x="1506545" y="173041"/>
                  <a:pt x="1506310" y="173041"/>
                </a:cubicBezTo>
                <a:lnTo>
                  <a:pt x="1497851" y="177270"/>
                </a:lnTo>
                <a:cubicBezTo>
                  <a:pt x="1481640" y="186198"/>
                  <a:pt x="1467895" y="193246"/>
                  <a:pt x="1456618" y="198415"/>
                </a:cubicBezTo>
                <a:cubicBezTo>
                  <a:pt x="1486691" y="193246"/>
                  <a:pt x="1503608" y="190075"/>
                  <a:pt x="1507367" y="188900"/>
                </a:cubicBezTo>
                <a:cubicBezTo>
                  <a:pt x="1509482" y="188195"/>
                  <a:pt x="1511596" y="187843"/>
                  <a:pt x="1513711" y="187843"/>
                </a:cubicBezTo>
                <a:cubicBezTo>
                  <a:pt x="1519584" y="187843"/>
                  <a:pt x="1525634" y="189781"/>
                  <a:pt x="1531860" y="193658"/>
                </a:cubicBezTo>
                <a:cubicBezTo>
                  <a:pt x="1538087" y="197534"/>
                  <a:pt x="1542962" y="202057"/>
                  <a:pt x="1546486" y="207226"/>
                </a:cubicBezTo>
                <a:cubicBezTo>
                  <a:pt x="1547896" y="209341"/>
                  <a:pt x="1548601" y="211573"/>
                  <a:pt x="1548601" y="213922"/>
                </a:cubicBezTo>
                <a:cubicBezTo>
                  <a:pt x="1548601" y="218151"/>
                  <a:pt x="1547015" y="221969"/>
                  <a:pt x="1543843" y="225376"/>
                </a:cubicBezTo>
                <a:cubicBezTo>
                  <a:pt x="1540671" y="228783"/>
                  <a:pt x="1536853" y="230486"/>
                  <a:pt x="1532389" y="230486"/>
                </a:cubicBezTo>
                <a:cubicBezTo>
                  <a:pt x="1529100" y="230486"/>
                  <a:pt x="1526163" y="229664"/>
                  <a:pt x="1523578" y="228019"/>
                </a:cubicBezTo>
                <a:lnTo>
                  <a:pt x="1515825" y="224847"/>
                </a:lnTo>
                <a:cubicBezTo>
                  <a:pt x="1513476" y="223672"/>
                  <a:pt x="1511244" y="222909"/>
                  <a:pt x="1509129" y="222556"/>
                </a:cubicBezTo>
                <a:cubicBezTo>
                  <a:pt x="1507015" y="222204"/>
                  <a:pt x="1503255" y="222028"/>
                  <a:pt x="1497851" y="222028"/>
                </a:cubicBezTo>
                <a:cubicBezTo>
                  <a:pt x="1489863" y="222028"/>
                  <a:pt x="1477881" y="222850"/>
                  <a:pt x="1461904" y="224495"/>
                </a:cubicBezTo>
                <a:cubicBezTo>
                  <a:pt x="1462374" y="226374"/>
                  <a:pt x="1462844" y="229429"/>
                  <a:pt x="1463314" y="233658"/>
                </a:cubicBezTo>
                <a:cubicBezTo>
                  <a:pt x="1463784" y="240236"/>
                  <a:pt x="1464019" y="245053"/>
                  <a:pt x="1464019" y="248107"/>
                </a:cubicBezTo>
                <a:cubicBezTo>
                  <a:pt x="1464019" y="258445"/>
                  <a:pt x="1462961" y="267314"/>
                  <a:pt x="1460847" y="274715"/>
                </a:cubicBezTo>
                <a:cubicBezTo>
                  <a:pt x="1458732" y="282116"/>
                  <a:pt x="1455795" y="287344"/>
                  <a:pt x="1452036" y="290398"/>
                </a:cubicBezTo>
                <a:cubicBezTo>
                  <a:pt x="1445928" y="295097"/>
                  <a:pt x="1437234" y="299091"/>
                  <a:pt x="1425957" y="302381"/>
                </a:cubicBezTo>
                <a:lnTo>
                  <a:pt x="1399877" y="261147"/>
                </a:lnTo>
                <a:cubicBezTo>
                  <a:pt x="1417264" y="261147"/>
                  <a:pt x="1426427" y="260325"/>
                  <a:pt x="1427367" y="258680"/>
                </a:cubicBezTo>
                <a:cubicBezTo>
                  <a:pt x="1429481" y="252571"/>
                  <a:pt x="1430538" y="247050"/>
                  <a:pt x="1430538" y="242116"/>
                </a:cubicBezTo>
                <a:cubicBezTo>
                  <a:pt x="1430538" y="237182"/>
                  <a:pt x="1429716" y="232601"/>
                  <a:pt x="1428071" y="228371"/>
                </a:cubicBezTo>
                <a:lnTo>
                  <a:pt x="1416089" y="230134"/>
                </a:lnTo>
                <a:cubicBezTo>
                  <a:pt x="1383431" y="234363"/>
                  <a:pt x="1361815" y="236830"/>
                  <a:pt x="1351243" y="237535"/>
                </a:cubicBezTo>
                <a:cubicBezTo>
                  <a:pt x="1347248" y="237769"/>
                  <a:pt x="1344488" y="237300"/>
                  <a:pt x="1342961" y="236125"/>
                </a:cubicBezTo>
                <a:cubicBezTo>
                  <a:pt x="1341433" y="234950"/>
                  <a:pt x="1339143" y="232131"/>
                  <a:pt x="1336088" y="227667"/>
                </a:cubicBezTo>
                <a:cubicBezTo>
                  <a:pt x="1332799" y="223438"/>
                  <a:pt x="1331154" y="219561"/>
                  <a:pt x="1331154" y="216037"/>
                </a:cubicBezTo>
                <a:cubicBezTo>
                  <a:pt x="1331154" y="213217"/>
                  <a:pt x="1332447" y="211807"/>
                  <a:pt x="1335031" y="211807"/>
                </a:cubicBezTo>
                <a:cubicBezTo>
                  <a:pt x="1335501" y="212512"/>
                  <a:pt x="1337381" y="212865"/>
                  <a:pt x="1340670" y="212865"/>
                </a:cubicBezTo>
                <a:cubicBezTo>
                  <a:pt x="1349598" y="212865"/>
                  <a:pt x="1374150" y="210163"/>
                  <a:pt x="1414327" y="204759"/>
                </a:cubicBezTo>
                <a:cubicBezTo>
                  <a:pt x="1411507" y="200765"/>
                  <a:pt x="1409158" y="194774"/>
                  <a:pt x="1407278" y="186785"/>
                </a:cubicBezTo>
                <a:cubicBezTo>
                  <a:pt x="1411272" y="191249"/>
                  <a:pt x="1414738" y="194245"/>
                  <a:pt x="1417675" y="195772"/>
                </a:cubicBezTo>
                <a:cubicBezTo>
                  <a:pt x="1420612" y="197299"/>
                  <a:pt x="1424547" y="198063"/>
                  <a:pt x="1429481" y="198063"/>
                </a:cubicBezTo>
                <a:cubicBezTo>
                  <a:pt x="1433240" y="198063"/>
                  <a:pt x="1436530" y="198885"/>
                  <a:pt x="1439349" y="200530"/>
                </a:cubicBezTo>
                <a:cubicBezTo>
                  <a:pt x="1446867" y="190427"/>
                  <a:pt x="1451566" y="182321"/>
                  <a:pt x="1453446" y="176213"/>
                </a:cubicBezTo>
                <a:cubicBezTo>
                  <a:pt x="1432535" y="179737"/>
                  <a:pt x="1414562" y="183085"/>
                  <a:pt x="1399525" y="186257"/>
                </a:cubicBezTo>
                <a:cubicBezTo>
                  <a:pt x="1384488" y="189428"/>
                  <a:pt x="1376500" y="191837"/>
                  <a:pt x="1375560" y="193481"/>
                </a:cubicBezTo>
                <a:cubicBezTo>
                  <a:pt x="1373445" y="196066"/>
                  <a:pt x="1371096" y="197358"/>
                  <a:pt x="1368511" y="197358"/>
                </a:cubicBezTo>
                <a:cubicBezTo>
                  <a:pt x="1360993" y="193364"/>
                  <a:pt x="1355472" y="190192"/>
                  <a:pt x="1351948" y="187843"/>
                </a:cubicBezTo>
                <a:cubicBezTo>
                  <a:pt x="1350773" y="186668"/>
                  <a:pt x="1350186" y="185023"/>
                  <a:pt x="1350186" y="182909"/>
                </a:cubicBezTo>
                <a:cubicBezTo>
                  <a:pt x="1350186" y="179619"/>
                  <a:pt x="1350890" y="176036"/>
                  <a:pt x="1352300" y="172160"/>
                </a:cubicBezTo>
                <a:cubicBezTo>
                  <a:pt x="1353710" y="168283"/>
                  <a:pt x="1354532" y="166110"/>
                  <a:pt x="1354767" y="165640"/>
                </a:cubicBezTo>
                <a:cubicBezTo>
                  <a:pt x="1354767" y="164230"/>
                  <a:pt x="1356412" y="159531"/>
                  <a:pt x="1359701" y="151543"/>
                </a:cubicBezTo>
                <a:lnTo>
                  <a:pt x="1362520" y="157182"/>
                </a:lnTo>
                <a:cubicBezTo>
                  <a:pt x="1362990" y="160236"/>
                  <a:pt x="1363577" y="162468"/>
                  <a:pt x="1364282" y="163878"/>
                </a:cubicBezTo>
                <a:lnTo>
                  <a:pt x="1366749" y="165640"/>
                </a:lnTo>
                <a:cubicBezTo>
                  <a:pt x="1367924" y="165875"/>
                  <a:pt x="1386074" y="162879"/>
                  <a:pt x="1421199" y="156653"/>
                </a:cubicBezTo>
                <a:cubicBezTo>
                  <a:pt x="1456324" y="150427"/>
                  <a:pt x="1474474" y="146961"/>
                  <a:pt x="1475649" y="146256"/>
                </a:cubicBezTo>
                <a:cubicBezTo>
                  <a:pt x="1476119" y="146021"/>
                  <a:pt x="1476530" y="145669"/>
                  <a:pt x="1476882" y="145199"/>
                </a:cubicBezTo>
                <a:cubicBezTo>
                  <a:pt x="1477235" y="144729"/>
                  <a:pt x="1477763" y="144377"/>
                  <a:pt x="1478468" y="144142"/>
                </a:cubicBezTo>
                <a:lnTo>
                  <a:pt x="1473182" y="141322"/>
                </a:lnTo>
                <a:cubicBezTo>
                  <a:pt x="1471537" y="140383"/>
                  <a:pt x="1456618" y="141969"/>
                  <a:pt x="1428424" y="146080"/>
                </a:cubicBezTo>
                <a:cubicBezTo>
                  <a:pt x="1400230" y="150192"/>
                  <a:pt x="1382374" y="153070"/>
                  <a:pt x="1374855" y="154715"/>
                </a:cubicBezTo>
                <a:cubicBezTo>
                  <a:pt x="1372271" y="155185"/>
                  <a:pt x="1369745" y="153834"/>
                  <a:pt x="1367278" y="150662"/>
                </a:cubicBezTo>
                <a:cubicBezTo>
                  <a:pt x="1364811" y="147490"/>
                  <a:pt x="1363695" y="144377"/>
                  <a:pt x="1363930" y="141322"/>
                </a:cubicBezTo>
                <a:lnTo>
                  <a:pt x="1364282" y="139560"/>
                </a:lnTo>
                <a:cubicBezTo>
                  <a:pt x="1364282" y="136271"/>
                  <a:pt x="1364400" y="133687"/>
                  <a:pt x="1364635" y="131807"/>
                </a:cubicBezTo>
                <a:cubicBezTo>
                  <a:pt x="1364635" y="130162"/>
                  <a:pt x="1364694" y="127872"/>
                  <a:pt x="1364811" y="124935"/>
                </a:cubicBezTo>
                <a:cubicBezTo>
                  <a:pt x="1364929" y="121998"/>
                  <a:pt x="1364870" y="119472"/>
                  <a:pt x="1364635" y="117358"/>
                </a:cubicBezTo>
                <a:cubicBezTo>
                  <a:pt x="1364635" y="113833"/>
                  <a:pt x="1363989" y="110544"/>
                  <a:pt x="1362696" y="107490"/>
                </a:cubicBezTo>
                <a:cubicBezTo>
                  <a:pt x="1361404" y="104435"/>
                  <a:pt x="1359701" y="100911"/>
                  <a:pt x="1357586" y="96917"/>
                </a:cubicBezTo>
                <a:cubicBezTo>
                  <a:pt x="1357116" y="95507"/>
                  <a:pt x="1356588" y="94274"/>
                  <a:pt x="1356001" y="93216"/>
                </a:cubicBezTo>
                <a:cubicBezTo>
                  <a:pt x="1355413" y="92159"/>
                  <a:pt x="1354884" y="91043"/>
                  <a:pt x="1354415" y="89868"/>
                </a:cubicBezTo>
                <a:cubicBezTo>
                  <a:pt x="1353475" y="90808"/>
                  <a:pt x="1352653" y="92218"/>
                  <a:pt x="1351948" y="94098"/>
                </a:cubicBezTo>
                <a:cubicBezTo>
                  <a:pt x="1349128" y="126051"/>
                  <a:pt x="1345310" y="154597"/>
                  <a:pt x="1340494" y="179737"/>
                </a:cubicBezTo>
                <a:cubicBezTo>
                  <a:pt x="1335677" y="204876"/>
                  <a:pt x="1328100" y="226844"/>
                  <a:pt x="1317762" y="245640"/>
                </a:cubicBezTo>
                <a:cubicBezTo>
                  <a:pt x="1307424" y="264436"/>
                  <a:pt x="1293680" y="275479"/>
                  <a:pt x="1276529" y="278768"/>
                </a:cubicBezTo>
                <a:cubicBezTo>
                  <a:pt x="1282872" y="269840"/>
                  <a:pt x="1288863" y="255273"/>
                  <a:pt x="1294502" y="235068"/>
                </a:cubicBezTo>
                <a:cubicBezTo>
                  <a:pt x="1300141" y="214862"/>
                  <a:pt x="1304605" y="192835"/>
                  <a:pt x="1307894" y="168988"/>
                </a:cubicBezTo>
                <a:cubicBezTo>
                  <a:pt x="1311184" y="145140"/>
                  <a:pt x="1312828" y="123819"/>
                  <a:pt x="1312828" y="105023"/>
                </a:cubicBezTo>
                <a:cubicBezTo>
                  <a:pt x="1312828" y="94685"/>
                  <a:pt x="1312358" y="86227"/>
                  <a:pt x="1311419" y="79648"/>
                </a:cubicBezTo>
                <a:cubicBezTo>
                  <a:pt x="1310949" y="77769"/>
                  <a:pt x="1309774" y="76241"/>
                  <a:pt x="1307894" y="75067"/>
                </a:cubicBezTo>
                <a:cubicBezTo>
                  <a:pt x="1306015" y="73892"/>
                  <a:pt x="1305075" y="72600"/>
                  <a:pt x="1305075" y="71190"/>
                </a:cubicBezTo>
                <a:cubicBezTo>
                  <a:pt x="1305075" y="63437"/>
                  <a:pt x="1306485" y="57915"/>
                  <a:pt x="1309304" y="54626"/>
                </a:cubicBezTo>
                <a:cubicBezTo>
                  <a:pt x="1309539" y="57210"/>
                  <a:pt x="1310361" y="59501"/>
                  <a:pt x="1311771" y="61498"/>
                </a:cubicBezTo>
                <a:cubicBezTo>
                  <a:pt x="1313181" y="63495"/>
                  <a:pt x="1315178" y="64729"/>
                  <a:pt x="1317762" y="65199"/>
                </a:cubicBezTo>
                <a:cubicBezTo>
                  <a:pt x="1322696" y="66843"/>
                  <a:pt x="1333621" y="68136"/>
                  <a:pt x="1350538" y="69075"/>
                </a:cubicBezTo>
                <a:cubicBezTo>
                  <a:pt x="1351008" y="69310"/>
                  <a:pt x="1351478" y="69780"/>
                  <a:pt x="1351948" y="70485"/>
                </a:cubicBezTo>
                <a:lnTo>
                  <a:pt x="1351948" y="64846"/>
                </a:lnTo>
                <a:cubicBezTo>
                  <a:pt x="1352182" y="64376"/>
                  <a:pt x="1353416" y="65845"/>
                  <a:pt x="1355648" y="69252"/>
                </a:cubicBezTo>
                <a:cubicBezTo>
                  <a:pt x="1357880" y="72658"/>
                  <a:pt x="1359818" y="75184"/>
                  <a:pt x="1361463" y="76829"/>
                </a:cubicBezTo>
                <a:cubicBezTo>
                  <a:pt x="1363343" y="78708"/>
                  <a:pt x="1365457" y="80235"/>
                  <a:pt x="1367807" y="81410"/>
                </a:cubicBezTo>
                <a:cubicBezTo>
                  <a:pt x="1370156" y="82585"/>
                  <a:pt x="1371918" y="83290"/>
                  <a:pt x="1373093" y="83525"/>
                </a:cubicBezTo>
                <a:cubicBezTo>
                  <a:pt x="1374268" y="83760"/>
                  <a:pt x="1376206" y="84230"/>
                  <a:pt x="1378908" y="84934"/>
                </a:cubicBezTo>
                <a:cubicBezTo>
                  <a:pt x="1381610" y="85639"/>
                  <a:pt x="1383490" y="86755"/>
                  <a:pt x="1384547" y="88283"/>
                </a:cubicBezTo>
                <a:cubicBezTo>
                  <a:pt x="1385604" y="89810"/>
                  <a:pt x="1386955" y="92453"/>
                  <a:pt x="1388600" y="96212"/>
                </a:cubicBezTo>
                <a:lnTo>
                  <a:pt x="1390010" y="100089"/>
                </a:lnTo>
                <a:cubicBezTo>
                  <a:pt x="1401757" y="97739"/>
                  <a:pt x="1412976" y="95331"/>
                  <a:pt x="1423666" y="92864"/>
                </a:cubicBezTo>
                <a:cubicBezTo>
                  <a:pt x="1434356" y="90397"/>
                  <a:pt x="1441699" y="88694"/>
                  <a:pt x="1445692" y="87754"/>
                </a:cubicBezTo>
                <a:cubicBezTo>
                  <a:pt x="1447572" y="87049"/>
                  <a:pt x="1449452" y="86697"/>
                  <a:pt x="1451331" y="86697"/>
                </a:cubicBezTo>
                <a:cubicBezTo>
                  <a:pt x="1455795" y="86697"/>
                  <a:pt x="1460612" y="88106"/>
                  <a:pt x="1465781" y="90926"/>
                </a:cubicBezTo>
                <a:lnTo>
                  <a:pt x="1467191" y="91983"/>
                </a:lnTo>
                <a:cubicBezTo>
                  <a:pt x="1468365" y="83525"/>
                  <a:pt x="1468835" y="78943"/>
                  <a:pt x="1468600" y="78238"/>
                </a:cubicBezTo>
                <a:cubicBezTo>
                  <a:pt x="1468600" y="77769"/>
                  <a:pt x="1452976" y="81175"/>
                  <a:pt x="1421728" y="88459"/>
                </a:cubicBezTo>
                <a:cubicBezTo>
                  <a:pt x="1423372" y="87989"/>
                  <a:pt x="1419966" y="88811"/>
                  <a:pt x="1411507" y="90926"/>
                </a:cubicBezTo>
                <a:cubicBezTo>
                  <a:pt x="1409628" y="91396"/>
                  <a:pt x="1408218" y="91631"/>
                  <a:pt x="1407278" y="91631"/>
                </a:cubicBezTo>
                <a:cubicBezTo>
                  <a:pt x="1404929" y="91631"/>
                  <a:pt x="1402579" y="91102"/>
                  <a:pt x="1400230" y="90045"/>
                </a:cubicBezTo>
                <a:cubicBezTo>
                  <a:pt x="1397880" y="88987"/>
                  <a:pt x="1396118" y="87636"/>
                  <a:pt x="1394944" y="85992"/>
                </a:cubicBezTo>
                <a:cubicBezTo>
                  <a:pt x="1393769" y="84347"/>
                  <a:pt x="1390891" y="81704"/>
                  <a:pt x="1386309" y="78062"/>
                </a:cubicBezTo>
                <a:cubicBezTo>
                  <a:pt x="1381727" y="74420"/>
                  <a:pt x="1379789" y="72600"/>
                  <a:pt x="1380494" y="72600"/>
                </a:cubicBezTo>
                <a:cubicBezTo>
                  <a:pt x="1423255" y="68370"/>
                  <a:pt x="1452976" y="61557"/>
                  <a:pt x="1469658" y="52159"/>
                </a:cubicBezTo>
                <a:close/>
                <a:moveTo>
                  <a:pt x="1804537" y="25022"/>
                </a:moveTo>
                <a:cubicBezTo>
                  <a:pt x="1801953" y="31131"/>
                  <a:pt x="1800661" y="36770"/>
                  <a:pt x="1800661" y="41939"/>
                </a:cubicBezTo>
                <a:cubicBezTo>
                  <a:pt x="1800661" y="44288"/>
                  <a:pt x="1800837" y="46461"/>
                  <a:pt x="1801189" y="48458"/>
                </a:cubicBezTo>
                <a:cubicBezTo>
                  <a:pt x="1801542" y="50456"/>
                  <a:pt x="1801718" y="52394"/>
                  <a:pt x="1801718" y="54273"/>
                </a:cubicBezTo>
                <a:cubicBezTo>
                  <a:pt x="1801718" y="56623"/>
                  <a:pt x="1801248" y="59090"/>
                  <a:pt x="1800308" y="61674"/>
                </a:cubicBezTo>
                <a:cubicBezTo>
                  <a:pt x="1798428" y="68018"/>
                  <a:pt x="1796490" y="73422"/>
                  <a:pt x="1794493" y="77886"/>
                </a:cubicBezTo>
                <a:cubicBezTo>
                  <a:pt x="1792496" y="82350"/>
                  <a:pt x="1790323" y="84582"/>
                  <a:pt x="1787973" y="84582"/>
                </a:cubicBezTo>
                <a:cubicBezTo>
                  <a:pt x="1784684" y="84582"/>
                  <a:pt x="1781219" y="83231"/>
                  <a:pt x="1777577" y="80529"/>
                </a:cubicBezTo>
                <a:cubicBezTo>
                  <a:pt x="1773935" y="77827"/>
                  <a:pt x="1770881" y="74479"/>
                  <a:pt x="1768414" y="70485"/>
                </a:cubicBezTo>
                <a:cubicBezTo>
                  <a:pt x="1765947" y="66491"/>
                  <a:pt x="1764713" y="63084"/>
                  <a:pt x="1764713" y="60265"/>
                </a:cubicBezTo>
                <a:cubicBezTo>
                  <a:pt x="1764009" y="55331"/>
                  <a:pt x="1763656" y="49340"/>
                  <a:pt x="1763656" y="42291"/>
                </a:cubicBezTo>
                <a:cubicBezTo>
                  <a:pt x="1763656" y="37592"/>
                  <a:pt x="1764009" y="35008"/>
                  <a:pt x="1764713" y="34538"/>
                </a:cubicBezTo>
                <a:cubicBezTo>
                  <a:pt x="1766123" y="38062"/>
                  <a:pt x="1768120" y="40881"/>
                  <a:pt x="1770705" y="42996"/>
                </a:cubicBezTo>
                <a:cubicBezTo>
                  <a:pt x="1772114" y="44171"/>
                  <a:pt x="1773759" y="45052"/>
                  <a:pt x="1775639" y="45639"/>
                </a:cubicBezTo>
                <a:cubicBezTo>
                  <a:pt x="1777518" y="46226"/>
                  <a:pt x="1779163" y="46520"/>
                  <a:pt x="1780573" y="46520"/>
                </a:cubicBezTo>
                <a:cubicBezTo>
                  <a:pt x="1789031" y="45580"/>
                  <a:pt x="1797019" y="38414"/>
                  <a:pt x="1804537" y="25022"/>
                </a:cubicBezTo>
                <a:close/>
                <a:moveTo>
                  <a:pt x="609607" y="16916"/>
                </a:moveTo>
                <a:cubicBezTo>
                  <a:pt x="610312" y="17386"/>
                  <a:pt x="611957" y="18737"/>
                  <a:pt x="614541" y="20969"/>
                </a:cubicBezTo>
                <a:cubicBezTo>
                  <a:pt x="617125" y="23201"/>
                  <a:pt x="619710" y="24787"/>
                  <a:pt x="622294" y="25727"/>
                </a:cubicBezTo>
                <a:cubicBezTo>
                  <a:pt x="624174" y="26667"/>
                  <a:pt x="625114" y="27842"/>
                  <a:pt x="625114" y="29251"/>
                </a:cubicBezTo>
                <a:cubicBezTo>
                  <a:pt x="625114" y="30191"/>
                  <a:pt x="624585" y="32012"/>
                  <a:pt x="623528" y="34714"/>
                </a:cubicBezTo>
                <a:cubicBezTo>
                  <a:pt x="622471" y="37416"/>
                  <a:pt x="621824" y="39472"/>
                  <a:pt x="621589" y="40881"/>
                </a:cubicBezTo>
                <a:lnTo>
                  <a:pt x="620532" y="56036"/>
                </a:lnTo>
                <a:cubicBezTo>
                  <a:pt x="626876" y="54156"/>
                  <a:pt x="633572" y="52041"/>
                  <a:pt x="640620" y="49692"/>
                </a:cubicBezTo>
                <a:cubicBezTo>
                  <a:pt x="642735" y="48987"/>
                  <a:pt x="644849" y="48635"/>
                  <a:pt x="646964" y="48635"/>
                </a:cubicBezTo>
                <a:cubicBezTo>
                  <a:pt x="650488" y="48635"/>
                  <a:pt x="654012" y="49516"/>
                  <a:pt x="657537" y="51278"/>
                </a:cubicBezTo>
                <a:cubicBezTo>
                  <a:pt x="661061" y="53040"/>
                  <a:pt x="665173" y="55683"/>
                  <a:pt x="669872" y="59207"/>
                </a:cubicBezTo>
                <a:cubicBezTo>
                  <a:pt x="671986" y="61557"/>
                  <a:pt x="673044" y="64024"/>
                  <a:pt x="673044" y="66608"/>
                </a:cubicBezTo>
                <a:cubicBezTo>
                  <a:pt x="673044" y="70837"/>
                  <a:pt x="671046" y="74949"/>
                  <a:pt x="667052" y="78943"/>
                </a:cubicBezTo>
                <a:cubicBezTo>
                  <a:pt x="671986" y="80588"/>
                  <a:pt x="678447" y="83466"/>
                  <a:pt x="686436" y="87578"/>
                </a:cubicBezTo>
                <a:cubicBezTo>
                  <a:pt x="694424" y="91689"/>
                  <a:pt x="699475" y="94920"/>
                  <a:pt x="701590" y="97269"/>
                </a:cubicBezTo>
                <a:cubicBezTo>
                  <a:pt x="703939" y="100089"/>
                  <a:pt x="704938" y="102027"/>
                  <a:pt x="704586" y="103084"/>
                </a:cubicBezTo>
                <a:cubicBezTo>
                  <a:pt x="704233" y="104142"/>
                  <a:pt x="703587" y="104670"/>
                  <a:pt x="702647" y="104670"/>
                </a:cubicBezTo>
                <a:lnTo>
                  <a:pt x="698066" y="108547"/>
                </a:lnTo>
                <a:cubicBezTo>
                  <a:pt x="696421" y="109722"/>
                  <a:pt x="692544" y="115361"/>
                  <a:pt x="686436" y="125463"/>
                </a:cubicBezTo>
                <a:cubicBezTo>
                  <a:pt x="694189" y="127578"/>
                  <a:pt x="700415" y="132629"/>
                  <a:pt x="705114" y="140618"/>
                </a:cubicBezTo>
                <a:cubicBezTo>
                  <a:pt x="706289" y="142027"/>
                  <a:pt x="706876" y="143789"/>
                  <a:pt x="706876" y="145904"/>
                </a:cubicBezTo>
                <a:cubicBezTo>
                  <a:pt x="706876" y="149898"/>
                  <a:pt x="704586" y="153657"/>
                  <a:pt x="700004" y="157182"/>
                </a:cubicBezTo>
                <a:cubicBezTo>
                  <a:pt x="695422" y="160706"/>
                  <a:pt x="691017" y="162468"/>
                  <a:pt x="686788" y="162468"/>
                </a:cubicBezTo>
                <a:cubicBezTo>
                  <a:pt x="684673" y="162468"/>
                  <a:pt x="683029" y="161998"/>
                  <a:pt x="681854" y="161058"/>
                </a:cubicBezTo>
                <a:cubicBezTo>
                  <a:pt x="680444" y="160118"/>
                  <a:pt x="678565" y="159002"/>
                  <a:pt x="676215" y="157710"/>
                </a:cubicBezTo>
                <a:cubicBezTo>
                  <a:pt x="673866" y="156418"/>
                  <a:pt x="671986" y="155537"/>
                  <a:pt x="670577" y="155067"/>
                </a:cubicBezTo>
                <a:cubicBezTo>
                  <a:pt x="669167" y="154832"/>
                  <a:pt x="641560" y="159884"/>
                  <a:pt x="587757" y="170221"/>
                </a:cubicBezTo>
                <a:lnTo>
                  <a:pt x="546171" y="177975"/>
                </a:lnTo>
                <a:lnTo>
                  <a:pt x="540179" y="179032"/>
                </a:lnTo>
                <a:cubicBezTo>
                  <a:pt x="539709" y="179267"/>
                  <a:pt x="538887" y="179384"/>
                  <a:pt x="537712" y="179384"/>
                </a:cubicBezTo>
                <a:cubicBezTo>
                  <a:pt x="534893" y="179384"/>
                  <a:pt x="532309" y="177857"/>
                  <a:pt x="529959" y="174803"/>
                </a:cubicBezTo>
                <a:cubicBezTo>
                  <a:pt x="529254" y="174098"/>
                  <a:pt x="529195" y="172218"/>
                  <a:pt x="529783" y="169164"/>
                </a:cubicBezTo>
                <a:cubicBezTo>
                  <a:pt x="530370" y="166110"/>
                  <a:pt x="530781" y="164230"/>
                  <a:pt x="531016" y="163525"/>
                </a:cubicBezTo>
                <a:cubicBezTo>
                  <a:pt x="531251" y="162350"/>
                  <a:pt x="531604" y="160118"/>
                  <a:pt x="532073" y="156829"/>
                </a:cubicBezTo>
                <a:cubicBezTo>
                  <a:pt x="532543" y="153540"/>
                  <a:pt x="532661" y="150955"/>
                  <a:pt x="532426" y="149076"/>
                </a:cubicBezTo>
                <a:cubicBezTo>
                  <a:pt x="532426" y="137798"/>
                  <a:pt x="531839" y="130632"/>
                  <a:pt x="530664" y="127578"/>
                </a:cubicBezTo>
                <a:cubicBezTo>
                  <a:pt x="512338" y="145904"/>
                  <a:pt x="497653" y="158709"/>
                  <a:pt x="486611" y="165992"/>
                </a:cubicBezTo>
                <a:lnTo>
                  <a:pt x="494364" y="168107"/>
                </a:lnTo>
                <a:cubicBezTo>
                  <a:pt x="499533" y="169282"/>
                  <a:pt x="503351" y="170456"/>
                  <a:pt x="505818" y="171631"/>
                </a:cubicBezTo>
                <a:cubicBezTo>
                  <a:pt x="508285" y="172806"/>
                  <a:pt x="509636" y="174450"/>
                  <a:pt x="509871" y="176565"/>
                </a:cubicBezTo>
                <a:cubicBezTo>
                  <a:pt x="509871" y="177035"/>
                  <a:pt x="509695" y="177740"/>
                  <a:pt x="509342" y="178680"/>
                </a:cubicBezTo>
                <a:cubicBezTo>
                  <a:pt x="508990" y="179619"/>
                  <a:pt x="508813" y="180559"/>
                  <a:pt x="508813" y="181499"/>
                </a:cubicBezTo>
                <a:lnTo>
                  <a:pt x="508813" y="198063"/>
                </a:lnTo>
                <a:cubicBezTo>
                  <a:pt x="508813" y="219208"/>
                  <a:pt x="508696" y="234480"/>
                  <a:pt x="508461" y="243878"/>
                </a:cubicBezTo>
                <a:cubicBezTo>
                  <a:pt x="511046" y="235420"/>
                  <a:pt x="515451" y="227549"/>
                  <a:pt x="521677" y="220266"/>
                </a:cubicBezTo>
                <a:cubicBezTo>
                  <a:pt x="527903" y="212982"/>
                  <a:pt x="533131" y="208988"/>
                  <a:pt x="537360" y="208283"/>
                </a:cubicBezTo>
                <a:cubicBezTo>
                  <a:pt x="535480" y="212747"/>
                  <a:pt x="534540" y="217916"/>
                  <a:pt x="534540" y="223790"/>
                </a:cubicBezTo>
                <a:cubicBezTo>
                  <a:pt x="534540" y="229664"/>
                  <a:pt x="535656" y="235479"/>
                  <a:pt x="537888" y="241235"/>
                </a:cubicBezTo>
                <a:cubicBezTo>
                  <a:pt x="540121" y="246991"/>
                  <a:pt x="543116" y="251866"/>
                  <a:pt x="546875" y="255861"/>
                </a:cubicBezTo>
                <a:cubicBezTo>
                  <a:pt x="547815" y="257035"/>
                  <a:pt x="549107" y="257740"/>
                  <a:pt x="550752" y="257975"/>
                </a:cubicBezTo>
                <a:cubicBezTo>
                  <a:pt x="552397" y="258210"/>
                  <a:pt x="554864" y="258328"/>
                  <a:pt x="558153" y="258328"/>
                </a:cubicBezTo>
                <a:cubicBezTo>
                  <a:pt x="556508" y="260442"/>
                  <a:pt x="554629" y="263144"/>
                  <a:pt x="552514" y="266433"/>
                </a:cubicBezTo>
                <a:cubicBezTo>
                  <a:pt x="550400" y="269723"/>
                  <a:pt x="549107" y="271955"/>
                  <a:pt x="548638" y="273129"/>
                </a:cubicBezTo>
                <a:cubicBezTo>
                  <a:pt x="544643" y="275009"/>
                  <a:pt x="540297" y="275949"/>
                  <a:pt x="535598" y="275949"/>
                </a:cubicBezTo>
                <a:cubicBezTo>
                  <a:pt x="529254" y="275949"/>
                  <a:pt x="523615" y="274539"/>
                  <a:pt x="518681" y="271720"/>
                </a:cubicBezTo>
                <a:cubicBezTo>
                  <a:pt x="513747" y="268900"/>
                  <a:pt x="510223" y="266433"/>
                  <a:pt x="508109" y="264319"/>
                </a:cubicBezTo>
                <a:lnTo>
                  <a:pt x="508109" y="263614"/>
                </a:lnTo>
                <a:lnTo>
                  <a:pt x="507404" y="274187"/>
                </a:lnTo>
                <a:cubicBezTo>
                  <a:pt x="507169" y="277006"/>
                  <a:pt x="505407" y="280589"/>
                  <a:pt x="502117" y="284936"/>
                </a:cubicBezTo>
                <a:cubicBezTo>
                  <a:pt x="498828" y="289282"/>
                  <a:pt x="494364" y="293276"/>
                  <a:pt x="488725" y="296918"/>
                </a:cubicBezTo>
                <a:cubicBezTo>
                  <a:pt x="483086" y="300560"/>
                  <a:pt x="476860" y="302851"/>
                  <a:pt x="470047" y="303790"/>
                </a:cubicBezTo>
                <a:cubicBezTo>
                  <a:pt x="470986" y="298152"/>
                  <a:pt x="471456" y="281000"/>
                  <a:pt x="471456" y="252336"/>
                </a:cubicBezTo>
                <a:cubicBezTo>
                  <a:pt x="471456" y="212395"/>
                  <a:pt x="470399" y="190310"/>
                  <a:pt x="468285" y="186080"/>
                </a:cubicBezTo>
                <a:cubicBezTo>
                  <a:pt x="465230" y="180207"/>
                  <a:pt x="463586" y="177035"/>
                  <a:pt x="463351" y="176565"/>
                </a:cubicBezTo>
                <a:cubicBezTo>
                  <a:pt x="453013" y="179619"/>
                  <a:pt x="438681" y="180912"/>
                  <a:pt x="420355" y="180442"/>
                </a:cubicBezTo>
                <a:cubicBezTo>
                  <a:pt x="431632" y="175038"/>
                  <a:pt x="442381" y="167461"/>
                  <a:pt x="452602" y="157710"/>
                </a:cubicBezTo>
                <a:cubicBezTo>
                  <a:pt x="462822" y="147960"/>
                  <a:pt x="470693" y="139560"/>
                  <a:pt x="476214" y="132512"/>
                </a:cubicBezTo>
                <a:cubicBezTo>
                  <a:pt x="481735" y="125463"/>
                  <a:pt x="489900" y="114421"/>
                  <a:pt x="500708" y="99384"/>
                </a:cubicBezTo>
                <a:cubicBezTo>
                  <a:pt x="503527" y="95625"/>
                  <a:pt x="504937" y="93158"/>
                  <a:pt x="504937" y="91983"/>
                </a:cubicBezTo>
                <a:cubicBezTo>
                  <a:pt x="504937" y="91513"/>
                  <a:pt x="504702" y="90984"/>
                  <a:pt x="504232" y="90397"/>
                </a:cubicBezTo>
                <a:cubicBezTo>
                  <a:pt x="503762" y="89810"/>
                  <a:pt x="503409" y="89281"/>
                  <a:pt x="503175" y="88811"/>
                </a:cubicBezTo>
                <a:cubicBezTo>
                  <a:pt x="502705" y="87871"/>
                  <a:pt x="502470" y="87167"/>
                  <a:pt x="502470" y="86697"/>
                </a:cubicBezTo>
                <a:cubicBezTo>
                  <a:pt x="490487" y="97739"/>
                  <a:pt x="477272" y="106139"/>
                  <a:pt x="462822" y="111895"/>
                </a:cubicBezTo>
                <a:cubicBezTo>
                  <a:pt x="448372" y="117651"/>
                  <a:pt x="436096" y="120529"/>
                  <a:pt x="425994" y="120529"/>
                </a:cubicBezTo>
                <a:cubicBezTo>
                  <a:pt x="423879" y="120529"/>
                  <a:pt x="422352" y="120412"/>
                  <a:pt x="421412" y="120177"/>
                </a:cubicBezTo>
                <a:cubicBezTo>
                  <a:pt x="430340" y="112894"/>
                  <a:pt x="439679" y="103965"/>
                  <a:pt x="449430" y="93393"/>
                </a:cubicBezTo>
                <a:cubicBezTo>
                  <a:pt x="459180" y="82820"/>
                  <a:pt x="467756" y="72717"/>
                  <a:pt x="475157" y="63084"/>
                </a:cubicBezTo>
                <a:cubicBezTo>
                  <a:pt x="482558" y="53451"/>
                  <a:pt x="487081" y="46755"/>
                  <a:pt x="488725" y="42996"/>
                </a:cubicBezTo>
                <a:cubicBezTo>
                  <a:pt x="489665" y="40881"/>
                  <a:pt x="490135" y="39237"/>
                  <a:pt x="490135" y="38062"/>
                </a:cubicBezTo>
                <a:cubicBezTo>
                  <a:pt x="490135" y="37122"/>
                  <a:pt x="489841" y="36417"/>
                  <a:pt x="489254" y="35947"/>
                </a:cubicBezTo>
                <a:cubicBezTo>
                  <a:pt x="488666" y="35478"/>
                  <a:pt x="488255" y="35008"/>
                  <a:pt x="488020" y="34538"/>
                </a:cubicBezTo>
                <a:cubicBezTo>
                  <a:pt x="487551" y="33598"/>
                  <a:pt x="487315" y="32658"/>
                  <a:pt x="487315" y="31718"/>
                </a:cubicBezTo>
                <a:cubicBezTo>
                  <a:pt x="487315" y="31248"/>
                  <a:pt x="487668" y="30191"/>
                  <a:pt x="488373" y="28546"/>
                </a:cubicBezTo>
                <a:cubicBezTo>
                  <a:pt x="490957" y="23847"/>
                  <a:pt x="493777" y="20676"/>
                  <a:pt x="496831" y="19031"/>
                </a:cubicBezTo>
                <a:cubicBezTo>
                  <a:pt x="496361" y="20206"/>
                  <a:pt x="496126" y="21498"/>
                  <a:pt x="496126" y="22908"/>
                </a:cubicBezTo>
                <a:cubicBezTo>
                  <a:pt x="496126" y="25257"/>
                  <a:pt x="497066" y="27254"/>
                  <a:pt x="498945" y="28899"/>
                </a:cubicBezTo>
                <a:cubicBezTo>
                  <a:pt x="501530" y="31013"/>
                  <a:pt x="506112" y="34303"/>
                  <a:pt x="512690" y="38767"/>
                </a:cubicBezTo>
                <a:cubicBezTo>
                  <a:pt x="523498" y="48635"/>
                  <a:pt x="528784" y="55213"/>
                  <a:pt x="528549" y="58503"/>
                </a:cubicBezTo>
                <a:cubicBezTo>
                  <a:pt x="528314" y="59912"/>
                  <a:pt x="527903" y="60970"/>
                  <a:pt x="527316" y="61674"/>
                </a:cubicBezTo>
                <a:cubicBezTo>
                  <a:pt x="526728" y="62379"/>
                  <a:pt x="525671" y="63084"/>
                  <a:pt x="524144" y="63789"/>
                </a:cubicBezTo>
                <a:cubicBezTo>
                  <a:pt x="522617" y="64494"/>
                  <a:pt x="521383" y="65316"/>
                  <a:pt x="520444" y="66256"/>
                </a:cubicBezTo>
                <a:cubicBezTo>
                  <a:pt x="518094" y="69545"/>
                  <a:pt x="516214" y="72012"/>
                  <a:pt x="514805" y="73657"/>
                </a:cubicBezTo>
                <a:cubicBezTo>
                  <a:pt x="514805" y="76946"/>
                  <a:pt x="515979" y="79648"/>
                  <a:pt x="518329" y="81763"/>
                </a:cubicBezTo>
                <a:cubicBezTo>
                  <a:pt x="521853" y="85052"/>
                  <a:pt x="528197" y="91631"/>
                  <a:pt x="537360" y="101498"/>
                </a:cubicBezTo>
                <a:cubicBezTo>
                  <a:pt x="541589" y="107842"/>
                  <a:pt x="543351" y="113128"/>
                  <a:pt x="542646" y="117358"/>
                </a:cubicBezTo>
                <a:cubicBezTo>
                  <a:pt x="542176" y="119942"/>
                  <a:pt x="540884" y="121822"/>
                  <a:pt x="538770" y="122996"/>
                </a:cubicBezTo>
                <a:lnTo>
                  <a:pt x="542294" y="124054"/>
                </a:lnTo>
                <a:cubicBezTo>
                  <a:pt x="543469" y="124289"/>
                  <a:pt x="545113" y="124582"/>
                  <a:pt x="547228" y="124935"/>
                </a:cubicBezTo>
                <a:cubicBezTo>
                  <a:pt x="549342" y="125287"/>
                  <a:pt x="551046" y="125933"/>
                  <a:pt x="552338" y="126873"/>
                </a:cubicBezTo>
                <a:cubicBezTo>
                  <a:pt x="553630" y="127813"/>
                  <a:pt x="554746" y="129458"/>
                  <a:pt x="555686" y="131807"/>
                </a:cubicBezTo>
                <a:cubicBezTo>
                  <a:pt x="556861" y="133922"/>
                  <a:pt x="557448" y="140853"/>
                  <a:pt x="557448" y="152600"/>
                </a:cubicBezTo>
                <a:cubicBezTo>
                  <a:pt x="558388" y="152365"/>
                  <a:pt x="560620" y="151778"/>
                  <a:pt x="564144" y="150838"/>
                </a:cubicBezTo>
                <a:lnTo>
                  <a:pt x="564497" y="144142"/>
                </a:lnTo>
                <a:cubicBezTo>
                  <a:pt x="564497" y="135214"/>
                  <a:pt x="562852" y="128988"/>
                  <a:pt x="559563" y="125463"/>
                </a:cubicBezTo>
                <a:lnTo>
                  <a:pt x="559210" y="124054"/>
                </a:lnTo>
                <a:lnTo>
                  <a:pt x="554276" y="118415"/>
                </a:lnTo>
                <a:cubicBezTo>
                  <a:pt x="553101" y="116770"/>
                  <a:pt x="551692" y="115067"/>
                  <a:pt x="550047" y="113305"/>
                </a:cubicBezTo>
                <a:cubicBezTo>
                  <a:pt x="548403" y="111543"/>
                  <a:pt x="547463" y="110427"/>
                  <a:pt x="547228" y="109957"/>
                </a:cubicBezTo>
                <a:lnTo>
                  <a:pt x="548990" y="109957"/>
                </a:lnTo>
                <a:cubicBezTo>
                  <a:pt x="551809" y="109957"/>
                  <a:pt x="554159" y="109722"/>
                  <a:pt x="556039" y="109252"/>
                </a:cubicBezTo>
                <a:cubicBezTo>
                  <a:pt x="561442" y="108547"/>
                  <a:pt x="572485" y="106080"/>
                  <a:pt x="589166" y="101851"/>
                </a:cubicBezTo>
                <a:lnTo>
                  <a:pt x="589166" y="88459"/>
                </a:lnTo>
                <a:lnTo>
                  <a:pt x="574364" y="91631"/>
                </a:lnTo>
                <a:cubicBezTo>
                  <a:pt x="573425" y="91865"/>
                  <a:pt x="572015" y="91983"/>
                  <a:pt x="570135" y="91983"/>
                </a:cubicBezTo>
                <a:cubicBezTo>
                  <a:pt x="566611" y="91983"/>
                  <a:pt x="563028" y="91219"/>
                  <a:pt x="559387" y="89692"/>
                </a:cubicBezTo>
                <a:cubicBezTo>
                  <a:pt x="555745" y="88165"/>
                  <a:pt x="552632" y="85992"/>
                  <a:pt x="550047" y="83172"/>
                </a:cubicBezTo>
                <a:cubicBezTo>
                  <a:pt x="545818" y="78943"/>
                  <a:pt x="543704" y="75889"/>
                  <a:pt x="543704" y="74009"/>
                </a:cubicBezTo>
                <a:cubicBezTo>
                  <a:pt x="543704" y="72365"/>
                  <a:pt x="545583" y="71425"/>
                  <a:pt x="549342" y="71190"/>
                </a:cubicBezTo>
                <a:cubicBezTo>
                  <a:pt x="562499" y="70250"/>
                  <a:pt x="575892" y="68018"/>
                  <a:pt x="589519" y="64494"/>
                </a:cubicBezTo>
                <a:cubicBezTo>
                  <a:pt x="589519" y="50867"/>
                  <a:pt x="589049" y="44053"/>
                  <a:pt x="588109" y="44053"/>
                </a:cubicBezTo>
                <a:cubicBezTo>
                  <a:pt x="583175" y="42174"/>
                  <a:pt x="579475" y="39589"/>
                  <a:pt x="577008" y="36300"/>
                </a:cubicBezTo>
                <a:cubicBezTo>
                  <a:pt x="574541" y="33011"/>
                  <a:pt x="572602" y="28664"/>
                  <a:pt x="571193" y="23260"/>
                </a:cubicBezTo>
                <a:cubicBezTo>
                  <a:pt x="571897" y="23495"/>
                  <a:pt x="573483" y="24317"/>
                  <a:pt x="575950" y="25727"/>
                </a:cubicBezTo>
                <a:cubicBezTo>
                  <a:pt x="578417" y="27137"/>
                  <a:pt x="580591" y="27842"/>
                  <a:pt x="582470" y="27842"/>
                </a:cubicBezTo>
                <a:cubicBezTo>
                  <a:pt x="585525" y="27842"/>
                  <a:pt x="589754" y="25257"/>
                  <a:pt x="595158" y="20088"/>
                </a:cubicBezTo>
                <a:cubicBezTo>
                  <a:pt x="596332" y="18914"/>
                  <a:pt x="598564" y="18032"/>
                  <a:pt x="601854" y="17445"/>
                </a:cubicBezTo>
                <a:cubicBezTo>
                  <a:pt x="605143" y="16858"/>
                  <a:pt x="607728" y="16682"/>
                  <a:pt x="609607" y="16916"/>
                </a:cubicBezTo>
                <a:close/>
                <a:moveTo>
                  <a:pt x="4015280" y="16212"/>
                </a:moveTo>
                <a:cubicBezTo>
                  <a:pt x="4019745" y="19266"/>
                  <a:pt x="4024679" y="21909"/>
                  <a:pt x="4030082" y="24141"/>
                </a:cubicBezTo>
                <a:cubicBezTo>
                  <a:pt x="4035486" y="26373"/>
                  <a:pt x="4040655" y="27489"/>
                  <a:pt x="4045589" y="27489"/>
                </a:cubicBezTo>
                <a:cubicBezTo>
                  <a:pt x="4047234" y="27489"/>
                  <a:pt x="4049231" y="27254"/>
                  <a:pt x="4051580" y="26784"/>
                </a:cubicBezTo>
                <a:cubicBezTo>
                  <a:pt x="4054869" y="26314"/>
                  <a:pt x="4056984" y="26080"/>
                  <a:pt x="4057924" y="26080"/>
                </a:cubicBezTo>
                <a:cubicBezTo>
                  <a:pt x="4061918" y="26080"/>
                  <a:pt x="4065090" y="26902"/>
                  <a:pt x="4067439" y="28546"/>
                </a:cubicBezTo>
                <a:cubicBezTo>
                  <a:pt x="4069789" y="30191"/>
                  <a:pt x="4071903" y="32129"/>
                  <a:pt x="4073783" y="34361"/>
                </a:cubicBezTo>
                <a:cubicBezTo>
                  <a:pt x="4075663" y="36594"/>
                  <a:pt x="4077190" y="38297"/>
                  <a:pt x="4078364" y="39472"/>
                </a:cubicBezTo>
                <a:cubicBezTo>
                  <a:pt x="4079304" y="40646"/>
                  <a:pt x="4079774" y="41704"/>
                  <a:pt x="4079774" y="42643"/>
                </a:cubicBezTo>
                <a:cubicBezTo>
                  <a:pt x="4079774" y="43818"/>
                  <a:pt x="4079128" y="45169"/>
                  <a:pt x="4077836" y="46696"/>
                </a:cubicBezTo>
                <a:cubicBezTo>
                  <a:pt x="4076544" y="48224"/>
                  <a:pt x="4075898" y="49457"/>
                  <a:pt x="4075898" y="50397"/>
                </a:cubicBezTo>
                <a:lnTo>
                  <a:pt x="4076250" y="65551"/>
                </a:lnTo>
                <a:cubicBezTo>
                  <a:pt x="4077895" y="158356"/>
                  <a:pt x="4078717" y="222028"/>
                  <a:pt x="4078717" y="256565"/>
                </a:cubicBezTo>
                <a:cubicBezTo>
                  <a:pt x="4078717" y="267373"/>
                  <a:pt x="4078599" y="273482"/>
                  <a:pt x="4078364" y="274892"/>
                </a:cubicBezTo>
                <a:cubicBezTo>
                  <a:pt x="4077895" y="279121"/>
                  <a:pt x="4074370" y="283291"/>
                  <a:pt x="4067792" y="287403"/>
                </a:cubicBezTo>
                <a:cubicBezTo>
                  <a:pt x="4061213" y="291514"/>
                  <a:pt x="4053460" y="295215"/>
                  <a:pt x="4044532" y="298504"/>
                </a:cubicBezTo>
                <a:lnTo>
                  <a:pt x="4014223" y="252336"/>
                </a:lnTo>
                <a:cubicBezTo>
                  <a:pt x="4020567" y="252571"/>
                  <a:pt x="4026147" y="252336"/>
                  <a:pt x="4030963" y="251632"/>
                </a:cubicBezTo>
                <a:cubicBezTo>
                  <a:pt x="4035780" y="250927"/>
                  <a:pt x="4038658" y="249752"/>
                  <a:pt x="4039598" y="248107"/>
                </a:cubicBezTo>
                <a:cubicBezTo>
                  <a:pt x="4040303" y="246698"/>
                  <a:pt x="4040655" y="234245"/>
                  <a:pt x="4040655" y="210750"/>
                </a:cubicBezTo>
                <a:cubicBezTo>
                  <a:pt x="4040655" y="182556"/>
                  <a:pt x="4040185" y="149017"/>
                  <a:pt x="4039245" y="110133"/>
                </a:cubicBezTo>
                <a:cubicBezTo>
                  <a:pt x="4038306" y="71249"/>
                  <a:pt x="4037483" y="50984"/>
                  <a:pt x="4036779" y="49340"/>
                </a:cubicBezTo>
                <a:cubicBezTo>
                  <a:pt x="4034664" y="45110"/>
                  <a:pt x="4031257" y="39354"/>
                  <a:pt x="4026558" y="32071"/>
                </a:cubicBezTo>
                <a:cubicBezTo>
                  <a:pt x="4021859" y="24787"/>
                  <a:pt x="4018100" y="19501"/>
                  <a:pt x="4015280" y="16212"/>
                </a:cubicBezTo>
                <a:close/>
                <a:moveTo>
                  <a:pt x="2620878" y="15154"/>
                </a:moveTo>
                <a:cubicBezTo>
                  <a:pt x="2624637" y="17504"/>
                  <a:pt x="2629688" y="18679"/>
                  <a:pt x="2636032" y="18679"/>
                </a:cubicBezTo>
                <a:cubicBezTo>
                  <a:pt x="2639086" y="18679"/>
                  <a:pt x="2642375" y="18326"/>
                  <a:pt x="2645899" y="17621"/>
                </a:cubicBezTo>
                <a:cubicBezTo>
                  <a:pt x="2648719" y="17151"/>
                  <a:pt x="2650833" y="16916"/>
                  <a:pt x="2652243" y="16916"/>
                </a:cubicBezTo>
                <a:cubicBezTo>
                  <a:pt x="2662111" y="16916"/>
                  <a:pt x="2671157" y="21381"/>
                  <a:pt x="2679380" y="30309"/>
                </a:cubicBezTo>
                <a:cubicBezTo>
                  <a:pt x="2680320" y="31248"/>
                  <a:pt x="2680790" y="32306"/>
                  <a:pt x="2680790" y="33480"/>
                </a:cubicBezTo>
                <a:cubicBezTo>
                  <a:pt x="2680790" y="34420"/>
                  <a:pt x="2680144" y="35595"/>
                  <a:pt x="2678852" y="37005"/>
                </a:cubicBezTo>
                <a:cubicBezTo>
                  <a:pt x="2677559" y="38414"/>
                  <a:pt x="2676913" y="39589"/>
                  <a:pt x="2676913" y="40529"/>
                </a:cubicBezTo>
                <a:lnTo>
                  <a:pt x="2677266" y="80705"/>
                </a:lnTo>
                <a:lnTo>
                  <a:pt x="2714623" y="72952"/>
                </a:lnTo>
                <a:cubicBezTo>
                  <a:pt x="2716267" y="72482"/>
                  <a:pt x="2719498" y="71601"/>
                  <a:pt x="2724314" y="70309"/>
                </a:cubicBezTo>
                <a:cubicBezTo>
                  <a:pt x="2729131" y="69017"/>
                  <a:pt x="2733419" y="68370"/>
                  <a:pt x="2737178" y="68370"/>
                </a:cubicBezTo>
                <a:cubicBezTo>
                  <a:pt x="2741407" y="68370"/>
                  <a:pt x="2744579" y="69310"/>
                  <a:pt x="2746693" y="71190"/>
                </a:cubicBezTo>
                <a:cubicBezTo>
                  <a:pt x="2747163" y="71425"/>
                  <a:pt x="2751040" y="73481"/>
                  <a:pt x="2758323" y="77357"/>
                </a:cubicBezTo>
                <a:cubicBezTo>
                  <a:pt x="2765607" y="81234"/>
                  <a:pt x="2770541" y="84934"/>
                  <a:pt x="2773125" y="88459"/>
                </a:cubicBezTo>
                <a:cubicBezTo>
                  <a:pt x="2775240" y="90573"/>
                  <a:pt x="2776297" y="93628"/>
                  <a:pt x="2776297" y="97622"/>
                </a:cubicBezTo>
                <a:cubicBezTo>
                  <a:pt x="2776297" y="102556"/>
                  <a:pt x="2774770" y="107196"/>
                  <a:pt x="2771716" y="111543"/>
                </a:cubicBezTo>
                <a:cubicBezTo>
                  <a:pt x="2768661" y="115889"/>
                  <a:pt x="2764785" y="118062"/>
                  <a:pt x="2760085" y="118062"/>
                </a:cubicBezTo>
                <a:cubicBezTo>
                  <a:pt x="2757501" y="118062"/>
                  <a:pt x="2754682" y="117240"/>
                  <a:pt x="2751627" y="115595"/>
                </a:cubicBezTo>
                <a:cubicBezTo>
                  <a:pt x="2749043" y="114891"/>
                  <a:pt x="2746576" y="113833"/>
                  <a:pt x="2744227" y="112424"/>
                </a:cubicBezTo>
                <a:cubicBezTo>
                  <a:pt x="2737413" y="109839"/>
                  <a:pt x="2733066" y="108429"/>
                  <a:pt x="2731187" y="108195"/>
                </a:cubicBezTo>
                <a:cubicBezTo>
                  <a:pt x="2728132" y="108195"/>
                  <a:pt x="2725430" y="108312"/>
                  <a:pt x="2723081" y="108547"/>
                </a:cubicBezTo>
                <a:lnTo>
                  <a:pt x="2728719" y="113128"/>
                </a:lnTo>
                <a:lnTo>
                  <a:pt x="2744931" y="116300"/>
                </a:lnTo>
                <a:lnTo>
                  <a:pt x="2757266" y="131807"/>
                </a:lnTo>
                <a:lnTo>
                  <a:pt x="2757266" y="147314"/>
                </a:lnTo>
                <a:lnTo>
                  <a:pt x="2749160" y="151190"/>
                </a:lnTo>
                <a:cubicBezTo>
                  <a:pt x="2737178" y="160353"/>
                  <a:pt x="2723551" y="168577"/>
                  <a:pt x="2708279" y="175860"/>
                </a:cubicBezTo>
                <a:cubicBezTo>
                  <a:pt x="2718382" y="182204"/>
                  <a:pt x="2731304" y="191014"/>
                  <a:pt x="2747046" y="202292"/>
                </a:cubicBezTo>
                <a:cubicBezTo>
                  <a:pt x="2765607" y="215214"/>
                  <a:pt x="2780174" y="224730"/>
                  <a:pt x="2790746" y="230838"/>
                </a:cubicBezTo>
                <a:cubicBezTo>
                  <a:pt x="2801319" y="236947"/>
                  <a:pt x="2810835" y="240001"/>
                  <a:pt x="2819293" y="240001"/>
                </a:cubicBezTo>
                <a:lnTo>
                  <a:pt x="2822817" y="239649"/>
                </a:lnTo>
                <a:cubicBezTo>
                  <a:pt x="2815769" y="241294"/>
                  <a:pt x="2809366" y="244289"/>
                  <a:pt x="2803610" y="248636"/>
                </a:cubicBezTo>
                <a:cubicBezTo>
                  <a:pt x="2797854" y="252982"/>
                  <a:pt x="2791099" y="259032"/>
                  <a:pt x="2783346" y="266786"/>
                </a:cubicBezTo>
                <a:cubicBezTo>
                  <a:pt x="2776532" y="273834"/>
                  <a:pt x="2770834" y="279062"/>
                  <a:pt x="2766253" y="282469"/>
                </a:cubicBezTo>
                <a:cubicBezTo>
                  <a:pt x="2761671" y="285875"/>
                  <a:pt x="2756914" y="287579"/>
                  <a:pt x="2751980" y="287579"/>
                </a:cubicBezTo>
                <a:cubicBezTo>
                  <a:pt x="2746811" y="287579"/>
                  <a:pt x="2741642" y="285347"/>
                  <a:pt x="2736473" y="280883"/>
                </a:cubicBezTo>
                <a:cubicBezTo>
                  <a:pt x="2731304" y="276889"/>
                  <a:pt x="2725371" y="270016"/>
                  <a:pt x="2718675" y="260266"/>
                </a:cubicBezTo>
                <a:cubicBezTo>
                  <a:pt x="2711980" y="250516"/>
                  <a:pt x="2703698" y="237652"/>
                  <a:pt x="2693830" y="221675"/>
                </a:cubicBezTo>
                <a:lnTo>
                  <a:pt x="2677618" y="196653"/>
                </a:lnTo>
                <a:cubicBezTo>
                  <a:pt x="2677618" y="248107"/>
                  <a:pt x="2677383" y="275479"/>
                  <a:pt x="2676913" y="278768"/>
                </a:cubicBezTo>
                <a:cubicBezTo>
                  <a:pt x="2676444" y="282762"/>
                  <a:pt x="2672625" y="286815"/>
                  <a:pt x="2665459" y="290927"/>
                </a:cubicBezTo>
                <a:cubicBezTo>
                  <a:pt x="2658293" y="295039"/>
                  <a:pt x="2649777" y="298622"/>
                  <a:pt x="2639909" y="301676"/>
                </a:cubicBezTo>
                <a:lnTo>
                  <a:pt x="2611010" y="256565"/>
                </a:lnTo>
                <a:cubicBezTo>
                  <a:pt x="2617354" y="256800"/>
                  <a:pt x="2622875" y="256565"/>
                  <a:pt x="2627574" y="255861"/>
                </a:cubicBezTo>
                <a:cubicBezTo>
                  <a:pt x="2632272" y="255156"/>
                  <a:pt x="2635092" y="253981"/>
                  <a:pt x="2636032" y="252336"/>
                </a:cubicBezTo>
                <a:cubicBezTo>
                  <a:pt x="2637206" y="250457"/>
                  <a:pt x="2637794" y="226844"/>
                  <a:pt x="2637794" y="181499"/>
                </a:cubicBezTo>
                <a:cubicBezTo>
                  <a:pt x="2631920" y="193951"/>
                  <a:pt x="2624696" y="207050"/>
                  <a:pt x="2616120" y="220794"/>
                </a:cubicBezTo>
                <a:cubicBezTo>
                  <a:pt x="2607544" y="234539"/>
                  <a:pt x="2601142" y="243643"/>
                  <a:pt x="2596913" y="248107"/>
                </a:cubicBezTo>
                <a:cubicBezTo>
                  <a:pt x="2595738" y="249282"/>
                  <a:pt x="2593682" y="251397"/>
                  <a:pt x="2590745" y="254451"/>
                </a:cubicBezTo>
                <a:cubicBezTo>
                  <a:pt x="2587808" y="257505"/>
                  <a:pt x="2585576" y="260266"/>
                  <a:pt x="2584049" y="262733"/>
                </a:cubicBezTo>
                <a:cubicBezTo>
                  <a:pt x="2582522" y="265200"/>
                  <a:pt x="2581759" y="267843"/>
                  <a:pt x="2581759" y="270662"/>
                </a:cubicBezTo>
                <a:cubicBezTo>
                  <a:pt x="2581759" y="273952"/>
                  <a:pt x="2580173" y="276477"/>
                  <a:pt x="2577001" y="278240"/>
                </a:cubicBezTo>
                <a:cubicBezTo>
                  <a:pt x="2573829" y="280002"/>
                  <a:pt x="2569894" y="280883"/>
                  <a:pt x="2565194" y="280883"/>
                </a:cubicBezTo>
                <a:cubicBezTo>
                  <a:pt x="2560260" y="280883"/>
                  <a:pt x="2556149" y="280060"/>
                  <a:pt x="2552860" y="278416"/>
                </a:cubicBezTo>
                <a:cubicBezTo>
                  <a:pt x="2552155" y="277946"/>
                  <a:pt x="2550275" y="277065"/>
                  <a:pt x="2547221" y="275773"/>
                </a:cubicBezTo>
                <a:cubicBezTo>
                  <a:pt x="2544166" y="274480"/>
                  <a:pt x="2541817" y="272777"/>
                  <a:pt x="2540172" y="270662"/>
                </a:cubicBezTo>
                <a:cubicBezTo>
                  <a:pt x="2537118" y="266433"/>
                  <a:pt x="2534299" y="256331"/>
                  <a:pt x="2531714" y="240354"/>
                </a:cubicBezTo>
                <a:cubicBezTo>
                  <a:pt x="2530539" y="233540"/>
                  <a:pt x="2529952" y="230251"/>
                  <a:pt x="2529952" y="230486"/>
                </a:cubicBezTo>
                <a:cubicBezTo>
                  <a:pt x="2527837" y="221558"/>
                  <a:pt x="2525370" y="214862"/>
                  <a:pt x="2522551" y="210398"/>
                </a:cubicBezTo>
                <a:cubicBezTo>
                  <a:pt x="2529130" y="214627"/>
                  <a:pt x="2532537" y="216624"/>
                  <a:pt x="2532771" y="216389"/>
                </a:cubicBezTo>
                <a:cubicBezTo>
                  <a:pt x="2533946" y="218504"/>
                  <a:pt x="2536061" y="221147"/>
                  <a:pt x="2539115" y="224319"/>
                </a:cubicBezTo>
                <a:cubicBezTo>
                  <a:pt x="2542169" y="227490"/>
                  <a:pt x="2545693" y="229076"/>
                  <a:pt x="2549688" y="229076"/>
                </a:cubicBezTo>
                <a:cubicBezTo>
                  <a:pt x="2557911" y="229076"/>
                  <a:pt x="2570128" y="222556"/>
                  <a:pt x="2586340" y="209517"/>
                </a:cubicBezTo>
                <a:cubicBezTo>
                  <a:pt x="2602552" y="196477"/>
                  <a:pt x="2619703" y="181264"/>
                  <a:pt x="2637794" y="163878"/>
                </a:cubicBezTo>
                <a:lnTo>
                  <a:pt x="2637794" y="120882"/>
                </a:lnTo>
                <a:cubicBezTo>
                  <a:pt x="2605136" y="126521"/>
                  <a:pt x="2586575" y="129458"/>
                  <a:pt x="2582111" y="129692"/>
                </a:cubicBezTo>
                <a:cubicBezTo>
                  <a:pt x="2574122" y="130162"/>
                  <a:pt x="2567191" y="126991"/>
                  <a:pt x="2561318" y="120177"/>
                </a:cubicBezTo>
                <a:cubicBezTo>
                  <a:pt x="2555444" y="113363"/>
                  <a:pt x="2550862" y="105845"/>
                  <a:pt x="2547573" y="97622"/>
                </a:cubicBezTo>
                <a:lnTo>
                  <a:pt x="2547573" y="97269"/>
                </a:lnTo>
                <a:cubicBezTo>
                  <a:pt x="2547573" y="96799"/>
                  <a:pt x="2548043" y="96565"/>
                  <a:pt x="2548983" y="96565"/>
                </a:cubicBezTo>
                <a:cubicBezTo>
                  <a:pt x="2550158" y="96565"/>
                  <a:pt x="2551450" y="96799"/>
                  <a:pt x="2552860" y="97269"/>
                </a:cubicBezTo>
                <a:cubicBezTo>
                  <a:pt x="2553564" y="97504"/>
                  <a:pt x="2554974" y="98033"/>
                  <a:pt x="2557089" y="98855"/>
                </a:cubicBezTo>
                <a:cubicBezTo>
                  <a:pt x="2559203" y="99678"/>
                  <a:pt x="2561788" y="100089"/>
                  <a:pt x="2564842" y="100089"/>
                </a:cubicBezTo>
                <a:cubicBezTo>
                  <a:pt x="2570951" y="100089"/>
                  <a:pt x="2595268" y="96095"/>
                  <a:pt x="2637794" y="88106"/>
                </a:cubicBezTo>
                <a:cubicBezTo>
                  <a:pt x="2637324" y="56623"/>
                  <a:pt x="2636854" y="40529"/>
                  <a:pt x="2636384" y="39824"/>
                </a:cubicBezTo>
                <a:cubicBezTo>
                  <a:pt x="2632155" y="31366"/>
                  <a:pt x="2626986" y="23143"/>
                  <a:pt x="2620878" y="15154"/>
                </a:cubicBezTo>
                <a:close/>
                <a:moveTo>
                  <a:pt x="2716385" y="14802"/>
                </a:moveTo>
                <a:cubicBezTo>
                  <a:pt x="2723903" y="17856"/>
                  <a:pt x="2732009" y="19383"/>
                  <a:pt x="2740702" y="19383"/>
                </a:cubicBezTo>
                <a:lnTo>
                  <a:pt x="2751275" y="19031"/>
                </a:lnTo>
                <a:cubicBezTo>
                  <a:pt x="2753155" y="18796"/>
                  <a:pt x="2755974" y="18679"/>
                  <a:pt x="2759733" y="18679"/>
                </a:cubicBezTo>
                <a:cubicBezTo>
                  <a:pt x="2763492" y="18679"/>
                  <a:pt x="2766840" y="19148"/>
                  <a:pt x="2769777" y="20088"/>
                </a:cubicBezTo>
                <a:cubicBezTo>
                  <a:pt x="2772714" y="21028"/>
                  <a:pt x="2775357" y="22790"/>
                  <a:pt x="2777707" y="25375"/>
                </a:cubicBezTo>
                <a:cubicBezTo>
                  <a:pt x="2780996" y="28899"/>
                  <a:pt x="2783757" y="33539"/>
                  <a:pt x="2785989" y="39295"/>
                </a:cubicBezTo>
                <a:cubicBezTo>
                  <a:pt x="2788220" y="45052"/>
                  <a:pt x="2789337" y="50044"/>
                  <a:pt x="2789337" y="54273"/>
                </a:cubicBezTo>
                <a:cubicBezTo>
                  <a:pt x="2789337" y="56623"/>
                  <a:pt x="2788867" y="58268"/>
                  <a:pt x="2787927" y="59207"/>
                </a:cubicBezTo>
                <a:cubicBezTo>
                  <a:pt x="2786282" y="60617"/>
                  <a:pt x="2783052" y="62321"/>
                  <a:pt x="2778236" y="64318"/>
                </a:cubicBezTo>
                <a:cubicBezTo>
                  <a:pt x="2773419" y="66315"/>
                  <a:pt x="2768896" y="67313"/>
                  <a:pt x="2764667" y="67313"/>
                </a:cubicBezTo>
                <a:lnTo>
                  <a:pt x="2761848" y="66961"/>
                </a:lnTo>
                <a:cubicBezTo>
                  <a:pt x="2754329" y="65316"/>
                  <a:pt x="2747046" y="61909"/>
                  <a:pt x="2739997" y="56740"/>
                </a:cubicBezTo>
                <a:cubicBezTo>
                  <a:pt x="2748221" y="53686"/>
                  <a:pt x="2752332" y="50984"/>
                  <a:pt x="2752332" y="48635"/>
                </a:cubicBezTo>
                <a:cubicBezTo>
                  <a:pt x="2752332" y="47225"/>
                  <a:pt x="2751451" y="45698"/>
                  <a:pt x="2749689" y="44053"/>
                </a:cubicBezTo>
                <a:cubicBezTo>
                  <a:pt x="2747927" y="42409"/>
                  <a:pt x="2744696" y="40059"/>
                  <a:pt x="2739997" y="37005"/>
                </a:cubicBezTo>
                <a:cubicBezTo>
                  <a:pt x="2727780" y="29721"/>
                  <a:pt x="2719909" y="22320"/>
                  <a:pt x="2716385" y="14802"/>
                </a:cubicBezTo>
                <a:close/>
                <a:moveTo>
                  <a:pt x="3133732" y="12687"/>
                </a:moveTo>
                <a:cubicBezTo>
                  <a:pt x="3135612" y="12217"/>
                  <a:pt x="3138783" y="12981"/>
                  <a:pt x="3143248" y="14978"/>
                </a:cubicBezTo>
                <a:cubicBezTo>
                  <a:pt x="3147712" y="16975"/>
                  <a:pt x="3152176" y="19795"/>
                  <a:pt x="3156640" y="23436"/>
                </a:cubicBezTo>
                <a:cubicBezTo>
                  <a:pt x="3161104" y="27078"/>
                  <a:pt x="3164511" y="31013"/>
                  <a:pt x="3166860" y="35243"/>
                </a:cubicBezTo>
                <a:cubicBezTo>
                  <a:pt x="3167330" y="35947"/>
                  <a:pt x="3168270" y="37533"/>
                  <a:pt x="3169680" y="40000"/>
                </a:cubicBezTo>
                <a:cubicBezTo>
                  <a:pt x="3171089" y="42467"/>
                  <a:pt x="3171794" y="44406"/>
                  <a:pt x="3171794" y="45815"/>
                </a:cubicBezTo>
                <a:cubicBezTo>
                  <a:pt x="3171794" y="47930"/>
                  <a:pt x="3169797" y="49927"/>
                  <a:pt x="3165803" y="51807"/>
                </a:cubicBezTo>
                <a:cubicBezTo>
                  <a:pt x="3163453" y="52746"/>
                  <a:pt x="3157344" y="66138"/>
                  <a:pt x="3147477" y="91983"/>
                </a:cubicBezTo>
                <a:cubicBezTo>
                  <a:pt x="3148886" y="92688"/>
                  <a:pt x="3151941" y="94802"/>
                  <a:pt x="3156640" y="98327"/>
                </a:cubicBezTo>
                <a:cubicBezTo>
                  <a:pt x="3163218" y="103496"/>
                  <a:pt x="3166508" y="108664"/>
                  <a:pt x="3166508" y="113833"/>
                </a:cubicBezTo>
                <a:cubicBezTo>
                  <a:pt x="3166508" y="115948"/>
                  <a:pt x="3165685" y="118062"/>
                  <a:pt x="3164040" y="120177"/>
                </a:cubicBezTo>
                <a:cubicBezTo>
                  <a:pt x="3164981" y="119942"/>
                  <a:pt x="3167623" y="119296"/>
                  <a:pt x="3171970" y="118239"/>
                </a:cubicBezTo>
                <a:cubicBezTo>
                  <a:pt x="3176317" y="117181"/>
                  <a:pt x="3180252" y="116653"/>
                  <a:pt x="3183776" y="116653"/>
                </a:cubicBezTo>
                <a:cubicBezTo>
                  <a:pt x="3188005" y="116653"/>
                  <a:pt x="3191413" y="117593"/>
                  <a:pt x="3193997" y="119472"/>
                </a:cubicBezTo>
                <a:cubicBezTo>
                  <a:pt x="3194467" y="119942"/>
                  <a:pt x="3198285" y="122703"/>
                  <a:pt x="3205451" y="127754"/>
                </a:cubicBezTo>
                <a:cubicBezTo>
                  <a:pt x="3212617" y="132806"/>
                  <a:pt x="3217257" y="136976"/>
                  <a:pt x="3219371" y="140265"/>
                </a:cubicBezTo>
                <a:cubicBezTo>
                  <a:pt x="3220076" y="141205"/>
                  <a:pt x="3220429" y="142497"/>
                  <a:pt x="3220429" y="144142"/>
                </a:cubicBezTo>
                <a:cubicBezTo>
                  <a:pt x="3220429" y="148136"/>
                  <a:pt x="3218667" y="152424"/>
                  <a:pt x="3215142" y="157005"/>
                </a:cubicBezTo>
                <a:cubicBezTo>
                  <a:pt x="3211618" y="161587"/>
                  <a:pt x="3207624" y="163878"/>
                  <a:pt x="3203160" y="163878"/>
                </a:cubicBezTo>
                <a:cubicBezTo>
                  <a:pt x="3201045" y="163878"/>
                  <a:pt x="3198813" y="163055"/>
                  <a:pt x="3196464" y="161411"/>
                </a:cubicBezTo>
                <a:cubicBezTo>
                  <a:pt x="3195054" y="160941"/>
                  <a:pt x="3193821" y="160471"/>
                  <a:pt x="3192763" y="160001"/>
                </a:cubicBezTo>
                <a:cubicBezTo>
                  <a:pt x="3191706" y="159531"/>
                  <a:pt x="3190707" y="159179"/>
                  <a:pt x="3189768" y="158944"/>
                </a:cubicBezTo>
                <a:cubicBezTo>
                  <a:pt x="3185539" y="156594"/>
                  <a:pt x="3181780" y="155419"/>
                  <a:pt x="3178490" y="155419"/>
                </a:cubicBezTo>
                <a:cubicBezTo>
                  <a:pt x="3170267" y="155419"/>
                  <a:pt x="3150766" y="157417"/>
                  <a:pt x="3119987" y="161411"/>
                </a:cubicBezTo>
                <a:cubicBezTo>
                  <a:pt x="3127976" y="165640"/>
                  <a:pt x="3133027" y="169399"/>
                  <a:pt x="3135142" y="172688"/>
                </a:cubicBezTo>
                <a:cubicBezTo>
                  <a:pt x="3135612" y="173628"/>
                  <a:pt x="3135847" y="174450"/>
                  <a:pt x="3135847" y="175155"/>
                </a:cubicBezTo>
                <a:cubicBezTo>
                  <a:pt x="3135847" y="177035"/>
                  <a:pt x="3135259" y="178914"/>
                  <a:pt x="3134085" y="180794"/>
                </a:cubicBezTo>
                <a:cubicBezTo>
                  <a:pt x="3138783" y="179854"/>
                  <a:pt x="3142190" y="179032"/>
                  <a:pt x="3144305" y="178327"/>
                </a:cubicBezTo>
                <a:cubicBezTo>
                  <a:pt x="3149944" y="176917"/>
                  <a:pt x="3154291" y="176213"/>
                  <a:pt x="3157344" y="176213"/>
                </a:cubicBezTo>
                <a:cubicBezTo>
                  <a:pt x="3158519" y="176213"/>
                  <a:pt x="3160751" y="176448"/>
                  <a:pt x="3164040" y="176917"/>
                </a:cubicBezTo>
                <a:cubicBezTo>
                  <a:pt x="3168035" y="177622"/>
                  <a:pt x="3172205" y="179267"/>
                  <a:pt x="3176552" y="181851"/>
                </a:cubicBezTo>
                <a:cubicBezTo>
                  <a:pt x="3180898" y="184436"/>
                  <a:pt x="3183542" y="186903"/>
                  <a:pt x="3184481" y="189252"/>
                </a:cubicBezTo>
                <a:cubicBezTo>
                  <a:pt x="3184951" y="190427"/>
                  <a:pt x="3185186" y="192307"/>
                  <a:pt x="3185186" y="194891"/>
                </a:cubicBezTo>
                <a:cubicBezTo>
                  <a:pt x="3185186" y="199825"/>
                  <a:pt x="3183776" y="204289"/>
                  <a:pt x="3180957" y="208283"/>
                </a:cubicBezTo>
                <a:cubicBezTo>
                  <a:pt x="3178138" y="212277"/>
                  <a:pt x="3174731" y="214274"/>
                  <a:pt x="3170737" y="214274"/>
                </a:cubicBezTo>
                <a:cubicBezTo>
                  <a:pt x="3169797" y="214274"/>
                  <a:pt x="3168622" y="214040"/>
                  <a:pt x="3167212" y="213570"/>
                </a:cubicBezTo>
                <a:cubicBezTo>
                  <a:pt x="3159929" y="210280"/>
                  <a:pt x="3155347" y="207813"/>
                  <a:pt x="3153468" y="206169"/>
                </a:cubicBezTo>
                <a:cubicBezTo>
                  <a:pt x="3146654" y="207109"/>
                  <a:pt x="3142895" y="207578"/>
                  <a:pt x="3142190" y="207578"/>
                </a:cubicBezTo>
                <a:cubicBezTo>
                  <a:pt x="3137257" y="207578"/>
                  <a:pt x="3132675" y="207813"/>
                  <a:pt x="3128446" y="208283"/>
                </a:cubicBezTo>
                <a:lnTo>
                  <a:pt x="3127741" y="217799"/>
                </a:lnTo>
                <a:cubicBezTo>
                  <a:pt x="3143952" y="222498"/>
                  <a:pt x="3154055" y="225435"/>
                  <a:pt x="3158050" y="226609"/>
                </a:cubicBezTo>
                <a:cubicBezTo>
                  <a:pt x="3180839" y="233423"/>
                  <a:pt x="3200399" y="238885"/>
                  <a:pt x="3216728" y="242997"/>
                </a:cubicBezTo>
                <a:cubicBezTo>
                  <a:pt x="3233057" y="247109"/>
                  <a:pt x="3248153" y="250104"/>
                  <a:pt x="3262015" y="251984"/>
                </a:cubicBezTo>
                <a:cubicBezTo>
                  <a:pt x="3256376" y="254333"/>
                  <a:pt x="3251618" y="257740"/>
                  <a:pt x="3247742" y="262204"/>
                </a:cubicBezTo>
                <a:cubicBezTo>
                  <a:pt x="3243865" y="266668"/>
                  <a:pt x="3238755" y="273482"/>
                  <a:pt x="3232411" y="282645"/>
                </a:cubicBezTo>
                <a:cubicBezTo>
                  <a:pt x="3225833" y="292748"/>
                  <a:pt x="3220017" y="300266"/>
                  <a:pt x="3214966" y="305200"/>
                </a:cubicBezTo>
                <a:cubicBezTo>
                  <a:pt x="3209914" y="310134"/>
                  <a:pt x="3203630" y="312601"/>
                  <a:pt x="3196111" y="312601"/>
                </a:cubicBezTo>
                <a:cubicBezTo>
                  <a:pt x="3192822" y="312601"/>
                  <a:pt x="3189063" y="311896"/>
                  <a:pt x="3184834" y="310486"/>
                </a:cubicBezTo>
                <a:cubicBezTo>
                  <a:pt x="3174966" y="307432"/>
                  <a:pt x="3164276" y="301793"/>
                  <a:pt x="3152763" y="293570"/>
                </a:cubicBezTo>
                <a:cubicBezTo>
                  <a:pt x="3141251" y="285347"/>
                  <a:pt x="3126801" y="274069"/>
                  <a:pt x="3109415" y="259737"/>
                </a:cubicBezTo>
                <a:cubicBezTo>
                  <a:pt x="3100722" y="252454"/>
                  <a:pt x="3091735" y="245170"/>
                  <a:pt x="3082454" y="237887"/>
                </a:cubicBezTo>
                <a:cubicBezTo>
                  <a:pt x="3073174" y="230603"/>
                  <a:pt x="3064892" y="224730"/>
                  <a:pt x="3057608" y="220266"/>
                </a:cubicBezTo>
                <a:cubicBezTo>
                  <a:pt x="3048210" y="235302"/>
                  <a:pt x="3036404" y="247402"/>
                  <a:pt x="3022190" y="256565"/>
                </a:cubicBezTo>
                <a:cubicBezTo>
                  <a:pt x="3007975" y="265729"/>
                  <a:pt x="2993350" y="270310"/>
                  <a:pt x="2978313" y="270310"/>
                </a:cubicBezTo>
                <a:cubicBezTo>
                  <a:pt x="2970324" y="270310"/>
                  <a:pt x="2962924" y="269018"/>
                  <a:pt x="2956110" y="266433"/>
                </a:cubicBezTo>
                <a:cubicBezTo>
                  <a:pt x="2964568" y="263144"/>
                  <a:pt x="2974671" y="255802"/>
                  <a:pt x="2986418" y="244407"/>
                </a:cubicBezTo>
                <a:cubicBezTo>
                  <a:pt x="2998166" y="233012"/>
                  <a:pt x="3008386" y="220736"/>
                  <a:pt x="3017080" y="207578"/>
                </a:cubicBezTo>
                <a:cubicBezTo>
                  <a:pt x="3025773" y="194421"/>
                  <a:pt x="3030119" y="183496"/>
                  <a:pt x="3030119" y="174803"/>
                </a:cubicBezTo>
                <a:lnTo>
                  <a:pt x="3029062" y="173746"/>
                </a:lnTo>
                <a:lnTo>
                  <a:pt x="2984304" y="179737"/>
                </a:lnTo>
                <a:cubicBezTo>
                  <a:pt x="2978900" y="179502"/>
                  <a:pt x="2973144" y="175743"/>
                  <a:pt x="2967035" y="168459"/>
                </a:cubicBezTo>
                <a:cubicBezTo>
                  <a:pt x="2960926" y="161176"/>
                  <a:pt x="2957050" y="154480"/>
                  <a:pt x="2955405" y="148371"/>
                </a:cubicBezTo>
                <a:lnTo>
                  <a:pt x="2955405" y="148019"/>
                </a:lnTo>
                <a:cubicBezTo>
                  <a:pt x="2955405" y="147549"/>
                  <a:pt x="2955875" y="147314"/>
                  <a:pt x="2956815" y="147314"/>
                </a:cubicBezTo>
                <a:lnTo>
                  <a:pt x="2960339" y="148019"/>
                </a:lnTo>
                <a:cubicBezTo>
                  <a:pt x="2963863" y="150133"/>
                  <a:pt x="2968093" y="151190"/>
                  <a:pt x="2973027" y="151190"/>
                </a:cubicBezTo>
                <a:cubicBezTo>
                  <a:pt x="2978900" y="150955"/>
                  <a:pt x="3000574" y="147784"/>
                  <a:pt x="3038049" y="141675"/>
                </a:cubicBezTo>
                <a:cubicBezTo>
                  <a:pt x="3075523" y="135566"/>
                  <a:pt x="3109767" y="129810"/>
                  <a:pt x="3140781" y="124406"/>
                </a:cubicBezTo>
                <a:lnTo>
                  <a:pt x="3139723" y="124054"/>
                </a:lnTo>
                <a:cubicBezTo>
                  <a:pt x="3139489" y="123819"/>
                  <a:pt x="3138783" y="123701"/>
                  <a:pt x="3137609" y="123701"/>
                </a:cubicBezTo>
                <a:cubicBezTo>
                  <a:pt x="3136199" y="123701"/>
                  <a:pt x="3135024" y="123819"/>
                  <a:pt x="3134085" y="124054"/>
                </a:cubicBezTo>
                <a:lnTo>
                  <a:pt x="3130913" y="124054"/>
                </a:lnTo>
                <a:cubicBezTo>
                  <a:pt x="3121045" y="124993"/>
                  <a:pt x="3096728" y="128753"/>
                  <a:pt x="3057961" y="135331"/>
                </a:cubicBezTo>
                <a:cubicBezTo>
                  <a:pt x="3045979" y="137446"/>
                  <a:pt x="3039048" y="138621"/>
                  <a:pt x="3037167" y="138856"/>
                </a:cubicBezTo>
                <a:cubicBezTo>
                  <a:pt x="3034583" y="139325"/>
                  <a:pt x="3032233" y="138797"/>
                  <a:pt x="3030119" y="137270"/>
                </a:cubicBezTo>
                <a:cubicBezTo>
                  <a:pt x="3028005" y="135742"/>
                  <a:pt x="3026125" y="133687"/>
                  <a:pt x="3024480" y="131102"/>
                </a:cubicBezTo>
                <a:cubicBezTo>
                  <a:pt x="3023305" y="130162"/>
                  <a:pt x="3022483" y="128988"/>
                  <a:pt x="3022013" y="127578"/>
                </a:cubicBezTo>
                <a:cubicBezTo>
                  <a:pt x="3020604" y="123114"/>
                  <a:pt x="3019664" y="115713"/>
                  <a:pt x="3019194" y="105375"/>
                </a:cubicBezTo>
                <a:cubicBezTo>
                  <a:pt x="3018724" y="96212"/>
                  <a:pt x="3017902" y="89986"/>
                  <a:pt x="3016727" y="86697"/>
                </a:cubicBezTo>
                <a:cubicBezTo>
                  <a:pt x="3015552" y="83172"/>
                  <a:pt x="3012968" y="78121"/>
                  <a:pt x="3008974" y="71542"/>
                </a:cubicBezTo>
                <a:lnTo>
                  <a:pt x="3004744" y="64141"/>
                </a:lnTo>
                <a:cubicBezTo>
                  <a:pt x="3003335" y="61087"/>
                  <a:pt x="3002278" y="56564"/>
                  <a:pt x="3001573" y="50573"/>
                </a:cubicBezTo>
                <a:cubicBezTo>
                  <a:pt x="3000868" y="44582"/>
                  <a:pt x="3000516" y="40411"/>
                  <a:pt x="3000516" y="38062"/>
                </a:cubicBezTo>
                <a:cubicBezTo>
                  <a:pt x="3000516" y="37827"/>
                  <a:pt x="3001690" y="39237"/>
                  <a:pt x="3004040" y="42291"/>
                </a:cubicBezTo>
                <a:cubicBezTo>
                  <a:pt x="3006389" y="45345"/>
                  <a:pt x="3008856" y="48047"/>
                  <a:pt x="3011441" y="50397"/>
                </a:cubicBezTo>
                <a:cubicBezTo>
                  <a:pt x="3013555" y="52041"/>
                  <a:pt x="3015905" y="53392"/>
                  <a:pt x="3018489" y="54450"/>
                </a:cubicBezTo>
                <a:cubicBezTo>
                  <a:pt x="3021074" y="55507"/>
                  <a:pt x="3023188" y="56153"/>
                  <a:pt x="3024833" y="56388"/>
                </a:cubicBezTo>
                <a:cubicBezTo>
                  <a:pt x="3026477" y="56623"/>
                  <a:pt x="3028827" y="57034"/>
                  <a:pt x="3031881" y="57622"/>
                </a:cubicBezTo>
                <a:cubicBezTo>
                  <a:pt x="3034936" y="58209"/>
                  <a:pt x="3037344" y="59207"/>
                  <a:pt x="3039106" y="60617"/>
                </a:cubicBezTo>
                <a:cubicBezTo>
                  <a:pt x="3040868" y="62027"/>
                  <a:pt x="3042689" y="64376"/>
                  <a:pt x="3044569" y="67666"/>
                </a:cubicBezTo>
                <a:cubicBezTo>
                  <a:pt x="3054672" y="65786"/>
                  <a:pt x="3065009" y="63672"/>
                  <a:pt x="3075582" y="61322"/>
                </a:cubicBezTo>
                <a:cubicBezTo>
                  <a:pt x="3086155" y="58973"/>
                  <a:pt x="3092146" y="57680"/>
                  <a:pt x="3093556" y="57445"/>
                </a:cubicBezTo>
                <a:cubicBezTo>
                  <a:pt x="3097785" y="56975"/>
                  <a:pt x="3102014" y="57680"/>
                  <a:pt x="3106243" y="59560"/>
                </a:cubicBezTo>
                <a:cubicBezTo>
                  <a:pt x="3110472" y="61439"/>
                  <a:pt x="3114114" y="64376"/>
                  <a:pt x="3117168" y="68370"/>
                </a:cubicBezTo>
                <a:cubicBezTo>
                  <a:pt x="3121397" y="53804"/>
                  <a:pt x="3122924" y="46285"/>
                  <a:pt x="3121749" y="45815"/>
                </a:cubicBezTo>
                <a:cubicBezTo>
                  <a:pt x="3117051" y="46285"/>
                  <a:pt x="3109415" y="47284"/>
                  <a:pt x="3098842" y="48811"/>
                </a:cubicBezTo>
                <a:cubicBezTo>
                  <a:pt x="3088270" y="50338"/>
                  <a:pt x="3079224" y="51689"/>
                  <a:pt x="3071705" y="52864"/>
                </a:cubicBezTo>
                <a:cubicBezTo>
                  <a:pt x="3069356" y="53334"/>
                  <a:pt x="3067711" y="53569"/>
                  <a:pt x="3066771" y="53569"/>
                </a:cubicBezTo>
                <a:cubicBezTo>
                  <a:pt x="3059958" y="53569"/>
                  <a:pt x="3054672" y="51337"/>
                  <a:pt x="3050913" y="46873"/>
                </a:cubicBezTo>
                <a:cubicBezTo>
                  <a:pt x="3049503" y="45228"/>
                  <a:pt x="3046272" y="42585"/>
                  <a:pt x="3041221" y="38943"/>
                </a:cubicBezTo>
                <a:cubicBezTo>
                  <a:pt x="3036169" y="35301"/>
                  <a:pt x="3034231" y="33598"/>
                  <a:pt x="3035405" y="33833"/>
                </a:cubicBezTo>
                <a:cubicBezTo>
                  <a:pt x="3051147" y="32188"/>
                  <a:pt x="3067652" y="29545"/>
                  <a:pt x="3084921" y="25903"/>
                </a:cubicBezTo>
                <a:cubicBezTo>
                  <a:pt x="3102190" y="22262"/>
                  <a:pt x="3118460" y="17856"/>
                  <a:pt x="3133732" y="12687"/>
                </a:cubicBezTo>
                <a:close/>
                <a:moveTo>
                  <a:pt x="1808766" y="11983"/>
                </a:moveTo>
                <a:cubicBezTo>
                  <a:pt x="1812761" y="17856"/>
                  <a:pt x="1816755" y="22203"/>
                  <a:pt x="1820749" y="25022"/>
                </a:cubicBezTo>
                <a:cubicBezTo>
                  <a:pt x="1823568" y="26197"/>
                  <a:pt x="1827210" y="27137"/>
                  <a:pt x="1831674" y="27842"/>
                </a:cubicBezTo>
                <a:cubicBezTo>
                  <a:pt x="1837313" y="28781"/>
                  <a:pt x="1842071" y="29956"/>
                  <a:pt x="1845947" y="31366"/>
                </a:cubicBezTo>
                <a:cubicBezTo>
                  <a:pt x="1849824" y="32776"/>
                  <a:pt x="1852467" y="34773"/>
                  <a:pt x="1853877" y="37357"/>
                </a:cubicBezTo>
                <a:cubicBezTo>
                  <a:pt x="1854582" y="39002"/>
                  <a:pt x="1854934" y="40881"/>
                  <a:pt x="1854934" y="42996"/>
                </a:cubicBezTo>
                <a:cubicBezTo>
                  <a:pt x="1854934" y="46990"/>
                  <a:pt x="1853877" y="51278"/>
                  <a:pt x="1851762" y="55859"/>
                </a:cubicBezTo>
                <a:cubicBezTo>
                  <a:pt x="1849648" y="60441"/>
                  <a:pt x="1847769" y="63437"/>
                  <a:pt x="1846124" y="64846"/>
                </a:cubicBezTo>
                <a:cubicBezTo>
                  <a:pt x="1845419" y="65316"/>
                  <a:pt x="1842893" y="65316"/>
                  <a:pt x="1838546" y="64846"/>
                </a:cubicBezTo>
                <a:cubicBezTo>
                  <a:pt x="1834200" y="64376"/>
                  <a:pt x="1830617" y="63319"/>
                  <a:pt x="1827798" y="61674"/>
                </a:cubicBezTo>
                <a:cubicBezTo>
                  <a:pt x="1822864" y="59325"/>
                  <a:pt x="1818282" y="55918"/>
                  <a:pt x="1814053" y="51454"/>
                </a:cubicBezTo>
                <a:lnTo>
                  <a:pt x="1817930" y="51454"/>
                </a:lnTo>
                <a:cubicBezTo>
                  <a:pt x="1824039" y="51454"/>
                  <a:pt x="1827210" y="50867"/>
                  <a:pt x="1827445" y="49692"/>
                </a:cubicBezTo>
                <a:cubicBezTo>
                  <a:pt x="1827680" y="46873"/>
                  <a:pt x="1825448" y="43231"/>
                  <a:pt x="1820749" y="38767"/>
                </a:cubicBezTo>
                <a:cubicBezTo>
                  <a:pt x="1818399" y="35478"/>
                  <a:pt x="1815991" y="31072"/>
                  <a:pt x="1813524" y="25551"/>
                </a:cubicBezTo>
                <a:cubicBezTo>
                  <a:pt x="1811057" y="20030"/>
                  <a:pt x="1809471" y="15507"/>
                  <a:pt x="1808766" y="11983"/>
                </a:cubicBezTo>
                <a:close/>
                <a:moveTo>
                  <a:pt x="241599" y="8458"/>
                </a:moveTo>
                <a:cubicBezTo>
                  <a:pt x="246063" y="8458"/>
                  <a:pt x="251820" y="11043"/>
                  <a:pt x="258868" y="16212"/>
                </a:cubicBezTo>
                <a:cubicBezTo>
                  <a:pt x="267091" y="21850"/>
                  <a:pt x="273141" y="27313"/>
                  <a:pt x="277018" y="32599"/>
                </a:cubicBezTo>
                <a:cubicBezTo>
                  <a:pt x="280895" y="37886"/>
                  <a:pt x="282833" y="42291"/>
                  <a:pt x="282833" y="45815"/>
                </a:cubicBezTo>
                <a:cubicBezTo>
                  <a:pt x="282833" y="46520"/>
                  <a:pt x="282598" y="47577"/>
                  <a:pt x="282128" y="48987"/>
                </a:cubicBezTo>
                <a:cubicBezTo>
                  <a:pt x="279544" y="53451"/>
                  <a:pt x="278251" y="58150"/>
                  <a:pt x="278251" y="63084"/>
                </a:cubicBezTo>
                <a:cubicBezTo>
                  <a:pt x="278016" y="69193"/>
                  <a:pt x="277781" y="80823"/>
                  <a:pt x="277546" y="97974"/>
                </a:cubicBezTo>
                <a:cubicBezTo>
                  <a:pt x="277312" y="115126"/>
                  <a:pt x="277194" y="135331"/>
                  <a:pt x="277194" y="158591"/>
                </a:cubicBezTo>
                <a:cubicBezTo>
                  <a:pt x="277194" y="219913"/>
                  <a:pt x="277899" y="256918"/>
                  <a:pt x="279309" y="269605"/>
                </a:cubicBezTo>
                <a:lnTo>
                  <a:pt x="279661" y="272777"/>
                </a:lnTo>
                <a:cubicBezTo>
                  <a:pt x="279661" y="279356"/>
                  <a:pt x="277018" y="284759"/>
                  <a:pt x="271732" y="288989"/>
                </a:cubicBezTo>
                <a:cubicBezTo>
                  <a:pt x="266445" y="293218"/>
                  <a:pt x="260572" y="296155"/>
                  <a:pt x="254110" y="297799"/>
                </a:cubicBezTo>
                <a:cubicBezTo>
                  <a:pt x="247649" y="299444"/>
                  <a:pt x="243596" y="299796"/>
                  <a:pt x="241952" y="298856"/>
                </a:cubicBezTo>
                <a:cubicBezTo>
                  <a:pt x="238662" y="297447"/>
                  <a:pt x="229264" y="282645"/>
                  <a:pt x="213758" y="254451"/>
                </a:cubicBezTo>
                <a:cubicBezTo>
                  <a:pt x="219397" y="254451"/>
                  <a:pt x="224448" y="253981"/>
                  <a:pt x="228912" y="253041"/>
                </a:cubicBezTo>
                <a:cubicBezTo>
                  <a:pt x="233376" y="252101"/>
                  <a:pt x="235961" y="250692"/>
                  <a:pt x="236665" y="248812"/>
                </a:cubicBezTo>
                <a:cubicBezTo>
                  <a:pt x="237135" y="247402"/>
                  <a:pt x="237370" y="227902"/>
                  <a:pt x="237370" y="190310"/>
                </a:cubicBezTo>
                <a:cubicBezTo>
                  <a:pt x="235726" y="191719"/>
                  <a:pt x="233493" y="192424"/>
                  <a:pt x="230674" y="192424"/>
                </a:cubicBezTo>
                <a:cubicBezTo>
                  <a:pt x="228560" y="192424"/>
                  <a:pt x="225975" y="191837"/>
                  <a:pt x="222920" y="190662"/>
                </a:cubicBezTo>
                <a:cubicBezTo>
                  <a:pt x="221746" y="190662"/>
                  <a:pt x="220219" y="189781"/>
                  <a:pt x="218339" y="188019"/>
                </a:cubicBezTo>
                <a:cubicBezTo>
                  <a:pt x="216460" y="186257"/>
                  <a:pt x="214228" y="185493"/>
                  <a:pt x="211643" y="185728"/>
                </a:cubicBezTo>
                <a:lnTo>
                  <a:pt x="203890" y="186785"/>
                </a:lnTo>
                <a:cubicBezTo>
                  <a:pt x="194022" y="187960"/>
                  <a:pt x="184624" y="189605"/>
                  <a:pt x="175696" y="191719"/>
                </a:cubicBezTo>
                <a:lnTo>
                  <a:pt x="172172" y="192424"/>
                </a:lnTo>
                <a:cubicBezTo>
                  <a:pt x="163948" y="220618"/>
                  <a:pt x="152906" y="244172"/>
                  <a:pt x="139044" y="263085"/>
                </a:cubicBezTo>
                <a:cubicBezTo>
                  <a:pt x="125182" y="281999"/>
                  <a:pt x="109322" y="292630"/>
                  <a:pt x="91466" y="294980"/>
                </a:cubicBezTo>
                <a:cubicBezTo>
                  <a:pt x="99924" y="280883"/>
                  <a:pt x="107913" y="264201"/>
                  <a:pt x="115431" y="244935"/>
                </a:cubicBezTo>
                <a:cubicBezTo>
                  <a:pt x="110732" y="246110"/>
                  <a:pt x="104212" y="247579"/>
                  <a:pt x="95871" y="249341"/>
                </a:cubicBezTo>
                <a:cubicBezTo>
                  <a:pt x="87531" y="251103"/>
                  <a:pt x="83478" y="251632"/>
                  <a:pt x="83713" y="250927"/>
                </a:cubicBezTo>
                <a:cubicBezTo>
                  <a:pt x="79014" y="242468"/>
                  <a:pt x="75020" y="234363"/>
                  <a:pt x="71731" y="226609"/>
                </a:cubicBezTo>
                <a:cubicBezTo>
                  <a:pt x="44711" y="227784"/>
                  <a:pt x="28030" y="228841"/>
                  <a:pt x="21686" y="229781"/>
                </a:cubicBezTo>
                <a:lnTo>
                  <a:pt x="20981" y="229781"/>
                </a:lnTo>
                <a:cubicBezTo>
                  <a:pt x="18867" y="229781"/>
                  <a:pt x="17105" y="228841"/>
                  <a:pt x="15695" y="226962"/>
                </a:cubicBezTo>
                <a:cubicBezTo>
                  <a:pt x="13345" y="226022"/>
                  <a:pt x="11936" y="224142"/>
                  <a:pt x="11466" y="221323"/>
                </a:cubicBezTo>
                <a:cubicBezTo>
                  <a:pt x="11231" y="220383"/>
                  <a:pt x="11113" y="216389"/>
                  <a:pt x="11113" y="209341"/>
                </a:cubicBezTo>
                <a:cubicBezTo>
                  <a:pt x="11113" y="199473"/>
                  <a:pt x="11231" y="191484"/>
                  <a:pt x="11466" y="185376"/>
                </a:cubicBezTo>
                <a:lnTo>
                  <a:pt x="11818" y="154010"/>
                </a:lnTo>
                <a:cubicBezTo>
                  <a:pt x="11818" y="139208"/>
                  <a:pt x="11348" y="130045"/>
                  <a:pt x="10409" y="126521"/>
                </a:cubicBezTo>
                <a:cubicBezTo>
                  <a:pt x="8999" y="122526"/>
                  <a:pt x="7354" y="118943"/>
                  <a:pt x="5475" y="115772"/>
                </a:cubicBezTo>
                <a:cubicBezTo>
                  <a:pt x="3595" y="112600"/>
                  <a:pt x="2538" y="110661"/>
                  <a:pt x="2303" y="109957"/>
                </a:cubicBezTo>
                <a:cubicBezTo>
                  <a:pt x="658" y="106902"/>
                  <a:pt x="-106" y="102438"/>
                  <a:pt x="12" y="96565"/>
                </a:cubicBezTo>
                <a:cubicBezTo>
                  <a:pt x="129" y="90691"/>
                  <a:pt x="188" y="87636"/>
                  <a:pt x="188" y="87401"/>
                </a:cubicBezTo>
                <a:cubicBezTo>
                  <a:pt x="188" y="87167"/>
                  <a:pt x="1187" y="88400"/>
                  <a:pt x="3184" y="91102"/>
                </a:cubicBezTo>
                <a:cubicBezTo>
                  <a:pt x="5181" y="93804"/>
                  <a:pt x="7237" y="96212"/>
                  <a:pt x="9351" y="98327"/>
                </a:cubicBezTo>
                <a:cubicBezTo>
                  <a:pt x="10761" y="99736"/>
                  <a:pt x="12523" y="101029"/>
                  <a:pt x="14638" y="102203"/>
                </a:cubicBezTo>
                <a:cubicBezTo>
                  <a:pt x="16752" y="103378"/>
                  <a:pt x="18397" y="104083"/>
                  <a:pt x="19572" y="104318"/>
                </a:cubicBezTo>
                <a:cubicBezTo>
                  <a:pt x="21686" y="105023"/>
                  <a:pt x="24858" y="105610"/>
                  <a:pt x="29087" y="106080"/>
                </a:cubicBezTo>
                <a:cubicBezTo>
                  <a:pt x="33786" y="106550"/>
                  <a:pt x="37427" y="107313"/>
                  <a:pt x="40012" y="108371"/>
                </a:cubicBezTo>
                <a:cubicBezTo>
                  <a:pt x="42597" y="109428"/>
                  <a:pt x="44594" y="111484"/>
                  <a:pt x="46004" y="114538"/>
                </a:cubicBezTo>
                <a:cubicBezTo>
                  <a:pt x="46943" y="116653"/>
                  <a:pt x="47648" y="121704"/>
                  <a:pt x="48118" y="129692"/>
                </a:cubicBezTo>
                <a:cubicBezTo>
                  <a:pt x="54697" y="128048"/>
                  <a:pt x="60453" y="126051"/>
                  <a:pt x="65387" y="123701"/>
                </a:cubicBezTo>
                <a:cubicBezTo>
                  <a:pt x="67501" y="122761"/>
                  <a:pt x="70086" y="122292"/>
                  <a:pt x="73140" y="122292"/>
                </a:cubicBezTo>
                <a:cubicBezTo>
                  <a:pt x="77134" y="122292"/>
                  <a:pt x="81363" y="123231"/>
                  <a:pt x="85828" y="125111"/>
                </a:cubicBezTo>
                <a:lnTo>
                  <a:pt x="85828" y="108899"/>
                </a:lnTo>
                <a:cubicBezTo>
                  <a:pt x="85828" y="95977"/>
                  <a:pt x="85710" y="89399"/>
                  <a:pt x="85475" y="89164"/>
                </a:cubicBezTo>
                <a:cubicBezTo>
                  <a:pt x="85475" y="88459"/>
                  <a:pt x="79249" y="89516"/>
                  <a:pt x="66796" y="92335"/>
                </a:cubicBezTo>
                <a:cubicBezTo>
                  <a:pt x="54344" y="95155"/>
                  <a:pt x="47531" y="96682"/>
                  <a:pt x="46356" y="96917"/>
                </a:cubicBezTo>
                <a:cubicBezTo>
                  <a:pt x="43537" y="97622"/>
                  <a:pt x="39836" y="96858"/>
                  <a:pt x="35255" y="94626"/>
                </a:cubicBezTo>
                <a:cubicBezTo>
                  <a:pt x="30673" y="92394"/>
                  <a:pt x="27443" y="90103"/>
                  <a:pt x="25563" y="87754"/>
                </a:cubicBezTo>
                <a:cubicBezTo>
                  <a:pt x="24623" y="86344"/>
                  <a:pt x="22978" y="84641"/>
                  <a:pt x="20629" y="82644"/>
                </a:cubicBezTo>
                <a:cubicBezTo>
                  <a:pt x="18279" y="80647"/>
                  <a:pt x="16576" y="79119"/>
                  <a:pt x="15519" y="78062"/>
                </a:cubicBezTo>
                <a:cubicBezTo>
                  <a:pt x="14461" y="77005"/>
                  <a:pt x="14403" y="76476"/>
                  <a:pt x="15342" y="76476"/>
                </a:cubicBezTo>
                <a:cubicBezTo>
                  <a:pt x="26855" y="76241"/>
                  <a:pt x="38250" y="75067"/>
                  <a:pt x="49528" y="72952"/>
                </a:cubicBezTo>
                <a:cubicBezTo>
                  <a:pt x="60805" y="70837"/>
                  <a:pt x="74432" y="66961"/>
                  <a:pt x="90409" y="61322"/>
                </a:cubicBezTo>
                <a:cubicBezTo>
                  <a:pt x="95108" y="59677"/>
                  <a:pt x="98280" y="57915"/>
                  <a:pt x="99924" y="56036"/>
                </a:cubicBezTo>
                <a:cubicBezTo>
                  <a:pt x="101569" y="54156"/>
                  <a:pt x="102391" y="53216"/>
                  <a:pt x="102391" y="53216"/>
                </a:cubicBezTo>
                <a:cubicBezTo>
                  <a:pt x="103566" y="52041"/>
                  <a:pt x="106973" y="52981"/>
                  <a:pt x="112612" y="56036"/>
                </a:cubicBezTo>
                <a:cubicBezTo>
                  <a:pt x="118250" y="59090"/>
                  <a:pt x="123420" y="62849"/>
                  <a:pt x="128119" y="67313"/>
                </a:cubicBezTo>
                <a:cubicBezTo>
                  <a:pt x="127649" y="65434"/>
                  <a:pt x="127414" y="63906"/>
                  <a:pt x="127414" y="62732"/>
                </a:cubicBezTo>
                <a:cubicBezTo>
                  <a:pt x="127414" y="60617"/>
                  <a:pt x="127883" y="58738"/>
                  <a:pt x="128823" y="57093"/>
                </a:cubicBezTo>
                <a:cubicBezTo>
                  <a:pt x="129763" y="59207"/>
                  <a:pt x="131114" y="60970"/>
                  <a:pt x="132876" y="62379"/>
                </a:cubicBezTo>
                <a:cubicBezTo>
                  <a:pt x="134638" y="63789"/>
                  <a:pt x="136694" y="64376"/>
                  <a:pt x="139044" y="64141"/>
                </a:cubicBezTo>
                <a:cubicBezTo>
                  <a:pt x="143743" y="64141"/>
                  <a:pt x="156195" y="65081"/>
                  <a:pt x="176401" y="66961"/>
                </a:cubicBezTo>
                <a:cubicBezTo>
                  <a:pt x="180160" y="68605"/>
                  <a:pt x="183214" y="71190"/>
                  <a:pt x="185563" y="74714"/>
                </a:cubicBezTo>
                <a:cubicBezTo>
                  <a:pt x="186739" y="76124"/>
                  <a:pt x="187326" y="77651"/>
                  <a:pt x="187326" y="79296"/>
                </a:cubicBezTo>
                <a:cubicBezTo>
                  <a:pt x="187326" y="80235"/>
                  <a:pt x="186915" y="81704"/>
                  <a:pt x="186092" y="83701"/>
                </a:cubicBezTo>
                <a:cubicBezTo>
                  <a:pt x="185270" y="85698"/>
                  <a:pt x="184859" y="87519"/>
                  <a:pt x="184859" y="89164"/>
                </a:cubicBezTo>
                <a:cubicBezTo>
                  <a:pt x="185094" y="93158"/>
                  <a:pt x="185211" y="99266"/>
                  <a:pt x="185211" y="107490"/>
                </a:cubicBezTo>
                <a:cubicBezTo>
                  <a:pt x="191555" y="104905"/>
                  <a:pt x="197311" y="102203"/>
                  <a:pt x="202480" y="99384"/>
                </a:cubicBezTo>
                <a:cubicBezTo>
                  <a:pt x="205535" y="97739"/>
                  <a:pt x="208589" y="96917"/>
                  <a:pt x="211643" y="96917"/>
                </a:cubicBezTo>
                <a:cubicBezTo>
                  <a:pt x="219867" y="96917"/>
                  <a:pt x="228325" y="101733"/>
                  <a:pt x="237018" y="111366"/>
                </a:cubicBezTo>
                <a:cubicBezTo>
                  <a:pt x="236548" y="71190"/>
                  <a:pt x="235491" y="50397"/>
                  <a:pt x="233846" y="48987"/>
                </a:cubicBezTo>
                <a:cubicBezTo>
                  <a:pt x="231966" y="47342"/>
                  <a:pt x="228912" y="46520"/>
                  <a:pt x="224683" y="46520"/>
                </a:cubicBezTo>
                <a:cubicBezTo>
                  <a:pt x="223508" y="46520"/>
                  <a:pt x="220571" y="46755"/>
                  <a:pt x="215872" y="47225"/>
                </a:cubicBezTo>
                <a:cubicBezTo>
                  <a:pt x="212113" y="47930"/>
                  <a:pt x="202598" y="49927"/>
                  <a:pt x="187326" y="53216"/>
                </a:cubicBezTo>
                <a:cubicBezTo>
                  <a:pt x="185446" y="53686"/>
                  <a:pt x="180806" y="54743"/>
                  <a:pt x="173405" y="56388"/>
                </a:cubicBezTo>
                <a:cubicBezTo>
                  <a:pt x="166004" y="58033"/>
                  <a:pt x="160542" y="58855"/>
                  <a:pt x="157017" y="58855"/>
                </a:cubicBezTo>
                <a:cubicBezTo>
                  <a:pt x="153493" y="58855"/>
                  <a:pt x="149499" y="57622"/>
                  <a:pt x="145035" y="55155"/>
                </a:cubicBezTo>
                <a:cubicBezTo>
                  <a:pt x="140571" y="52688"/>
                  <a:pt x="136753" y="49575"/>
                  <a:pt x="133581" y="45815"/>
                </a:cubicBezTo>
                <a:cubicBezTo>
                  <a:pt x="130409" y="42056"/>
                  <a:pt x="128941" y="38532"/>
                  <a:pt x="129176" y="35243"/>
                </a:cubicBezTo>
                <a:cubicBezTo>
                  <a:pt x="135755" y="39237"/>
                  <a:pt x="142333" y="41234"/>
                  <a:pt x="148912" y="41234"/>
                </a:cubicBezTo>
                <a:cubicBezTo>
                  <a:pt x="151731" y="41234"/>
                  <a:pt x="154433" y="40764"/>
                  <a:pt x="157017" y="39824"/>
                </a:cubicBezTo>
                <a:cubicBezTo>
                  <a:pt x="158897" y="39119"/>
                  <a:pt x="165593" y="37005"/>
                  <a:pt x="177105" y="33480"/>
                </a:cubicBezTo>
                <a:cubicBezTo>
                  <a:pt x="199895" y="27137"/>
                  <a:pt x="215167" y="21968"/>
                  <a:pt x="222920" y="17974"/>
                </a:cubicBezTo>
                <a:cubicBezTo>
                  <a:pt x="224331" y="17269"/>
                  <a:pt x="226798" y="15742"/>
                  <a:pt x="230321" y="13392"/>
                </a:cubicBezTo>
                <a:cubicBezTo>
                  <a:pt x="232671" y="11748"/>
                  <a:pt x="234668" y="10514"/>
                  <a:pt x="236313" y="9692"/>
                </a:cubicBezTo>
                <a:cubicBezTo>
                  <a:pt x="237958" y="8869"/>
                  <a:pt x="239720" y="8458"/>
                  <a:pt x="241599" y="8458"/>
                </a:cubicBezTo>
                <a:close/>
                <a:moveTo>
                  <a:pt x="4290953" y="7049"/>
                </a:moveTo>
                <a:cubicBezTo>
                  <a:pt x="4291423" y="7753"/>
                  <a:pt x="4292539" y="8693"/>
                  <a:pt x="4294301" y="9868"/>
                </a:cubicBezTo>
                <a:cubicBezTo>
                  <a:pt x="4296063" y="11043"/>
                  <a:pt x="4298119" y="11865"/>
                  <a:pt x="4300468" y="12335"/>
                </a:cubicBezTo>
                <a:cubicBezTo>
                  <a:pt x="4304463" y="12805"/>
                  <a:pt x="4307987" y="12922"/>
                  <a:pt x="4311041" y="12687"/>
                </a:cubicBezTo>
                <a:cubicBezTo>
                  <a:pt x="4312451" y="12687"/>
                  <a:pt x="4314566" y="11748"/>
                  <a:pt x="4317385" y="9868"/>
                </a:cubicBezTo>
                <a:cubicBezTo>
                  <a:pt x="4320204" y="7988"/>
                  <a:pt x="4322436" y="7166"/>
                  <a:pt x="4324081" y="7401"/>
                </a:cubicBezTo>
                <a:cubicBezTo>
                  <a:pt x="4326665" y="7871"/>
                  <a:pt x="4331482" y="9985"/>
                  <a:pt x="4338530" y="13745"/>
                </a:cubicBezTo>
                <a:cubicBezTo>
                  <a:pt x="4345579" y="17504"/>
                  <a:pt x="4349455" y="20323"/>
                  <a:pt x="4350161" y="22203"/>
                </a:cubicBezTo>
                <a:cubicBezTo>
                  <a:pt x="4350630" y="23613"/>
                  <a:pt x="4350865" y="24787"/>
                  <a:pt x="4350865" y="25727"/>
                </a:cubicBezTo>
                <a:cubicBezTo>
                  <a:pt x="4350865" y="27607"/>
                  <a:pt x="4350395" y="29428"/>
                  <a:pt x="4349455" y="31190"/>
                </a:cubicBezTo>
                <a:cubicBezTo>
                  <a:pt x="4348516" y="32952"/>
                  <a:pt x="4347341" y="34420"/>
                  <a:pt x="4345931" y="35595"/>
                </a:cubicBezTo>
                <a:cubicBezTo>
                  <a:pt x="4342172" y="38649"/>
                  <a:pt x="4338178" y="42526"/>
                  <a:pt x="4333949" y="47225"/>
                </a:cubicBezTo>
                <a:cubicBezTo>
                  <a:pt x="4349455" y="42291"/>
                  <a:pt x="4360616" y="39472"/>
                  <a:pt x="4367429" y="38767"/>
                </a:cubicBezTo>
                <a:cubicBezTo>
                  <a:pt x="4370484" y="38297"/>
                  <a:pt x="4374947" y="40588"/>
                  <a:pt x="4380821" y="45639"/>
                </a:cubicBezTo>
                <a:cubicBezTo>
                  <a:pt x="4386695" y="50691"/>
                  <a:pt x="4390337" y="54978"/>
                  <a:pt x="4391746" y="58503"/>
                </a:cubicBezTo>
                <a:cubicBezTo>
                  <a:pt x="4392217" y="59912"/>
                  <a:pt x="4392452" y="60970"/>
                  <a:pt x="4392452" y="61674"/>
                </a:cubicBezTo>
                <a:cubicBezTo>
                  <a:pt x="4392452" y="65434"/>
                  <a:pt x="4390689" y="69075"/>
                  <a:pt x="4387165" y="72600"/>
                </a:cubicBezTo>
                <a:cubicBezTo>
                  <a:pt x="4383640" y="76124"/>
                  <a:pt x="4379412" y="77886"/>
                  <a:pt x="4374478" y="77886"/>
                </a:cubicBezTo>
                <a:cubicBezTo>
                  <a:pt x="4371423" y="77886"/>
                  <a:pt x="4368722" y="77299"/>
                  <a:pt x="4366372" y="76124"/>
                </a:cubicBezTo>
                <a:cubicBezTo>
                  <a:pt x="4369896" y="78943"/>
                  <a:pt x="4372011" y="81763"/>
                  <a:pt x="4372716" y="84582"/>
                </a:cubicBezTo>
                <a:cubicBezTo>
                  <a:pt x="4372950" y="87167"/>
                  <a:pt x="4372539" y="89868"/>
                  <a:pt x="4371482" y="92688"/>
                </a:cubicBezTo>
                <a:cubicBezTo>
                  <a:pt x="4370425" y="95507"/>
                  <a:pt x="4368956" y="97857"/>
                  <a:pt x="4367077" y="99736"/>
                </a:cubicBezTo>
                <a:cubicBezTo>
                  <a:pt x="4365902" y="100676"/>
                  <a:pt x="4364492" y="102027"/>
                  <a:pt x="4362848" y="103789"/>
                </a:cubicBezTo>
                <a:cubicBezTo>
                  <a:pt x="4361203" y="105551"/>
                  <a:pt x="4359793" y="107020"/>
                  <a:pt x="4358619" y="108195"/>
                </a:cubicBezTo>
                <a:lnTo>
                  <a:pt x="4349808" y="117005"/>
                </a:lnTo>
                <a:cubicBezTo>
                  <a:pt x="4354272" y="115830"/>
                  <a:pt x="4357679" y="114891"/>
                  <a:pt x="4360028" y="114186"/>
                </a:cubicBezTo>
                <a:cubicBezTo>
                  <a:pt x="4362378" y="113481"/>
                  <a:pt x="4364140" y="113011"/>
                  <a:pt x="4365315" y="112776"/>
                </a:cubicBezTo>
                <a:cubicBezTo>
                  <a:pt x="4367194" y="112071"/>
                  <a:pt x="4369426" y="111308"/>
                  <a:pt x="4372011" y="110485"/>
                </a:cubicBezTo>
                <a:cubicBezTo>
                  <a:pt x="4374595" y="109663"/>
                  <a:pt x="4376533" y="109193"/>
                  <a:pt x="4377826" y="109076"/>
                </a:cubicBezTo>
                <a:cubicBezTo>
                  <a:pt x="4379118" y="108958"/>
                  <a:pt x="4380352" y="109017"/>
                  <a:pt x="4381526" y="109252"/>
                </a:cubicBezTo>
                <a:cubicBezTo>
                  <a:pt x="4381996" y="109252"/>
                  <a:pt x="4382525" y="109369"/>
                  <a:pt x="4383112" y="109604"/>
                </a:cubicBezTo>
                <a:cubicBezTo>
                  <a:pt x="4383700" y="109839"/>
                  <a:pt x="4384346" y="110074"/>
                  <a:pt x="4385050" y="110309"/>
                </a:cubicBezTo>
                <a:cubicBezTo>
                  <a:pt x="4391159" y="106550"/>
                  <a:pt x="4397973" y="99501"/>
                  <a:pt x="4405491" y="89164"/>
                </a:cubicBezTo>
                <a:cubicBezTo>
                  <a:pt x="4413010" y="78826"/>
                  <a:pt x="4419530" y="68253"/>
                  <a:pt x="4425051" y="57445"/>
                </a:cubicBezTo>
                <a:cubicBezTo>
                  <a:pt x="4430572" y="46638"/>
                  <a:pt x="4433333" y="39354"/>
                  <a:pt x="4433333" y="35595"/>
                </a:cubicBezTo>
                <a:cubicBezTo>
                  <a:pt x="4433333" y="33950"/>
                  <a:pt x="4432451" y="32071"/>
                  <a:pt x="4430689" y="29956"/>
                </a:cubicBezTo>
                <a:cubicBezTo>
                  <a:pt x="4428927" y="27842"/>
                  <a:pt x="4428046" y="26080"/>
                  <a:pt x="4428046" y="24670"/>
                </a:cubicBezTo>
                <a:lnTo>
                  <a:pt x="4428046" y="23260"/>
                </a:lnTo>
                <a:cubicBezTo>
                  <a:pt x="4428046" y="22320"/>
                  <a:pt x="4427870" y="21204"/>
                  <a:pt x="4427517" y="19912"/>
                </a:cubicBezTo>
                <a:cubicBezTo>
                  <a:pt x="4427165" y="18620"/>
                  <a:pt x="4427106" y="17151"/>
                  <a:pt x="4427341" y="15507"/>
                </a:cubicBezTo>
                <a:cubicBezTo>
                  <a:pt x="4427576" y="12922"/>
                  <a:pt x="4428986" y="10690"/>
                  <a:pt x="4431571" y="8811"/>
                </a:cubicBezTo>
                <a:lnTo>
                  <a:pt x="4432628" y="11278"/>
                </a:lnTo>
                <a:cubicBezTo>
                  <a:pt x="4432628" y="13392"/>
                  <a:pt x="4433450" y="15272"/>
                  <a:pt x="4435095" y="16916"/>
                </a:cubicBezTo>
                <a:cubicBezTo>
                  <a:pt x="4436740" y="18561"/>
                  <a:pt x="4439441" y="19618"/>
                  <a:pt x="4443201" y="20088"/>
                </a:cubicBezTo>
                <a:cubicBezTo>
                  <a:pt x="4444845" y="20323"/>
                  <a:pt x="4447723" y="20558"/>
                  <a:pt x="4451835" y="20793"/>
                </a:cubicBezTo>
                <a:cubicBezTo>
                  <a:pt x="4455947" y="21028"/>
                  <a:pt x="4459353" y="21674"/>
                  <a:pt x="4462055" y="22731"/>
                </a:cubicBezTo>
                <a:cubicBezTo>
                  <a:pt x="4464757" y="23789"/>
                  <a:pt x="4467166" y="25257"/>
                  <a:pt x="4469280" y="27137"/>
                </a:cubicBezTo>
                <a:cubicBezTo>
                  <a:pt x="4473744" y="31131"/>
                  <a:pt x="4477973" y="39237"/>
                  <a:pt x="4481967" y="51454"/>
                </a:cubicBezTo>
                <a:cubicBezTo>
                  <a:pt x="4478678" y="54508"/>
                  <a:pt x="4475976" y="56036"/>
                  <a:pt x="4473862" y="56036"/>
                </a:cubicBezTo>
                <a:cubicBezTo>
                  <a:pt x="4459764" y="75771"/>
                  <a:pt x="4443436" y="90103"/>
                  <a:pt x="4424875" y="99031"/>
                </a:cubicBezTo>
                <a:lnTo>
                  <a:pt x="4436857" y="102203"/>
                </a:lnTo>
                <a:cubicBezTo>
                  <a:pt x="4446255" y="100324"/>
                  <a:pt x="4457532" y="97622"/>
                  <a:pt x="4470690" y="94098"/>
                </a:cubicBezTo>
                <a:lnTo>
                  <a:pt x="4481967" y="91278"/>
                </a:lnTo>
                <a:cubicBezTo>
                  <a:pt x="4491600" y="89164"/>
                  <a:pt x="4498414" y="88106"/>
                  <a:pt x="4502408" y="88106"/>
                </a:cubicBezTo>
                <a:cubicBezTo>
                  <a:pt x="4507812" y="88106"/>
                  <a:pt x="4511806" y="89399"/>
                  <a:pt x="4514391" y="91983"/>
                </a:cubicBezTo>
                <a:cubicBezTo>
                  <a:pt x="4515330" y="92688"/>
                  <a:pt x="4518972" y="95331"/>
                  <a:pt x="4525316" y="99913"/>
                </a:cubicBezTo>
                <a:cubicBezTo>
                  <a:pt x="4531659" y="104494"/>
                  <a:pt x="4535418" y="108664"/>
                  <a:pt x="4536593" y="112424"/>
                </a:cubicBezTo>
                <a:cubicBezTo>
                  <a:pt x="4537298" y="113363"/>
                  <a:pt x="4537650" y="114656"/>
                  <a:pt x="4537650" y="116300"/>
                </a:cubicBezTo>
                <a:cubicBezTo>
                  <a:pt x="4537650" y="120060"/>
                  <a:pt x="4535947" y="123701"/>
                  <a:pt x="4532540" y="127225"/>
                </a:cubicBezTo>
                <a:cubicBezTo>
                  <a:pt x="4529133" y="130750"/>
                  <a:pt x="4525316" y="132512"/>
                  <a:pt x="4521087" y="132512"/>
                </a:cubicBezTo>
                <a:cubicBezTo>
                  <a:pt x="4519442" y="132512"/>
                  <a:pt x="4517445" y="131924"/>
                  <a:pt x="4515095" y="130750"/>
                </a:cubicBezTo>
                <a:cubicBezTo>
                  <a:pt x="4513216" y="130045"/>
                  <a:pt x="4510631" y="128988"/>
                  <a:pt x="4507342" y="127578"/>
                </a:cubicBezTo>
                <a:cubicBezTo>
                  <a:pt x="4504052" y="126168"/>
                  <a:pt x="4501116" y="125346"/>
                  <a:pt x="4498531" y="125111"/>
                </a:cubicBezTo>
                <a:cubicBezTo>
                  <a:pt x="4492893" y="124641"/>
                  <a:pt x="4481380" y="125816"/>
                  <a:pt x="4463994" y="128635"/>
                </a:cubicBezTo>
                <a:cubicBezTo>
                  <a:pt x="4471277" y="130280"/>
                  <a:pt x="4478208" y="132159"/>
                  <a:pt x="4484787" y="134274"/>
                </a:cubicBezTo>
                <a:cubicBezTo>
                  <a:pt x="4491365" y="136389"/>
                  <a:pt x="4495359" y="138503"/>
                  <a:pt x="4496769" y="140618"/>
                </a:cubicBezTo>
                <a:cubicBezTo>
                  <a:pt x="4497709" y="141792"/>
                  <a:pt x="4497944" y="143143"/>
                  <a:pt x="4497474" y="144671"/>
                </a:cubicBezTo>
                <a:cubicBezTo>
                  <a:pt x="4497004" y="146198"/>
                  <a:pt x="4496182" y="147960"/>
                  <a:pt x="4495007" y="149957"/>
                </a:cubicBezTo>
                <a:cubicBezTo>
                  <a:pt x="4493832" y="151954"/>
                  <a:pt x="4493245" y="153187"/>
                  <a:pt x="4493245" y="153657"/>
                </a:cubicBezTo>
                <a:lnTo>
                  <a:pt x="4493597" y="170221"/>
                </a:lnTo>
                <a:cubicBezTo>
                  <a:pt x="4494067" y="187608"/>
                  <a:pt x="4494302" y="204054"/>
                  <a:pt x="4494302" y="219561"/>
                </a:cubicBezTo>
                <a:cubicBezTo>
                  <a:pt x="4494302" y="237417"/>
                  <a:pt x="4493950" y="249399"/>
                  <a:pt x="4493245" y="255508"/>
                </a:cubicBezTo>
                <a:cubicBezTo>
                  <a:pt x="4492070" y="268430"/>
                  <a:pt x="4480675" y="277006"/>
                  <a:pt x="4459060" y="281235"/>
                </a:cubicBezTo>
                <a:cubicBezTo>
                  <a:pt x="4459764" y="273247"/>
                  <a:pt x="4460117" y="260442"/>
                  <a:pt x="4460117" y="242821"/>
                </a:cubicBezTo>
                <a:cubicBezTo>
                  <a:pt x="4460117" y="224730"/>
                  <a:pt x="4459823" y="205934"/>
                  <a:pt x="4459236" y="186433"/>
                </a:cubicBezTo>
                <a:cubicBezTo>
                  <a:pt x="4458649" y="166932"/>
                  <a:pt x="4457885" y="153657"/>
                  <a:pt x="4456945" y="146609"/>
                </a:cubicBezTo>
                <a:cubicBezTo>
                  <a:pt x="4456945" y="145434"/>
                  <a:pt x="4455829" y="143320"/>
                  <a:pt x="4453597" y="140265"/>
                </a:cubicBezTo>
                <a:cubicBezTo>
                  <a:pt x="4451365" y="137211"/>
                  <a:pt x="4450249" y="135096"/>
                  <a:pt x="4450249" y="133922"/>
                </a:cubicBezTo>
                <a:lnTo>
                  <a:pt x="4450249" y="131455"/>
                </a:lnTo>
                <a:lnTo>
                  <a:pt x="4442496" y="132864"/>
                </a:lnTo>
                <a:cubicBezTo>
                  <a:pt x="4440146" y="154950"/>
                  <a:pt x="4436798" y="174509"/>
                  <a:pt x="4432451" y="191543"/>
                </a:cubicBezTo>
                <a:cubicBezTo>
                  <a:pt x="4428105" y="208577"/>
                  <a:pt x="4420586" y="223966"/>
                  <a:pt x="4409896" y="237711"/>
                </a:cubicBezTo>
                <a:cubicBezTo>
                  <a:pt x="4399206" y="251455"/>
                  <a:pt x="4384346" y="259855"/>
                  <a:pt x="4365315" y="262909"/>
                </a:cubicBezTo>
                <a:cubicBezTo>
                  <a:pt x="4369544" y="258915"/>
                  <a:pt x="4373538" y="253276"/>
                  <a:pt x="4377297" y="245993"/>
                </a:cubicBezTo>
                <a:lnTo>
                  <a:pt x="4373420" y="246345"/>
                </a:lnTo>
                <a:cubicBezTo>
                  <a:pt x="4371306" y="246345"/>
                  <a:pt x="4369191" y="245993"/>
                  <a:pt x="4367077" y="245288"/>
                </a:cubicBezTo>
                <a:cubicBezTo>
                  <a:pt x="4359323" y="242938"/>
                  <a:pt x="4352275" y="238944"/>
                  <a:pt x="4345931" y="233305"/>
                </a:cubicBezTo>
                <a:cubicBezTo>
                  <a:pt x="4354154" y="231191"/>
                  <a:pt x="4358384" y="229076"/>
                  <a:pt x="4358619" y="226962"/>
                </a:cubicBezTo>
                <a:cubicBezTo>
                  <a:pt x="4358854" y="225317"/>
                  <a:pt x="4358148" y="223555"/>
                  <a:pt x="4356504" y="221675"/>
                </a:cubicBezTo>
                <a:cubicBezTo>
                  <a:pt x="4354859" y="219796"/>
                  <a:pt x="4351923" y="217211"/>
                  <a:pt x="4347693" y="213922"/>
                </a:cubicBezTo>
                <a:cubicBezTo>
                  <a:pt x="4345344" y="212042"/>
                  <a:pt x="4343464" y="210398"/>
                  <a:pt x="4342055" y="208988"/>
                </a:cubicBezTo>
                <a:cubicBezTo>
                  <a:pt x="4342290" y="223555"/>
                  <a:pt x="4342407" y="243878"/>
                  <a:pt x="4342407" y="269958"/>
                </a:cubicBezTo>
                <a:lnTo>
                  <a:pt x="4342407" y="281588"/>
                </a:lnTo>
                <a:cubicBezTo>
                  <a:pt x="4342172" y="284877"/>
                  <a:pt x="4339294" y="288107"/>
                  <a:pt x="4333773" y="291279"/>
                </a:cubicBezTo>
                <a:cubicBezTo>
                  <a:pt x="4328251" y="294451"/>
                  <a:pt x="4321614" y="297212"/>
                  <a:pt x="4313860" y="299561"/>
                </a:cubicBezTo>
                <a:lnTo>
                  <a:pt x="4299411" y="264671"/>
                </a:lnTo>
                <a:lnTo>
                  <a:pt x="4302230" y="264671"/>
                </a:lnTo>
                <a:cubicBezTo>
                  <a:pt x="4306460" y="264671"/>
                  <a:pt x="4309161" y="263849"/>
                  <a:pt x="4310336" y="262204"/>
                </a:cubicBezTo>
                <a:cubicBezTo>
                  <a:pt x="4311041" y="260795"/>
                  <a:pt x="4311394" y="252924"/>
                  <a:pt x="4311394" y="238592"/>
                </a:cubicBezTo>
                <a:cubicBezTo>
                  <a:pt x="4311394" y="218856"/>
                  <a:pt x="4311041" y="201235"/>
                  <a:pt x="4310336" y="185728"/>
                </a:cubicBezTo>
                <a:lnTo>
                  <a:pt x="4295887" y="189957"/>
                </a:lnTo>
                <a:cubicBezTo>
                  <a:pt x="4284140" y="193481"/>
                  <a:pt x="4274506" y="196183"/>
                  <a:pt x="4266988" y="198063"/>
                </a:cubicBezTo>
                <a:cubicBezTo>
                  <a:pt x="4265344" y="198533"/>
                  <a:pt x="4263229" y="198768"/>
                  <a:pt x="4260644" y="198768"/>
                </a:cubicBezTo>
                <a:cubicBezTo>
                  <a:pt x="4258295" y="198768"/>
                  <a:pt x="4256356" y="198239"/>
                  <a:pt x="4254829" y="197182"/>
                </a:cubicBezTo>
                <a:cubicBezTo>
                  <a:pt x="4253302" y="196125"/>
                  <a:pt x="4251364" y="194186"/>
                  <a:pt x="4249014" y="191367"/>
                </a:cubicBezTo>
                <a:cubicBezTo>
                  <a:pt x="4249014" y="191367"/>
                  <a:pt x="4247252" y="189605"/>
                  <a:pt x="4243728" y="186080"/>
                </a:cubicBezTo>
                <a:cubicBezTo>
                  <a:pt x="4239969" y="182321"/>
                  <a:pt x="4238089" y="179384"/>
                  <a:pt x="4238089" y="177270"/>
                </a:cubicBezTo>
                <a:cubicBezTo>
                  <a:pt x="4238089" y="175390"/>
                  <a:pt x="4239616" y="174215"/>
                  <a:pt x="4242671" y="173746"/>
                </a:cubicBezTo>
                <a:cubicBezTo>
                  <a:pt x="4243846" y="174920"/>
                  <a:pt x="4250718" y="174157"/>
                  <a:pt x="4263287" y="171455"/>
                </a:cubicBezTo>
                <a:cubicBezTo>
                  <a:pt x="4275858" y="168753"/>
                  <a:pt x="4290365" y="165287"/>
                  <a:pt x="4306812" y="161058"/>
                </a:cubicBezTo>
                <a:cubicBezTo>
                  <a:pt x="4305637" y="158944"/>
                  <a:pt x="4304110" y="156477"/>
                  <a:pt x="4302230" y="153657"/>
                </a:cubicBezTo>
                <a:cubicBezTo>
                  <a:pt x="4276856" y="159766"/>
                  <a:pt x="4261701" y="162820"/>
                  <a:pt x="4256768" y="162820"/>
                </a:cubicBezTo>
                <a:cubicBezTo>
                  <a:pt x="4250894" y="162820"/>
                  <a:pt x="4244433" y="160471"/>
                  <a:pt x="4237384" y="155772"/>
                </a:cubicBezTo>
                <a:cubicBezTo>
                  <a:pt x="4230336" y="151073"/>
                  <a:pt x="4225050" y="145199"/>
                  <a:pt x="4221525" y="138151"/>
                </a:cubicBezTo>
                <a:lnTo>
                  <a:pt x="4221525" y="137446"/>
                </a:lnTo>
                <a:cubicBezTo>
                  <a:pt x="4221525" y="136506"/>
                  <a:pt x="4222465" y="136036"/>
                  <a:pt x="4224344" y="136036"/>
                </a:cubicBezTo>
                <a:cubicBezTo>
                  <a:pt x="4225989" y="136036"/>
                  <a:pt x="4227634" y="136389"/>
                  <a:pt x="4229278" y="137093"/>
                </a:cubicBezTo>
                <a:cubicBezTo>
                  <a:pt x="4229513" y="137328"/>
                  <a:pt x="4230806" y="137974"/>
                  <a:pt x="4233155" y="139032"/>
                </a:cubicBezTo>
                <a:cubicBezTo>
                  <a:pt x="4235505" y="140089"/>
                  <a:pt x="4239264" y="140618"/>
                  <a:pt x="4244433" y="140618"/>
                </a:cubicBezTo>
                <a:cubicBezTo>
                  <a:pt x="4249602" y="140618"/>
                  <a:pt x="4259235" y="139090"/>
                  <a:pt x="4273332" y="136036"/>
                </a:cubicBezTo>
                <a:cubicBezTo>
                  <a:pt x="4269807" y="129692"/>
                  <a:pt x="4268045" y="123584"/>
                  <a:pt x="4268045" y="117710"/>
                </a:cubicBezTo>
                <a:cubicBezTo>
                  <a:pt x="4268045" y="116065"/>
                  <a:pt x="4268163" y="114891"/>
                  <a:pt x="4268398" y="114186"/>
                </a:cubicBezTo>
                <a:cubicBezTo>
                  <a:pt x="4270278" y="104553"/>
                  <a:pt x="4271804" y="97622"/>
                  <a:pt x="4272979" y="93393"/>
                </a:cubicBezTo>
                <a:cubicBezTo>
                  <a:pt x="4267106" y="94567"/>
                  <a:pt x="4262876" y="95155"/>
                  <a:pt x="4260292" y="95155"/>
                </a:cubicBezTo>
                <a:cubicBezTo>
                  <a:pt x="4255358" y="95155"/>
                  <a:pt x="4250307" y="92512"/>
                  <a:pt x="4245138" y="87225"/>
                </a:cubicBezTo>
                <a:cubicBezTo>
                  <a:pt x="4239969" y="81939"/>
                  <a:pt x="4235740" y="75536"/>
                  <a:pt x="4232450" y="68018"/>
                </a:cubicBezTo>
                <a:lnTo>
                  <a:pt x="4232450" y="67313"/>
                </a:lnTo>
                <a:cubicBezTo>
                  <a:pt x="4232450" y="66373"/>
                  <a:pt x="4233155" y="65727"/>
                  <a:pt x="4234565" y="65375"/>
                </a:cubicBezTo>
                <a:cubicBezTo>
                  <a:pt x="4235974" y="65022"/>
                  <a:pt x="4237384" y="65081"/>
                  <a:pt x="4238794" y="65551"/>
                </a:cubicBezTo>
                <a:cubicBezTo>
                  <a:pt x="4239264" y="65786"/>
                  <a:pt x="4240908" y="66491"/>
                  <a:pt x="4243728" y="67666"/>
                </a:cubicBezTo>
                <a:cubicBezTo>
                  <a:pt x="4246548" y="68840"/>
                  <a:pt x="4250659" y="69428"/>
                  <a:pt x="4256063" y="69428"/>
                </a:cubicBezTo>
                <a:cubicBezTo>
                  <a:pt x="4264286" y="69428"/>
                  <a:pt x="4277561" y="66373"/>
                  <a:pt x="4295887" y="60265"/>
                </a:cubicBezTo>
                <a:cubicBezTo>
                  <a:pt x="4298941" y="55331"/>
                  <a:pt x="4301643" y="50221"/>
                  <a:pt x="4303992" y="44934"/>
                </a:cubicBezTo>
                <a:cubicBezTo>
                  <a:pt x="4306342" y="39648"/>
                  <a:pt x="4307517" y="35360"/>
                  <a:pt x="4307517" y="32071"/>
                </a:cubicBezTo>
                <a:cubicBezTo>
                  <a:pt x="4307517" y="29251"/>
                  <a:pt x="4306577" y="27489"/>
                  <a:pt x="4304698" y="26784"/>
                </a:cubicBezTo>
                <a:cubicBezTo>
                  <a:pt x="4300703" y="24905"/>
                  <a:pt x="4297649" y="22320"/>
                  <a:pt x="4295534" y="19031"/>
                </a:cubicBezTo>
                <a:cubicBezTo>
                  <a:pt x="4294595" y="18091"/>
                  <a:pt x="4293655" y="16035"/>
                  <a:pt x="4292715" y="12864"/>
                </a:cubicBezTo>
                <a:cubicBezTo>
                  <a:pt x="4291775" y="9692"/>
                  <a:pt x="4291188" y="7753"/>
                  <a:pt x="4290953" y="7049"/>
                </a:cubicBezTo>
                <a:close/>
                <a:moveTo>
                  <a:pt x="1492565" y="6344"/>
                </a:moveTo>
                <a:cubicBezTo>
                  <a:pt x="1503843" y="6344"/>
                  <a:pt x="1514650" y="10925"/>
                  <a:pt x="1524988" y="20088"/>
                </a:cubicBezTo>
                <a:cubicBezTo>
                  <a:pt x="1527808" y="22438"/>
                  <a:pt x="1529217" y="25610"/>
                  <a:pt x="1529217" y="29604"/>
                </a:cubicBezTo>
                <a:cubicBezTo>
                  <a:pt x="1529217" y="34303"/>
                  <a:pt x="1527279" y="38591"/>
                  <a:pt x="1523402" y="42467"/>
                </a:cubicBezTo>
                <a:cubicBezTo>
                  <a:pt x="1519526" y="46344"/>
                  <a:pt x="1515238" y="47812"/>
                  <a:pt x="1510539" y="46873"/>
                </a:cubicBezTo>
                <a:cubicBezTo>
                  <a:pt x="1507954" y="46873"/>
                  <a:pt x="1505252" y="46285"/>
                  <a:pt x="1502433" y="45110"/>
                </a:cubicBezTo>
                <a:cubicBezTo>
                  <a:pt x="1499614" y="43936"/>
                  <a:pt x="1497969" y="43231"/>
                  <a:pt x="1497499" y="42996"/>
                </a:cubicBezTo>
                <a:cubicBezTo>
                  <a:pt x="1492330" y="40646"/>
                  <a:pt x="1488571" y="39707"/>
                  <a:pt x="1486221" y="40177"/>
                </a:cubicBezTo>
                <a:cubicBezTo>
                  <a:pt x="1465311" y="42526"/>
                  <a:pt x="1439290" y="45992"/>
                  <a:pt x="1408159" y="50573"/>
                </a:cubicBezTo>
                <a:cubicBezTo>
                  <a:pt x="1377028" y="55155"/>
                  <a:pt x="1354767" y="59207"/>
                  <a:pt x="1341375" y="62732"/>
                </a:cubicBezTo>
                <a:cubicBezTo>
                  <a:pt x="1339260" y="63202"/>
                  <a:pt x="1334561" y="61205"/>
                  <a:pt x="1327278" y="56740"/>
                </a:cubicBezTo>
                <a:cubicBezTo>
                  <a:pt x="1319994" y="52276"/>
                  <a:pt x="1313768" y="47460"/>
                  <a:pt x="1308599" y="42291"/>
                </a:cubicBezTo>
                <a:cubicBezTo>
                  <a:pt x="1303430" y="37122"/>
                  <a:pt x="1301903" y="33480"/>
                  <a:pt x="1304018" y="31366"/>
                </a:cubicBezTo>
                <a:cubicBezTo>
                  <a:pt x="1313181" y="32071"/>
                  <a:pt x="1319407" y="32423"/>
                  <a:pt x="1322696" y="32423"/>
                </a:cubicBezTo>
                <a:cubicBezTo>
                  <a:pt x="1326220" y="32423"/>
                  <a:pt x="1328570" y="32306"/>
                  <a:pt x="1329745" y="32071"/>
                </a:cubicBezTo>
                <a:cubicBezTo>
                  <a:pt x="1338908" y="31131"/>
                  <a:pt x="1379437" y="24670"/>
                  <a:pt x="1451331" y="12687"/>
                </a:cubicBezTo>
                <a:lnTo>
                  <a:pt x="1485516" y="7049"/>
                </a:lnTo>
                <a:cubicBezTo>
                  <a:pt x="1488806" y="6579"/>
                  <a:pt x="1491155" y="6344"/>
                  <a:pt x="1492565" y="6344"/>
                </a:cubicBezTo>
                <a:close/>
                <a:moveTo>
                  <a:pt x="1871498" y="352"/>
                </a:moveTo>
                <a:cubicBezTo>
                  <a:pt x="1873848" y="4817"/>
                  <a:pt x="1877724" y="8106"/>
                  <a:pt x="1883128" y="10220"/>
                </a:cubicBezTo>
                <a:cubicBezTo>
                  <a:pt x="1887592" y="11865"/>
                  <a:pt x="1892174" y="12687"/>
                  <a:pt x="1896872" y="12687"/>
                </a:cubicBezTo>
                <a:cubicBezTo>
                  <a:pt x="1898518" y="12687"/>
                  <a:pt x="1900162" y="12335"/>
                  <a:pt x="1901806" y="11630"/>
                </a:cubicBezTo>
                <a:cubicBezTo>
                  <a:pt x="1903451" y="10925"/>
                  <a:pt x="1904744" y="10573"/>
                  <a:pt x="1905684" y="10573"/>
                </a:cubicBezTo>
                <a:cubicBezTo>
                  <a:pt x="1906388" y="10573"/>
                  <a:pt x="1907446" y="10808"/>
                  <a:pt x="1908855" y="11278"/>
                </a:cubicBezTo>
                <a:cubicBezTo>
                  <a:pt x="1911909" y="11983"/>
                  <a:pt x="1915493" y="14038"/>
                  <a:pt x="1919604" y="17445"/>
                </a:cubicBezTo>
                <a:cubicBezTo>
                  <a:pt x="1923716" y="20852"/>
                  <a:pt x="1925889" y="24200"/>
                  <a:pt x="1926124" y="27489"/>
                </a:cubicBezTo>
                <a:cubicBezTo>
                  <a:pt x="1926594" y="30544"/>
                  <a:pt x="1926124" y="33715"/>
                  <a:pt x="1924714" y="37005"/>
                </a:cubicBezTo>
                <a:cubicBezTo>
                  <a:pt x="1923305" y="40294"/>
                  <a:pt x="1921190" y="42878"/>
                  <a:pt x="1918371" y="44758"/>
                </a:cubicBezTo>
                <a:cubicBezTo>
                  <a:pt x="1917196" y="45698"/>
                  <a:pt x="1913202" y="48987"/>
                  <a:pt x="1906388" y="54626"/>
                </a:cubicBezTo>
                <a:cubicBezTo>
                  <a:pt x="1899575" y="60735"/>
                  <a:pt x="1896520" y="63437"/>
                  <a:pt x="1897225" y="62732"/>
                </a:cubicBezTo>
                <a:cubicBezTo>
                  <a:pt x="1914142" y="57563"/>
                  <a:pt x="1923774" y="53921"/>
                  <a:pt x="1926124" y="51807"/>
                </a:cubicBezTo>
                <a:cubicBezTo>
                  <a:pt x="1929648" y="48752"/>
                  <a:pt x="1932703" y="47049"/>
                  <a:pt x="1935287" y="46696"/>
                </a:cubicBezTo>
                <a:cubicBezTo>
                  <a:pt x="1937872" y="46344"/>
                  <a:pt x="1939399" y="46050"/>
                  <a:pt x="1939869" y="45815"/>
                </a:cubicBezTo>
                <a:cubicBezTo>
                  <a:pt x="1941279" y="44875"/>
                  <a:pt x="1944274" y="45992"/>
                  <a:pt x="1948855" y="49163"/>
                </a:cubicBezTo>
                <a:cubicBezTo>
                  <a:pt x="1953437" y="52335"/>
                  <a:pt x="1958195" y="56506"/>
                  <a:pt x="1963129" y="61674"/>
                </a:cubicBezTo>
                <a:cubicBezTo>
                  <a:pt x="1968063" y="66843"/>
                  <a:pt x="1971705" y="71660"/>
                  <a:pt x="1974054" y="76124"/>
                </a:cubicBezTo>
                <a:cubicBezTo>
                  <a:pt x="1977108" y="81528"/>
                  <a:pt x="1978636" y="85639"/>
                  <a:pt x="1978636" y="88459"/>
                </a:cubicBezTo>
                <a:cubicBezTo>
                  <a:pt x="1978636" y="90338"/>
                  <a:pt x="1978048" y="91278"/>
                  <a:pt x="1976873" y="91278"/>
                </a:cubicBezTo>
                <a:cubicBezTo>
                  <a:pt x="1971705" y="93863"/>
                  <a:pt x="1968533" y="95507"/>
                  <a:pt x="1967358" y="96212"/>
                </a:cubicBezTo>
                <a:cubicBezTo>
                  <a:pt x="1955845" y="102086"/>
                  <a:pt x="1945860" y="106550"/>
                  <a:pt x="1937401" y="109604"/>
                </a:cubicBezTo>
                <a:cubicBezTo>
                  <a:pt x="1928943" y="112659"/>
                  <a:pt x="1920368" y="114068"/>
                  <a:pt x="1911674" y="113833"/>
                </a:cubicBezTo>
                <a:cubicBezTo>
                  <a:pt x="1919193" y="100441"/>
                  <a:pt x="1922835" y="92453"/>
                  <a:pt x="1922600" y="89868"/>
                </a:cubicBezTo>
                <a:cubicBezTo>
                  <a:pt x="1922365" y="89164"/>
                  <a:pt x="1901572" y="92864"/>
                  <a:pt x="1860221" y="100970"/>
                </a:cubicBezTo>
                <a:cubicBezTo>
                  <a:pt x="1818869" y="109076"/>
                  <a:pt x="1795609" y="113833"/>
                  <a:pt x="1790441" y="115243"/>
                </a:cubicBezTo>
                <a:lnTo>
                  <a:pt x="1786564" y="115595"/>
                </a:lnTo>
                <a:cubicBezTo>
                  <a:pt x="1783039" y="115595"/>
                  <a:pt x="1779867" y="115008"/>
                  <a:pt x="1777048" y="113833"/>
                </a:cubicBezTo>
                <a:cubicBezTo>
                  <a:pt x="1774229" y="112659"/>
                  <a:pt x="1771997" y="110896"/>
                  <a:pt x="1770352" y="108547"/>
                </a:cubicBezTo>
                <a:cubicBezTo>
                  <a:pt x="1768708" y="105962"/>
                  <a:pt x="1767063" y="102380"/>
                  <a:pt x="1765418" y="97798"/>
                </a:cubicBezTo>
                <a:cubicBezTo>
                  <a:pt x="1763774" y="93216"/>
                  <a:pt x="1762599" y="89399"/>
                  <a:pt x="1761894" y="86344"/>
                </a:cubicBezTo>
                <a:cubicBezTo>
                  <a:pt x="1770822" y="88929"/>
                  <a:pt x="1780103" y="89868"/>
                  <a:pt x="1789735" y="89164"/>
                </a:cubicBezTo>
                <a:cubicBezTo>
                  <a:pt x="1798194" y="88459"/>
                  <a:pt x="1819692" y="83642"/>
                  <a:pt x="1854229" y="74714"/>
                </a:cubicBezTo>
                <a:cubicBezTo>
                  <a:pt x="1861278" y="66491"/>
                  <a:pt x="1866917" y="58268"/>
                  <a:pt x="1871146" y="50044"/>
                </a:cubicBezTo>
                <a:cubicBezTo>
                  <a:pt x="1875375" y="41821"/>
                  <a:pt x="1876902" y="36652"/>
                  <a:pt x="1875727" y="34538"/>
                </a:cubicBezTo>
                <a:cubicBezTo>
                  <a:pt x="1874552" y="32658"/>
                  <a:pt x="1873965" y="30544"/>
                  <a:pt x="1873965" y="28194"/>
                </a:cubicBezTo>
                <a:cubicBezTo>
                  <a:pt x="1873965" y="26784"/>
                  <a:pt x="1874141" y="24905"/>
                  <a:pt x="1874494" y="22555"/>
                </a:cubicBezTo>
                <a:cubicBezTo>
                  <a:pt x="1874846" y="20206"/>
                  <a:pt x="1875023" y="18796"/>
                  <a:pt x="1875023" y="18326"/>
                </a:cubicBezTo>
                <a:cubicBezTo>
                  <a:pt x="1874317" y="16916"/>
                  <a:pt x="1873613" y="13803"/>
                  <a:pt x="1872908" y="8987"/>
                </a:cubicBezTo>
                <a:cubicBezTo>
                  <a:pt x="1872203" y="4170"/>
                  <a:pt x="1871733" y="1292"/>
                  <a:pt x="1871498" y="352"/>
                </a:cubicBezTo>
                <a:close/>
                <a:moveTo>
                  <a:pt x="3869729" y="0"/>
                </a:moveTo>
                <a:cubicBezTo>
                  <a:pt x="3869494" y="2819"/>
                  <a:pt x="3870022" y="5521"/>
                  <a:pt x="3871315" y="8106"/>
                </a:cubicBezTo>
                <a:cubicBezTo>
                  <a:pt x="3872607" y="10690"/>
                  <a:pt x="3874663" y="12570"/>
                  <a:pt x="3877482" y="13745"/>
                </a:cubicBezTo>
                <a:cubicBezTo>
                  <a:pt x="3882886" y="16094"/>
                  <a:pt x="3890875" y="18444"/>
                  <a:pt x="3901447" y="20793"/>
                </a:cubicBezTo>
                <a:cubicBezTo>
                  <a:pt x="3905676" y="23847"/>
                  <a:pt x="3909200" y="27137"/>
                  <a:pt x="3912020" y="30661"/>
                </a:cubicBezTo>
                <a:cubicBezTo>
                  <a:pt x="3914839" y="34185"/>
                  <a:pt x="3916249" y="37357"/>
                  <a:pt x="3916249" y="40177"/>
                </a:cubicBezTo>
                <a:cubicBezTo>
                  <a:pt x="3916249" y="41586"/>
                  <a:pt x="3915838" y="42820"/>
                  <a:pt x="3915016" y="43877"/>
                </a:cubicBezTo>
                <a:cubicBezTo>
                  <a:pt x="3914193" y="44934"/>
                  <a:pt x="3913312" y="45933"/>
                  <a:pt x="3912372" y="46873"/>
                </a:cubicBezTo>
                <a:cubicBezTo>
                  <a:pt x="3910023" y="48752"/>
                  <a:pt x="3908378" y="50984"/>
                  <a:pt x="3907438" y="53569"/>
                </a:cubicBezTo>
                <a:cubicBezTo>
                  <a:pt x="3912607" y="54978"/>
                  <a:pt x="3917894" y="55918"/>
                  <a:pt x="3923298" y="56388"/>
                </a:cubicBezTo>
                <a:cubicBezTo>
                  <a:pt x="3928701" y="56858"/>
                  <a:pt x="3932108" y="57093"/>
                  <a:pt x="3933518" y="57093"/>
                </a:cubicBezTo>
                <a:cubicBezTo>
                  <a:pt x="3942681" y="57798"/>
                  <a:pt x="3949788" y="58796"/>
                  <a:pt x="3954839" y="60089"/>
                </a:cubicBezTo>
                <a:cubicBezTo>
                  <a:pt x="3959891" y="61381"/>
                  <a:pt x="3964179" y="64141"/>
                  <a:pt x="3967703" y="68370"/>
                </a:cubicBezTo>
                <a:cubicBezTo>
                  <a:pt x="3971697" y="72835"/>
                  <a:pt x="3974986" y="78238"/>
                  <a:pt x="3977571" y="84582"/>
                </a:cubicBezTo>
                <a:cubicBezTo>
                  <a:pt x="3980155" y="90926"/>
                  <a:pt x="3981448" y="96330"/>
                  <a:pt x="3981448" y="100794"/>
                </a:cubicBezTo>
                <a:cubicBezTo>
                  <a:pt x="3981448" y="103378"/>
                  <a:pt x="3980860" y="105258"/>
                  <a:pt x="3979685" y="106432"/>
                </a:cubicBezTo>
                <a:cubicBezTo>
                  <a:pt x="3976631" y="109487"/>
                  <a:pt x="3972285" y="111014"/>
                  <a:pt x="3966646" y="111014"/>
                </a:cubicBezTo>
                <a:cubicBezTo>
                  <a:pt x="3959127" y="111014"/>
                  <a:pt x="3943269" y="107137"/>
                  <a:pt x="3919068" y="99384"/>
                </a:cubicBezTo>
                <a:cubicBezTo>
                  <a:pt x="3924237" y="98679"/>
                  <a:pt x="3928701" y="97681"/>
                  <a:pt x="3932460" y="96388"/>
                </a:cubicBezTo>
                <a:cubicBezTo>
                  <a:pt x="3936220" y="95096"/>
                  <a:pt x="3938099" y="93745"/>
                  <a:pt x="3938099" y="92335"/>
                </a:cubicBezTo>
                <a:cubicBezTo>
                  <a:pt x="3938099" y="91396"/>
                  <a:pt x="3937512" y="90515"/>
                  <a:pt x="3936337" y="89692"/>
                </a:cubicBezTo>
                <a:cubicBezTo>
                  <a:pt x="3935163" y="88870"/>
                  <a:pt x="3933635" y="88106"/>
                  <a:pt x="3931756" y="87401"/>
                </a:cubicBezTo>
                <a:cubicBezTo>
                  <a:pt x="3926822" y="85287"/>
                  <a:pt x="3922475" y="82820"/>
                  <a:pt x="3918716" y="80001"/>
                </a:cubicBezTo>
                <a:cubicBezTo>
                  <a:pt x="3914722" y="77416"/>
                  <a:pt x="3909200" y="72952"/>
                  <a:pt x="3902152" y="66608"/>
                </a:cubicBezTo>
                <a:cubicBezTo>
                  <a:pt x="3892284" y="87754"/>
                  <a:pt x="3878304" y="108429"/>
                  <a:pt x="3860214" y="128635"/>
                </a:cubicBezTo>
                <a:cubicBezTo>
                  <a:pt x="3876190" y="122526"/>
                  <a:pt x="3890522" y="116418"/>
                  <a:pt x="3903209" y="110309"/>
                </a:cubicBezTo>
                <a:cubicBezTo>
                  <a:pt x="3905324" y="109369"/>
                  <a:pt x="3907791" y="107960"/>
                  <a:pt x="3910610" y="106080"/>
                </a:cubicBezTo>
                <a:cubicBezTo>
                  <a:pt x="3911080" y="105845"/>
                  <a:pt x="3912255" y="105140"/>
                  <a:pt x="3914134" y="103965"/>
                </a:cubicBezTo>
                <a:cubicBezTo>
                  <a:pt x="3916014" y="102791"/>
                  <a:pt x="3918011" y="102203"/>
                  <a:pt x="3920126" y="102203"/>
                </a:cubicBezTo>
                <a:cubicBezTo>
                  <a:pt x="3923650" y="102203"/>
                  <a:pt x="3928936" y="104435"/>
                  <a:pt x="3935985" y="108899"/>
                </a:cubicBezTo>
                <a:cubicBezTo>
                  <a:pt x="3942328" y="112894"/>
                  <a:pt x="3947497" y="117299"/>
                  <a:pt x="3951491" y="122115"/>
                </a:cubicBezTo>
                <a:cubicBezTo>
                  <a:pt x="3955486" y="126932"/>
                  <a:pt x="3958187" y="131396"/>
                  <a:pt x="3959597" y="135507"/>
                </a:cubicBezTo>
                <a:cubicBezTo>
                  <a:pt x="3961007" y="139619"/>
                  <a:pt x="3961242" y="142497"/>
                  <a:pt x="3960302" y="144142"/>
                </a:cubicBezTo>
                <a:cubicBezTo>
                  <a:pt x="3956543" y="151425"/>
                  <a:pt x="3953136" y="164935"/>
                  <a:pt x="3950082" y="184671"/>
                </a:cubicBezTo>
                <a:lnTo>
                  <a:pt x="3947615" y="198415"/>
                </a:lnTo>
                <a:cubicBezTo>
                  <a:pt x="3945031" y="209928"/>
                  <a:pt x="3940743" y="217916"/>
                  <a:pt x="3934752" y="222380"/>
                </a:cubicBezTo>
                <a:cubicBezTo>
                  <a:pt x="3928760" y="226844"/>
                  <a:pt x="3922240" y="229076"/>
                  <a:pt x="3915192" y="229076"/>
                </a:cubicBezTo>
                <a:cubicBezTo>
                  <a:pt x="3910258" y="229076"/>
                  <a:pt x="3906851" y="228606"/>
                  <a:pt x="3904971" y="227667"/>
                </a:cubicBezTo>
                <a:cubicBezTo>
                  <a:pt x="3902152" y="226257"/>
                  <a:pt x="3892284" y="212512"/>
                  <a:pt x="3875367" y="186433"/>
                </a:cubicBezTo>
                <a:cubicBezTo>
                  <a:pt x="3885001" y="186198"/>
                  <a:pt x="3893283" y="185552"/>
                  <a:pt x="3900214" y="184495"/>
                </a:cubicBezTo>
                <a:cubicBezTo>
                  <a:pt x="3907145" y="183437"/>
                  <a:pt x="3910962" y="181969"/>
                  <a:pt x="3911668" y="180089"/>
                </a:cubicBezTo>
                <a:cubicBezTo>
                  <a:pt x="3916367" y="170221"/>
                  <a:pt x="3919186" y="159179"/>
                  <a:pt x="3920126" y="146961"/>
                </a:cubicBezTo>
                <a:lnTo>
                  <a:pt x="3920478" y="143085"/>
                </a:lnTo>
                <a:cubicBezTo>
                  <a:pt x="3920478" y="140500"/>
                  <a:pt x="3920008" y="138679"/>
                  <a:pt x="3919068" y="137622"/>
                </a:cubicBezTo>
                <a:cubicBezTo>
                  <a:pt x="3918129" y="136565"/>
                  <a:pt x="3916719" y="136036"/>
                  <a:pt x="3914839" y="136036"/>
                </a:cubicBezTo>
                <a:cubicBezTo>
                  <a:pt x="3913899" y="136036"/>
                  <a:pt x="3911080" y="136506"/>
                  <a:pt x="3906381" y="137446"/>
                </a:cubicBezTo>
                <a:cubicBezTo>
                  <a:pt x="3904971" y="137681"/>
                  <a:pt x="3903327" y="137974"/>
                  <a:pt x="3901447" y="138327"/>
                </a:cubicBezTo>
                <a:cubicBezTo>
                  <a:pt x="3899568" y="138679"/>
                  <a:pt x="3897335" y="138973"/>
                  <a:pt x="3894751" y="139208"/>
                </a:cubicBezTo>
                <a:cubicBezTo>
                  <a:pt x="3888172" y="139913"/>
                  <a:pt x="3881829" y="141440"/>
                  <a:pt x="3875720" y="143789"/>
                </a:cubicBezTo>
                <a:cubicBezTo>
                  <a:pt x="3877130" y="144729"/>
                  <a:pt x="3877835" y="147431"/>
                  <a:pt x="3877835" y="151895"/>
                </a:cubicBezTo>
                <a:cubicBezTo>
                  <a:pt x="3874780" y="154245"/>
                  <a:pt x="3873136" y="156594"/>
                  <a:pt x="3872901" y="158944"/>
                </a:cubicBezTo>
                <a:cubicBezTo>
                  <a:pt x="3872196" y="163878"/>
                  <a:pt x="3871256" y="173041"/>
                  <a:pt x="3870081" y="186433"/>
                </a:cubicBezTo>
                <a:cubicBezTo>
                  <a:pt x="3868907" y="199825"/>
                  <a:pt x="3868319" y="212160"/>
                  <a:pt x="3868319" y="223438"/>
                </a:cubicBezTo>
                <a:cubicBezTo>
                  <a:pt x="3868319" y="239414"/>
                  <a:pt x="3869846" y="249047"/>
                  <a:pt x="3872901" y="252336"/>
                </a:cubicBezTo>
                <a:cubicBezTo>
                  <a:pt x="3875720" y="255391"/>
                  <a:pt x="3882651" y="256918"/>
                  <a:pt x="3893694" y="256918"/>
                </a:cubicBezTo>
                <a:cubicBezTo>
                  <a:pt x="3905911" y="256918"/>
                  <a:pt x="3919068" y="255097"/>
                  <a:pt x="3933166" y="251455"/>
                </a:cubicBezTo>
                <a:cubicBezTo>
                  <a:pt x="3947262" y="247814"/>
                  <a:pt x="3957013" y="243291"/>
                  <a:pt x="3962417" y="237887"/>
                </a:cubicBezTo>
                <a:cubicBezTo>
                  <a:pt x="3964766" y="235772"/>
                  <a:pt x="3965706" y="226962"/>
                  <a:pt x="3965236" y="211455"/>
                </a:cubicBezTo>
                <a:cubicBezTo>
                  <a:pt x="3966646" y="214509"/>
                  <a:pt x="3970992" y="220266"/>
                  <a:pt x="3978276" y="228724"/>
                </a:cubicBezTo>
                <a:cubicBezTo>
                  <a:pt x="3982270" y="233423"/>
                  <a:pt x="3986264" y="238357"/>
                  <a:pt x="3990258" y="243526"/>
                </a:cubicBezTo>
                <a:cubicBezTo>
                  <a:pt x="3990963" y="244466"/>
                  <a:pt x="3992491" y="246345"/>
                  <a:pt x="3994840" y="249165"/>
                </a:cubicBezTo>
                <a:cubicBezTo>
                  <a:pt x="3997189" y="251984"/>
                  <a:pt x="3998951" y="253746"/>
                  <a:pt x="4000126" y="254451"/>
                </a:cubicBezTo>
                <a:cubicBezTo>
                  <a:pt x="4001536" y="255156"/>
                  <a:pt x="4000772" y="258093"/>
                  <a:pt x="3997836" y="263262"/>
                </a:cubicBezTo>
                <a:cubicBezTo>
                  <a:pt x="3994898" y="268430"/>
                  <a:pt x="3990846" y="274422"/>
                  <a:pt x="3985677" y="281235"/>
                </a:cubicBezTo>
                <a:cubicBezTo>
                  <a:pt x="3976983" y="285229"/>
                  <a:pt x="3966293" y="288166"/>
                  <a:pt x="3953606" y="290046"/>
                </a:cubicBezTo>
                <a:cubicBezTo>
                  <a:pt x="3944678" y="291221"/>
                  <a:pt x="3935045" y="291808"/>
                  <a:pt x="3924707" y="291808"/>
                </a:cubicBezTo>
                <a:cubicBezTo>
                  <a:pt x="3912960" y="291808"/>
                  <a:pt x="3901154" y="291162"/>
                  <a:pt x="3889289" y="289870"/>
                </a:cubicBezTo>
                <a:cubicBezTo>
                  <a:pt x="3877424" y="288577"/>
                  <a:pt x="3867849" y="286874"/>
                  <a:pt x="3860566" y="284759"/>
                </a:cubicBezTo>
                <a:cubicBezTo>
                  <a:pt x="3845529" y="280060"/>
                  <a:pt x="3837658" y="271602"/>
                  <a:pt x="3836953" y="259385"/>
                </a:cubicBezTo>
                <a:lnTo>
                  <a:pt x="3836601" y="247402"/>
                </a:lnTo>
                <a:cubicBezTo>
                  <a:pt x="3836601" y="233775"/>
                  <a:pt x="3836953" y="214568"/>
                  <a:pt x="3837658" y="189781"/>
                </a:cubicBezTo>
                <a:cubicBezTo>
                  <a:pt x="3838363" y="164994"/>
                  <a:pt x="3838950" y="151190"/>
                  <a:pt x="3839420" y="148371"/>
                </a:cubicBezTo>
                <a:cubicBezTo>
                  <a:pt x="3830727" y="155889"/>
                  <a:pt x="3822034" y="162174"/>
                  <a:pt x="3813341" y="167226"/>
                </a:cubicBezTo>
                <a:cubicBezTo>
                  <a:pt x="3804648" y="172277"/>
                  <a:pt x="3796894" y="175743"/>
                  <a:pt x="3790081" y="177622"/>
                </a:cubicBezTo>
                <a:cubicBezTo>
                  <a:pt x="3797599" y="169164"/>
                  <a:pt x="3809346" y="151719"/>
                  <a:pt x="3825323" y="125287"/>
                </a:cubicBezTo>
                <a:cubicBezTo>
                  <a:pt x="3841300" y="98855"/>
                  <a:pt x="3853635" y="75771"/>
                  <a:pt x="3862328" y="56036"/>
                </a:cubicBezTo>
                <a:cubicBezTo>
                  <a:pt x="3866322" y="46873"/>
                  <a:pt x="3868319" y="39942"/>
                  <a:pt x="3868319" y="35243"/>
                </a:cubicBezTo>
                <a:cubicBezTo>
                  <a:pt x="3868319" y="32658"/>
                  <a:pt x="3867849" y="30778"/>
                  <a:pt x="3866909" y="29604"/>
                </a:cubicBezTo>
                <a:cubicBezTo>
                  <a:pt x="3865970" y="28429"/>
                  <a:pt x="3865383" y="27724"/>
                  <a:pt x="3865147" y="27489"/>
                </a:cubicBezTo>
                <a:cubicBezTo>
                  <a:pt x="3863033" y="24670"/>
                  <a:pt x="3861976" y="22673"/>
                  <a:pt x="3861976" y="21498"/>
                </a:cubicBezTo>
                <a:cubicBezTo>
                  <a:pt x="3861976" y="20088"/>
                  <a:pt x="3862093" y="18914"/>
                  <a:pt x="3862328" y="17974"/>
                </a:cubicBezTo>
                <a:cubicBezTo>
                  <a:pt x="3864208" y="8811"/>
                  <a:pt x="3866674" y="2819"/>
                  <a:pt x="3869729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600" dirty="0">
                <a:solidFill>
                  <a:schemeClr val="tx2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2800" dirty="0">
              <a:solidFill>
                <a:schemeClr val="tx2">
                  <a:lumMod val="60000"/>
                  <a:lumOff val="40000"/>
                </a:schemeClr>
              </a:solidFill>
              <a:latin typeface="字魂111号-金榜招牌体" panose="00000500000000000000" pitchFamily="2" charset="-122"/>
              <a:ea typeface="字魂111号-金榜招牌体" panose="00000500000000000000" pitchFamily="2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š1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ḋé">
            <a:extLst>
              <a:ext uri="{FF2B5EF4-FFF2-40B4-BE49-F238E27FC236}">
                <a16:creationId xmlns:a16="http://schemas.microsoft.com/office/drawing/2014/main" id="{2E2858F7-BA6D-42F7-930E-EFB6FFB39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ŝliḍè">
            <a:extLst>
              <a:ext uri="{FF2B5EF4-FFF2-40B4-BE49-F238E27FC236}">
                <a16:creationId xmlns:a16="http://schemas.microsoft.com/office/drawing/2014/main" id="{FC7C4C3F-605F-4445-B2F2-219A330D8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ļíḓe">
            <a:extLst>
              <a:ext uri="{FF2B5EF4-FFF2-40B4-BE49-F238E27FC236}">
                <a16:creationId xmlns:a16="http://schemas.microsoft.com/office/drawing/2014/main" id="{A2697189-3687-42A4-AE8F-8082BF46F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101" name="iṩ1íḑ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8FE6645-03D9-4045-82DF-BC3DD30F8A2F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52151" cy="5013325"/>
            <a:chOff x="673100" y="1130300"/>
            <a:chExt cx="10852151" cy="5013325"/>
          </a:xfrm>
        </p:grpSpPr>
        <p:grpSp>
          <p:nvGrpSpPr>
            <p:cNvPr id="102" name="í$1ïdè">
              <a:extLst>
                <a:ext uri="{FF2B5EF4-FFF2-40B4-BE49-F238E27FC236}">
                  <a16:creationId xmlns:a16="http://schemas.microsoft.com/office/drawing/2014/main" id="{F6FB96DC-686F-4C52-832A-E712D7F65599}"/>
                </a:ext>
              </a:extLst>
            </p:cNvPr>
            <p:cNvGrpSpPr/>
            <p:nvPr/>
          </p:nvGrpSpPr>
          <p:grpSpPr>
            <a:xfrm>
              <a:off x="3511550" y="1647824"/>
              <a:ext cx="5168900" cy="4495801"/>
              <a:chOff x="3511550" y="1516766"/>
              <a:chExt cx="5168900" cy="4495801"/>
            </a:xfrm>
          </p:grpSpPr>
          <p:sp>
            <p:nvSpPr>
              <p:cNvPr id="112" name="isľîḍé">
                <a:extLst>
                  <a:ext uri="{FF2B5EF4-FFF2-40B4-BE49-F238E27FC236}">
                    <a16:creationId xmlns:a16="http://schemas.microsoft.com/office/drawing/2014/main" id="{9A339663-1F9F-486E-BBED-00CC1D6E2539}"/>
                  </a:ext>
                </a:extLst>
              </p:cNvPr>
              <p:cNvSpPr/>
              <p:nvPr/>
            </p:nvSpPr>
            <p:spPr bwMode="auto">
              <a:xfrm>
                <a:off x="3511550" y="1516766"/>
                <a:ext cx="5168900" cy="44958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3" name="îṣḻîḍè">
                <a:extLst>
                  <a:ext uri="{FF2B5EF4-FFF2-40B4-BE49-F238E27FC236}">
                    <a16:creationId xmlns:a16="http://schemas.microsoft.com/office/drawing/2014/main" id="{1520A78E-54EF-4D21-A6C3-977C9487C9E7}"/>
                  </a:ext>
                </a:extLst>
              </p:cNvPr>
              <p:cNvSpPr/>
              <p:nvPr/>
            </p:nvSpPr>
            <p:spPr bwMode="auto">
              <a:xfrm>
                <a:off x="4695825" y="1629479"/>
                <a:ext cx="2111375" cy="3030538"/>
              </a:xfrm>
              <a:custGeom>
                <a:avLst/>
                <a:gdLst>
                  <a:gd name="T0" fmla="*/ 19 w 187"/>
                  <a:gd name="T1" fmla="*/ 269 h 269"/>
                  <a:gd name="T2" fmla="*/ 0 w 187"/>
                  <a:gd name="T3" fmla="*/ 256 h 269"/>
                  <a:gd name="T4" fmla="*/ 71 w 187"/>
                  <a:gd name="T5" fmla="*/ 137 h 269"/>
                  <a:gd name="T6" fmla="*/ 71 w 187"/>
                  <a:gd name="T7" fmla="*/ 137 h 269"/>
                  <a:gd name="T8" fmla="*/ 70 w 187"/>
                  <a:gd name="T9" fmla="*/ 128 h 269"/>
                  <a:gd name="T10" fmla="*/ 65 w 187"/>
                  <a:gd name="T11" fmla="*/ 122 h 269"/>
                  <a:gd name="T12" fmla="*/ 61 w 187"/>
                  <a:gd name="T13" fmla="*/ 40 h 269"/>
                  <a:gd name="T14" fmla="*/ 156 w 187"/>
                  <a:gd name="T15" fmla="*/ 22 h 269"/>
                  <a:gd name="T16" fmla="*/ 187 w 187"/>
                  <a:gd name="T17" fmla="*/ 81 h 269"/>
                  <a:gd name="T18" fmla="*/ 185 w 187"/>
                  <a:gd name="T19" fmla="*/ 95 h 269"/>
                  <a:gd name="T20" fmla="*/ 175 w 187"/>
                  <a:gd name="T21" fmla="*/ 117 h 269"/>
                  <a:gd name="T22" fmla="*/ 120 w 187"/>
                  <a:gd name="T23" fmla="*/ 148 h 269"/>
                  <a:gd name="T24" fmla="*/ 106 w 187"/>
                  <a:gd name="T25" fmla="*/ 146 h 269"/>
                  <a:gd name="T26" fmla="*/ 98 w 187"/>
                  <a:gd name="T27" fmla="*/ 145 h 269"/>
                  <a:gd name="T28" fmla="*/ 90 w 187"/>
                  <a:gd name="T29" fmla="*/ 150 h 269"/>
                  <a:gd name="T30" fmla="*/ 19 w 187"/>
                  <a:gd name="T31" fmla="*/ 269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7" h="269">
                    <a:moveTo>
                      <a:pt x="19" y="269"/>
                    </a:moveTo>
                    <a:cubicBezTo>
                      <a:pt x="14" y="263"/>
                      <a:pt x="8" y="259"/>
                      <a:pt x="0" y="256"/>
                    </a:cubicBezTo>
                    <a:cubicBezTo>
                      <a:pt x="71" y="137"/>
                      <a:pt x="71" y="137"/>
                      <a:pt x="71" y="137"/>
                    </a:cubicBezTo>
                    <a:cubicBezTo>
                      <a:pt x="71" y="137"/>
                      <a:pt x="71" y="137"/>
                      <a:pt x="71" y="137"/>
                    </a:cubicBezTo>
                    <a:cubicBezTo>
                      <a:pt x="74" y="132"/>
                      <a:pt x="70" y="128"/>
                      <a:pt x="70" y="128"/>
                    </a:cubicBezTo>
                    <a:cubicBezTo>
                      <a:pt x="65" y="122"/>
                      <a:pt x="65" y="122"/>
                      <a:pt x="65" y="122"/>
                    </a:cubicBezTo>
                    <a:cubicBezTo>
                      <a:pt x="46" y="100"/>
                      <a:pt x="44" y="66"/>
                      <a:pt x="61" y="40"/>
                    </a:cubicBezTo>
                    <a:cubicBezTo>
                      <a:pt x="82" y="9"/>
                      <a:pt x="125" y="0"/>
                      <a:pt x="156" y="22"/>
                    </a:cubicBezTo>
                    <a:cubicBezTo>
                      <a:pt x="177" y="35"/>
                      <a:pt x="187" y="58"/>
                      <a:pt x="187" y="81"/>
                    </a:cubicBezTo>
                    <a:cubicBezTo>
                      <a:pt x="187" y="85"/>
                      <a:pt x="186" y="90"/>
                      <a:pt x="185" y="95"/>
                    </a:cubicBezTo>
                    <a:cubicBezTo>
                      <a:pt x="183" y="102"/>
                      <a:pt x="180" y="110"/>
                      <a:pt x="175" y="117"/>
                    </a:cubicBezTo>
                    <a:cubicBezTo>
                      <a:pt x="162" y="136"/>
                      <a:pt x="141" y="147"/>
                      <a:pt x="120" y="148"/>
                    </a:cubicBezTo>
                    <a:cubicBezTo>
                      <a:pt x="115" y="148"/>
                      <a:pt x="110" y="147"/>
                      <a:pt x="106" y="146"/>
                    </a:cubicBezTo>
                    <a:cubicBezTo>
                      <a:pt x="98" y="145"/>
                      <a:pt x="98" y="145"/>
                      <a:pt x="98" y="145"/>
                    </a:cubicBezTo>
                    <a:cubicBezTo>
                      <a:pt x="93" y="145"/>
                      <a:pt x="91" y="147"/>
                      <a:pt x="90" y="150"/>
                    </a:cubicBezTo>
                    <a:cubicBezTo>
                      <a:pt x="19" y="269"/>
                      <a:pt x="19" y="269"/>
                      <a:pt x="19" y="269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4" name="îṩľïḋê">
                <a:extLst>
                  <a:ext uri="{FF2B5EF4-FFF2-40B4-BE49-F238E27FC236}">
                    <a16:creationId xmlns:a16="http://schemas.microsoft.com/office/drawing/2014/main" id="{7E92AD6E-A27C-4ECF-A28F-B1D83BDBE164}"/>
                  </a:ext>
                </a:extLst>
              </p:cNvPr>
              <p:cNvSpPr/>
              <p:nvPr/>
            </p:nvSpPr>
            <p:spPr bwMode="auto">
              <a:xfrm>
                <a:off x="6175375" y="2902654"/>
                <a:ext cx="2290763" cy="2963863"/>
              </a:xfrm>
              <a:custGeom>
                <a:avLst/>
                <a:gdLst>
                  <a:gd name="T0" fmla="*/ 20 w 203"/>
                  <a:gd name="T1" fmla="*/ 0 h 263"/>
                  <a:gd name="T2" fmla="*/ 97 w 203"/>
                  <a:gd name="T3" fmla="*/ 115 h 263"/>
                  <a:gd name="T4" fmla="*/ 102 w 203"/>
                  <a:gd name="T5" fmla="*/ 121 h 263"/>
                  <a:gd name="T6" fmla="*/ 117 w 203"/>
                  <a:gd name="T7" fmla="*/ 121 h 263"/>
                  <a:gd name="T8" fmla="*/ 186 w 203"/>
                  <a:gd name="T9" fmla="*/ 146 h 263"/>
                  <a:gd name="T10" fmla="*/ 198 w 203"/>
                  <a:gd name="T11" fmla="*/ 207 h 263"/>
                  <a:gd name="T12" fmla="*/ 198 w 203"/>
                  <a:gd name="T13" fmla="*/ 207 h 263"/>
                  <a:gd name="T14" fmla="*/ 116 w 203"/>
                  <a:gd name="T15" fmla="*/ 255 h 263"/>
                  <a:gd name="T16" fmla="*/ 69 w 203"/>
                  <a:gd name="T17" fmla="*/ 217 h 263"/>
                  <a:gd name="T18" fmla="*/ 79 w 203"/>
                  <a:gd name="T19" fmla="*/ 145 h 263"/>
                  <a:gd name="T20" fmla="*/ 83 w 203"/>
                  <a:gd name="T21" fmla="*/ 137 h 263"/>
                  <a:gd name="T22" fmla="*/ 79 w 203"/>
                  <a:gd name="T23" fmla="*/ 129 h 263"/>
                  <a:gd name="T24" fmla="*/ 0 w 203"/>
                  <a:gd name="T25" fmla="*/ 11 h 263"/>
                  <a:gd name="T26" fmla="*/ 20 w 203"/>
                  <a:gd name="T27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3" h="263">
                    <a:moveTo>
                      <a:pt x="20" y="0"/>
                    </a:moveTo>
                    <a:cubicBezTo>
                      <a:pt x="46" y="39"/>
                      <a:pt x="72" y="77"/>
                      <a:pt x="97" y="115"/>
                    </a:cubicBezTo>
                    <a:cubicBezTo>
                      <a:pt x="99" y="117"/>
                      <a:pt x="100" y="120"/>
                      <a:pt x="102" y="121"/>
                    </a:cubicBezTo>
                    <a:cubicBezTo>
                      <a:pt x="107" y="124"/>
                      <a:pt x="112" y="122"/>
                      <a:pt x="117" y="121"/>
                    </a:cubicBezTo>
                    <a:cubicBezTo>
                      <a:pt x="142" y="116"/>
                      <a:pt x="170" y="126"/>
                      <a:pt x="186" y="146"/>
                    </a:cubicBezTo>
                    <a:cubicBezTo>
                      <a:pt x="199" y="163"/>
                      <a:pt x="203" y="186"/>
                      <a:pt x="198" y="207"/>
                    </a:cubicBezTo>
                    <a:cubicBezTo>
                      <a:pt x="198" y="207"/>
                      <a:pt x="198" y="207"/>
                      <a:pt x="198" y="207"/>
                    </a:cubicBezTo>
                    <a:cubicBezTo>
                      <a:pt x="188" y="241"/>
                      <a:pt x="151" y="263"/>
                      <a:pt x="116" y="255"/>
                    </a:cubicBezTo>
                    <a:cubicBezTo>
                      <a:pt x="96" y="250"/>
                      <a:pt x="78" y="236"/>
                      <a:pt x="69" y="217"/>
                    </a:cubicBezTo>
                    <a:cubicBezTo>
                      <a:pt x="59" y="194"/>
                      <a:pt x="62" y="164"/>
                      <a:pt x="79" y="145"/>
                    </a:cubicBezTo>
                    <a:cubicBezTo>
                      <a:pt x="80" y="142"/>
                      <a:pt x="82" y="140"/>
                      <a:pt x="83" y="137"/>
                    </a:cubicBezTo>
                    <a:cubicBezTo>
                      <a:pt x="83" y="134"/>
                      <a:pt x="81" y="132"/>
                      <a:pt x="79" y="12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5" name="islïḋe">
                <a:extLst>
                  <a:ext uri="{FF2B5EF4-FFF2-40B4-BE49-F238E27FC236}">
                    <a16:creationId xmlns:a16="http://schemas.microsoft.com/office/drawing/2014/main" id="{985E63B2-E013-48A4-BA49-169076A7D640}"/>
                  </a:ext>
                </a:extLst>
              </p:cNvPr>
              <p:cNvSpPr/>
              <p:nvPr/>
            </p:nvSpPr>
            <p:spPr bwMode="auto">
              <a:xfrm>
                <a:off x="6016625" y="1516766"/>
                <a:ext cx="1016000" cy="1014413"/>
              </a:xfrm>
              <a:custGeom>
                <a:avLst/>
                <a:gdLst>
                  <a:gd name="T0" fmla="*/ 69 w 90"/>
                  <a:gd name="T1" fmla="*/ 31 h 90"/>
                  <a:gd name="T2" fmla="*/ 71 w 90"/>
                  <a:gd name="T3" fmla="*/ 26 h 90"/>
                  <a:gd name="T4" fmla="*/ 62 w 90"/>
                  <a:gd name="T5" fmla="*/ 16 h 90"/>
                  <a:gd name="T6" fmla="*/ 56 w 90"/>
                  <a:gd name="T7" fmla="*/ 19 h 90"/>
                  <a:gd name="T8" fmla="*/ 1 w 90"/>
                  <a:gd name="T9" fmla="*/ 0 h 90"/>
                  <a:gd name="T10" fmla="*/ 0 w 90"/>
                  <a:gd name="T11" fmla="*/ 1 h 90"/>
                  <a:gd name="T12" fmla="*/ 1 w 90"/>
                  <a:gd name="T13" fmla="*/ 2 h 90"/>
                  <a:gd name="T14" fmla="*/ 54 w 90"/>
                  <a:gd name="T15" fmla="*/ 21 h 90"/>
                  <a:gd name="T16" fmla="*/ 52 w 90"/>
                  <a:gd name="T17" fmla="*/ 26 h 90"/>
                  <a:gd name="T18" fmla="*/ 62 w 90"/>
                  <a:gd name="T19" fmla="*/ 35 h 90"/>
                  <a:gd name="T20" fmla="*/ 67 w 90"/>
                  <a:gd name="T21" fmla="*/ 33 h 90"/>
                  <a:gd name="T22" fmla="*/ 87 w 90"/>
                  <a:gd name="T23" fmla="*/ 89 h 90"/>
                  <a:gd name="T24" fmla="*/ 89 w 90"/>
                  <a:gd name="T25" fmla="*/ 90 h 90"/>
                  <a:gd name="T26" fmla="*/ 90 w 90"/>
                  <a:gd name="T27" fmla="*/ 89 h 90"/>
                  <a:gd name="T28" fmla="*/ 69 w 90"/>
                  <a:gd name="T29" fmla="*/ 31 h 90"/>
                  <a:gd name="T30" fmla="*/ 62 w 90"/>
                  <a:gd name="T31" fmla="*/ 33 h 90"/>
                  <a:gd name="T32" fmla="*/ 55 w 90"/>
                  <a:gd name="T33" fmla="*/ 26 h 90"/>
                  <a:gd name="T34" fmla="*/ 62 w 90"/>
                  <a:gd name="T35" fmla="*/ 19 h 90"/>
                  <a:gd name="T36" fmla="*/ 68 w 90"/>
                  <a:gd name="T37" fmla="*/ 26 h 90"/>
                  <a:gd name="T38" fmla="*/ 62 w 90"/>
                  <a:gd name="T39" fmla="*/ 3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0">
                    <a:moveTo>
                      <a:pt x="69" y="31"/>
                    </a:moveTo>
                    <a:cubicBezTo>
                      <a:pt x="70" y="30"/>
                      <a:pt x="71" y="28"/>
                      <a:pt x="71" y="26"/>
                    </a:cubicBezTo>
                    <a:cubicBezTo>
                      <a:pt x="71" y="21"/>
                      <a:pt x="67" y="16"/>
                      <a:pt x="62" y="16"/>
                    </a:cubicBezTo>
                    <a:cubicBezTo>
                      <a:pt x="60" y="16"/>
                      <a:pt x="57" y="17"/>
                      <a:pt x="56" y="19"/>
                    </a:cubicBezTo>
                    <a:cubicBezTo>
                      <a:pt x="41" y="7"/>
                      <a:pt x="22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21" y="2"/>
                      <a:pt x="39" y="9"/>
                      <a:pt x="54" y="21"/>
                    </a:cubicBezTo>
                    <a:cubicBezTo>
                      <a:pt x="53" y="22"/>
                      <a:pt x="52" y="24"/>
                      <a:pt x="52" y="26"/>
                    </a:cubicBezTo>
                    <a:cubicBezTo>
                      <a:pt x="52" y="31"/>
                      <a:pt x="57" y="35"/>
                      <a:pt x="62" y="35"/>
                    </a:cubicBezTo>
                    <a:cubicBezTo>
                      <a:pt x="64" y="35"/>
                      <a:pt x="66" y="35"/>
                      <a:pt x="67" y="33"/>
                    </a:cubicBezTo>
                    <a:cubicBezTo>
                      <a:pt x="80" y="48"/>
                      <a:pt x="87" y="68"/>
                      <a:pt x="87" y="89"/>
                    </a:cubicBezTo>
                    <a:cubicBezTo>
                      <a:pt x="87" y="89"/>
                      <a:pt x="88" y="90"/>
                      <a:pt x="89" y="90"/>
                    </a:cubicBezTo>
                    <a:cubicBezTo>
                      <a:pt x="89" y="90"/>
                      <a:pt x="90" y="89"/>
                      <a:pt x="90" y="89"/>
                    </a:cubicBezTo>
                    <a:cubicBezTo>
                      <a:pt x="90" y="67"/>
                      <a:pt x="82" y="47"/>
                      <a:pt x="69" y="31"/>
                    </a:cubicBezTo>
                    <a:close/>
                    <a:moveTo>
                      <a:pt x="62" y="33"/>
                    </a:moveTo>
                    <a:cubicBezTo>
                      <a:pt x="58" y="33"/>
                      <a:pt x="55" y="30"/>
                      <a:pt x="55" y="26"/>
                    </a:cubicBezTo>
                    <a:cubicBezTo>
                      <a:pt x="55" y="22"/>
                      <a:pt x="58" y="19"/>
                      <a:pt x="62" y="19"/>
                    </a:cubicBezTo>
                    <a:cubicBezTo>
                      <a:pt x="65" y="19"/>
                      <a:pt x="68" y="22"/>
                      <a:pt x="68" y="26"/>
                    </a:cubicBezTo>
                    <a:cubicBezTo>
                      <a:pt x="68" y="29"/>
                      <a:pt x="65" y="33"/>
                      <a:pt x="62" y="3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6" name="iṩ1íḍê">
                <a:extLst>
                  <a:ext uri="{FF2B5EF4-FFF2-40B4-BE49-F238E27FC236}">
                    <a16:creationId xmlns:a16="http://schemas.microsoft.com/office/drawing/2014/main" id="{D6F2DFAF-74F5-4619-9037-261BCB68C4B9}"/>
                  </a:ext>
                </a:extLst>
              </p:cNvPr>
              <p:cNvSpPr/>
              <p:nvPr/>
            </p:nvSpPr>
            <p:spPr bwMode="auto">
              <a:xfrm>
                <a:off x="6672263" y="1764416"/>
                <a:ext cx="88900" cy="904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7" name="íśļïďe">
                <a:extLst>
                  <a:ext uri="{FF2B5EF4-FFF2-40B4-BE49-F238E27FC236}">
                    <a16:creationId xmlns:a16="http://schemas.microsoft.com/office/drawing/2014/main" id="{3EA270CE-D694-4171-989A-30215BBEE1AB}"/>
                  </a:ext>
                </a:extLst>
              </p:cNvPr>
              <p:cNvSpPr/>
              <p:nvPr/>
            </p:nvSpPr>
            <p:spPr bwMode="auto">
              <a:xfrm>
                <a:off x="7664450" y="4998154"/>
                <a:ext cx="1016000" cy="1014413"/>
              </a:xfrm>
              <a:custGeom>
                <a:avLst/>
                <a:gdLst>
                  <a:gd name="T0" fmla="*/ 90 w 90"/>
                  <a:gd name="T1" fmla="*/ 1 h 90"/>
                  <a:gd name="T2" fmla="*/ 89 w 90"/>
                  <a:gd name="T3" fmla="*/ 0 h 90"/>
                  <a:gd name="T4" fmla="*/ 87 w 90"/>
                  <a:gd name="T5" fmla="*/ 1 h 90"/>
                  <a:gd name="T6" fmla="*/ 69 w 90"/>
                  <a:gd name="T7" fmla="*/ 54 h 90"/>
                  <a:gd name="T8" fmla="*/ 64 w 90"/>
                  <a:gd name="T9" fmla="*/ 53 h 90"/>
                  <a:gd name="T10" fmla="*/ 55 w 90"/>
                  <a:gd name="T11" fmla="*/ 62 h 90"/>
                  <a:gd name="T12" fmla="*/ 56 w 90"/>
                  <a:gd name="T13" fmla="*/ 68 h 90"/>
                  <a:gd name="T14" fmla="*/ 1 w 90"/>
                  <a:gd name="T15" fmla="*/ 88 h 90"/>
                  <a:gd name="T16" fmla="*/ 0 w 90"/>
                  <a:gd name="T17" fmla="*/ 89 h 90"/>
                  <a:gd name="T18" fmla="*/ 1 w 90"/>
                  <a:gd name="T19" fmla="*/ 90 h 90"/>
                  <a:gd name="T20" fmla="*/ 58 w 90"/>
                  <a:gd name="T21" fmla="*/ 69 h 90"/>
                  <a:gd name="T22" fmla="*/ 64 w 90"/>
                  <a:gd name="T23" fmla="*/ 71 h 90"/>
                  <a:gd name="T24" fmla="*/ 73 w 90"/>
                  <a:gd name="T25" fmla="*/ 62 h 90"/>
                  <a:gd name="T26" fmla="*/ 71 w 90"/>
                  <a:gd name="T27" fmla="*/ 56 h 90"/>
                  <a:gd name="T28" fmla="*/ 90 w 90"/>
                  <a:gd name="T29" fmla="*/ 1 h 90"/>
                  <a:gd name="T30" fmla="*/ 64 w 90"/>
                  <a:gd name="T31" fmla="*/ 69 h 90"/>
                  <a:gd name="T32" fmla="*/ 57 w 90"/>
                  <a:gd name="T33" fmla="*/ 62 h 90"/>
                  <a:gd name="T34" fmla="*/ 64 w 90"/>
                  <a:gd name="T35" fmla="*/ 55 h 90"/>
                  <a:gd name="T36" fmla="*/ 71 w 90"/>
                  <a:gd name="T37" fmla="*/ 62 h 90"/>
                  <a:gd name="T38" fmla="*/ 64 w 90"/>
                  <a:gd name="T39" fmla="*/ 6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0">
                    <a:moveTo>
                      <a:pt x="90" y="1"/>
                    </a:moveTo>
                    <a:cubicBezTo>
                      <a:pt x="90" y="1"/>
                      <a:pt x="89" y="0"/>
                      <a:pt x="89" y="0"/>
                    </a:cubicBezTo>
                    <a:cubicBezTo>
                      <a:pt x="88" y="0"/>
                      <a:pt x="87" y="1"/>
                      <a:pt x="87" y="1"/>
                    </a:cubicBezTo>
                    <a:cubicBezTo>
                      <a:pt x="87" y="21"/>
                      <a:pt x="81" y="40"/>
                      <a:pt x="69" y="54"/>
                    </a:cubicBezTo>
                    <a:cubicBezTo>
                      <a:pt x="68" y="53"/>
                      <a:pt x="66" y="53"/>
                      <a:pt x="64" y="53"/>
                    </a:cubicBezTo>
                    <a:cubicBezTo>
                      <a:pt x="59" y="53"/>
                      <a:pt x="55" y="57"/>
                      <a:pt x="55" y="62"/>
                    </a:cubicBezTo>
                    <a:cubicBezTo>
                      <a:pt x="55" y="64"/>
                      <a:pt x="55" y="66"/>
                      <a:pt x="56" y="68"/>
                    </a:cubicBezTo>
                    <a:cubicBezTo>
                      <a:pt x="41" y="80"/>
                      <a:pt x="22" y="88"/>
                      <a:pt x="1" y="88"/>
                    </a:cubicBezTo>
                    <a:cubicBezTo>
                      <a:pt x="0" y="88"/>
                      <a:pt x="0" y="88"/>
                      <a:pt x="0" y="89"/>
                    </a:cubicBezTo>
                    <a:cubicBezTo>
                      <a:pt x="0" y="90"/>
                      <a:pt x="0" y="90"/>
                      <a:pt x="1" y="90"/>
                    </a:cubicBezTo>
                    <a:cubicBezTo>
                      <a:pt x="23" y="90"/>
                      <a:pt x="43" y="83"/>
                      <a:pt x="58" y="69"/>
                    </a:cubicBezTo>
                    <a:cubicBezTo>
                      <a:pt x="60" y="71"/>
                      <a:pt x="62" y="71"/>
                      <a:pt x="64" y="71"/>
                    </a:cubicBezTo>
                    <a:cubicBezTo>
                      <a:pt x="69" y="71"/>
                      <a:pt x="73" y="67"/>
                      <a:pt x="73" y="62"/>
                    </a:cubicBezTo>
                    <a:cubicBezTo>
                      <a:pt x="73" y="60"/>
                      <a:pt x="72" y="58"/>
                      <a:pt x="71" y="56"/>
                    </a:cubicBezTo>
                    <a:cubicBezTo>
                      <a:pt x="83" y="41"/>
                      <a:pt x="90" y="22"/>
                      <a:pt x="90" y="1"/>
                    </a:cubicBezTo>
                    <a:close/>
                    <a:moveTo>
                      <a:pt x="64" y="69"/>
                    </a:moveTo>
                    <a:cubicBezTo>
                      <a:pt x="60" y="69"/>
                      <a:pt x="57" y="66"/>
                      <a:pt x="57" y="62"/>
                    </a:cubicBezTo>
                    <a:cubicBezTo>
                      <a:pt x="57" y="58"/>
                      <a:pt x="60" y="55"/>
                      <a:pt x="64" y="55"/>
                    </a:cubicBezTo>
                    <a:cubicBezTo>
                      <a:pt x="68" y="55"/>
                      <a:pt x="71" y="58"/>
                      <a:pt x="71" y="62"/>
                    </a:cubicBezTo>
                    <a:cubicBezTo>
                      <a:pt x="71" y="66"/>
                      <a:pt x="68" y="69"/>
                      <a:pt x="64" y="6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8" name="ïṧḷiḓe">
                <a:extLst>
                  <a:ext uri="{FF2B5EF4-FFF2-40B4-BE49-F238E27FC236}">
                    <a16:creationId xmlns:a16="http://schemas.microsoft.com/office/drawing/2014/main" id="{35581F9D-CE05-44DC-BAB7-E22124340B14}"/>
                  </a:ext>
                </a:extLst>
              </p:cNvPr>
              <p:cNvSpPr/>
              <p:nvPr/>
            </p:nvSpPr>
            <p:spPr bwMode="auto">
              <a:xfrm>
                <a:off x="8342313" y="5652204"/>
                <a:ext cx="90488" cy="904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9" name="iṡ1îďe">
                <a:extLst>
                  <a:ext uri="{FF2B5EF4-FFF2-40B4-BE49-F238E27FC236}">
                    <a16:creationId xmlns:a16="http://schemas.microsoft.com/office/drawing/2014/main" id="{4A41985A-86F6-43AF-A2AD-BDDBC983D1BA}"/>
                  </a:ext>
                </a:extLst>
              </p:cNvPr>
              <p:cNvSpPr/>
              <p:nvPr/>
            </p:nvSpPr>
            <p:spPr bwMode="auto">
              <a:xfrm>
                <a:off x="3511550" y="4018666"/>
                <a:ext cx="1016000" cy="1014413"/>
              </a:xfrm>
              <a:custGeom>
                <a:avLst/>
                <a:gdLst>
                  <a:gd name="T0" fmla="*/ 89 w 90"/>
                  <a:gd name="T1" fmla="*/ 0 h 90"/>
                  <a:gd name="T2" fmla="*/ 32 w 90"/>
                  <a:gd name="T3" fmla="*/ 21 h 90"/>
                  <a:gd name="T4" fmla="*/ 26 w 90"/>
                  <a:gd name="T5" fmla="*/ 19 h 90"/>
                  <a:gd name="T6" fmla="*/ 17 w 90"/>
                  <a:gd name="T7" fmla="*/ 28 h 90"/>
                  <a:gd name="T8" fmla="*/ 19 w 90"/>
                  <a:gd name="T9" fmla="*/ 34 h 90"/>
                  <a:gd name="T10" fmla="*/ 0 w 90"/>
                  <a:gd name="T11" fmla="*/ 89 h 90"/>
                  <a:gd name="T12" fmla="*/ 1 w 90"/>
                  <a:gd name="T13" fmla="*/ 90 h 90"/>
                  <a:gd name="T14" fmla="*/ 3 w 90"/>
                  <a:gd name="T15" fmla="*/ 89 h 90"/>
                  <a:gd name="T16" fmla="*/ 21 w 90"/>
                  <a:gd name="T17" fmla="*/ 36 h 90"/>
                  <a:gd name="T18" fmla="*/ 26 w 90"/>
                  <a:gd name="T19" fmla="*/ 37 h 90"/>
                  <a:gd name="T20" fmla="*/ 36 w 90"/>
                  <a:gd name="T21" fmla="*/ 28 h 90"/>
                  <a:gd name="T22" fmla="*/ 34 w 90"/>
                  <a:gd name="T23" fmla="*/ 23 h 90"/>
                  <a:gd name="T24" fmla="*/ 89 w 90"/>
                  <a:gd name="T25" fmla="*/ 2 h 90"/>
                  <a:gd name="T26" fmla="*/ 90 w 90"/>
                  <a:gd name="T27" fmla="*/ 1 h 90"/>
                  <a:gd name="T28" fmla="*/ 89 w 90"/>
                  <a:gd name="T29" fmla="*/ 0 h 90"/>
                  <a:gd name="T30" fmla="*/ 26 w 90"/>
                  <a:gd name="T31" fmla="*/ 35 h 90"/>
                  <a:gd name="T32" fmla="*/ 19 w 90"/>
                  <a:gd name="T33" fmla="*/ 28 h 90"/>
                  <a:gd name="T34" fmla="*/ 26 w 90"/>
                  <a:gd name="T35" fmla="*/ 21 h 90"/>
                  <a:gd name="T36" fmla="*/ 33 w 90"/>
                  <a:gd name="T37" fmla="*/ 28 h 90"/>
                  <a:gd name="T38" fmla="*/ 26 w 90"/>
                  <a:gd name="T39" fmla="*/ 3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0" h="90">
                    <a:moveTo>
                      <a:pt x="89" y="0"/>
                    </a:moveTo>
                    <a:cubicBezTo>
                      <a:pt x="67" y="0"/>
                      <a:pt x="47" y="8"/>
                      <a:pt x="32" y="21"/>
                    </a:cubicBezTo>
                    <a:cubicBezTo>
                      <a:pt x="30" y="19"/>
                      <a:pt x="28" y="19"/>
                      <a:pt x="26" y="19"/>
                    </a:cubicBezTo>
                    <a:cubicBezTo>
                      <a:pt x="21" y="19"/>
                      <a:pt x="17" y="23"/>
                      <a:pt x="17" y="28"/>
                    </a:cubicBezTo>
                    <a:cubicBezTo>
                      <a:pt x="17" y="30"/>
                      <a:pt x="18" y="32"/>
                      <a:pt x="19" y="34"/>
                    </a:cubicBezTo>
                    <a:cubicBezTo>
                      <a:pt x="7" y="49"/>
                      <a:pt x="0" y="68"/>
                      <a:pt x="0" y="89"/>
                    </a:cubicBezTo>
                    <a:cubicBezTo>
                      <a:pt x="0" y="90"/>
                      <a:pt x="1" y="90"/>
                      <a:pt x="1" y="90"/>
                    </a:cubicBezTo>
                    <a:cubicBezTo>
                      <a:pt x="2" y="90"/>
                      <a:pt x="3" y="90"/>
                      <a:pt x="3" y="89"/>
                    </a:cubicBezTo>
                    <a:cubicBezTo>
                      <a:pt x="3" y="69"/>
                      <a:pt x="9" y="50"/>
                      <a:pt x="21" y="36"/>
                    </a:cubicBezTo>
                    <a:cubicBezTo>
                      <a:pt x="22" y="37"/>
                      <a:pt x="24" y="37"/>
                      <a:pt x="26" y="37"/>
                    </a:cubicBezTo>
                    <a:cubicBezTo>
                      <a:pt x="31" y="37"/>
                      <a:pt x="36" y="33"/>
                      <a:pt x="36" y="28"/>
                    </a:cubicBezTo>
                    <a:cubicBezTo>
                      <a:pt x="36" y="26"/>
                      <a:pt x="35" y="24"/>
                      <a:pt x="34" y="23"/>
                    </a:cubicBezTo>
                    <a:cubicBezTo>
                      <a:pt x="49" y="10"/>
                      <a:pt x="68" y="2"/>
                      <a:pt x="89" y="2"/>
                    </a:cubicBezTo>
                    <a:cubicBezTo>
                      <a:pt x="90" y="2"/>
                      <a:pt x="90" y="2"/>
                      <a:pt x="90" y="1"/>
                    </a:cubicBezTo>
                    <a:cubicBezTo>
                      <a:pt x="90" y="0"/>
                      <a:pt x="90" y="0"/>
                      <a:pt x="89" y="0"/>
                    </a:cubicBezTo>
                    <a:close/>
                    <a:moveTo>
                      <a:pt x="26" y="35"/>
                    </a:moveTo>
                    <a:cubicBezTo>
                      <a:pt x="22" y="35"/>
                      <a:pt x="19" y="32"/>
                      <a:pt x="19" y="28"/>
                    </a:cubicBezTo>
                    <a:cubicBezTo>
                      <a:pt x="19" y="24"/>
                      <a:pt x="22" y="21"/>
                      <a:pt x="26" y="21"/>
                    </a:cubicBezTo>
                    <a:cubicBezTo>
                      <a:pt x="30" y="21"/>
                      <a:pt x="33" y="24"/>
                      <a:pt x="33" y="28"/>
                    </a:cubicBezTo>
                    <a:cubicBezTo>
                      <a:pt x="33" y="32"/>
                      <a:pt x="30" y="35"/>
                      <a:pt x="26" y="3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0" name="iṡḻiḑe">
                <a:extLst>
                  <a:ext uri="{FF2B5EF4-FFF2-40B4-BE49-F238E27FC236}">
                    <a16:creationId xmlns:a16="http://schemas.microsoft.com/office/drawing/2014/main" id="{DBE2399A-68F2-41C5-B513-B182A0AF2485}"/>
                  </a:ext>
                </a:extLst>
              </p:cNvPr>
              <p:cNvSpPr/>
              <p:nvPr/>
            </p:nvSpPr>
            <p:spPr bwMode="auto">
              <a:xfrm>
                <a:off x="3759200" y="4288541"/>
                <a:ext cx="90488" cy="904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1" name="iṡḻíḑê">
                <a:extLst>
                  <a:ext uri="{FF2B5EF4-FFF2-40B4-BE49-F238E27FC236}">
                    <a16:creationId xmlns:a16="http://schemas.microsoft.com/office/drawing/2014/main" id="{FCAE504E-E119-417D-A08D-02683BCFB82B}"/>
                  </a:ext>
                </a:extLst>
              </p:cNvPr>
              <p:cNvSpPr/>
              <p:nvPr/>
            </p:nvSpPr>
            <p:spPr bwMode="auto">
              <a:xfrm>
                <a:off x="5588000" y="2226379"/>
                <a:ext cx="1196975" cy="1069975"/>
              </a:xfrm>
              <a:custGeom>
                <a:avLst/>
                <a:gdLst>
                  <a:gd name="T0" fmla="*/ 79 w 106"/>
                  <a:gd name="T1" fmla="*/ 0 h 95"/>
                  <a:gd name="T2" fmla="*/ 0 w 106"/>
                  <a:gd name="T3" fmla="*/ 52 h 95"/>
                  <a:gd name="T4" fmla="*/ 27 w 106"/>
                  <a:gd name="T5" fmla="*/ 93 h 95"/>
                  <a:gd name="T6" fmla="*/ 39 w 106"/>
                  <a:gd name="T7" fmla="*/ 95 h 95"/>
                  <a:gd name="T8" fmla="*/ 41 w 106"/>
                  <a:gd name="T9" fmla="*/ 95 h 95"/>
                  <a:gd name="T10" fmla="*/ 64 w 106"/>
                  <a:gd name="T11" fmla="*/ 90 h 95"/>
                  <a:gd name="T12" fmla="*/ 52 w 106"/>
                  <a:gd name="T13" fmla="*/ 71 h 95"/>
                  <a:gd name="T14" fmla="*/ 72 w 106"/>
                  <a:gd name="T15" fmla="*/ 60 h 95"/>
                  <a:gd name="T16" fmla="*/ 84 w 106"/>
                  <a:gd name="T17" fmla="*/ 78 h 95"/>
                  <a:gd name="T18" fmla="*/ 96 w 106"/>
                  <a:gd name="T19" fmla="*/ 64 h 95"/>
                  <a:gd name="T20" fmla="*/ 106 w 106"/>
                  <a:gd name="T21" fmla="*/ 42 h 95"/>
                  <a:gd name="T22" fmla="*/ 79 w 106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6" h="95">
                    <a:moveTo>
                      <a:pt x="79" y="0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27" y="93"/>
                      <a:pt x="27" y="93"/>
                      <a:pt x="27" y="93"/>
                    </a:cubicBezTo>
                    <a:cubicBezTo>
                      <a:pt x="31" y="94"/>
                      <a:pt x="35" y="95"/>
                      <a:pt x="39" y="95"/>
                    </a:cubicBezTo>
                    <a:cubicBezTo>
                      <a:pt x="39" y="95"/>
                      <a:pt x="40" y="95"/>
                      <a:pt x="41" y="95"/>
                    </a:cubicBezTo>
                    <a:cubicBezTo>
                      <a:pt x="49" y="94"/>
                      <a:pt x="57" y="93"/>
                      <a:pt x="64" y="90"/>
                    </a:cubicBezTo>
                    <a:cubicBezTo>
                      <a:pt x="52" y="71"/>
                      <a:pt x="52" y="71"/>
                      <a:pt x="52" y="71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76" y="66"/>
                      <a:pt x="80" y="72"/>
                      <a:pt x="84" y="78"/>
                    </a:cubicBezTo>
                    <a:cubicBezTo>
                      <a:pt x="88" y="74"/>
                      <a:pt x="92" y="69"/>
                      <a:pt x="96" y="64"/>
                    </a:cubicBezTo>
                    <a:cubicBezTo>
                      <a:pt x="101" y="57"/>
                      <a:pt x="104" y="49"/>
                      <a:pt x="106" y="42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2" name="ísliḋe">
                <a:extLst>
                  <a:ext uri="{FF2B5EF4-FFF2-40B4-BE49-F238E27FC236}">
                    <a16:creationId xmlns:a16="http://schemas.microsoft.com/office/drawing/2014/main" id="{E305A1FE-95F6-467E-82B7-F1340EC79D2A}"/>
                  </a:ext>
                </a:extLst>
              </p:cNvPr>
              <p:cNvSpPr/>
              <p:nvPr/>
            </p:nvSpPr>
            <p:spPr bwMode="auto">
              <a:xfrm>
                <a:off x="6175375" y="2902654"/>
                <a:ext cx="360363" cy="338138"/>
              </a:xfrm>
              <a:custGeom>
                <a:avLst/>
                <a:gdLst>
                  <a:gd name="T0" fmla="*/ 20 w 32"/>
                  <a:gd name="T1" fmla="*/ 0 h 30"/>
                  <a:gd name="T2" fmla="*/ 0 w 32"/>
                  <a:gd name="T3" fmla="*/ 11 h 30"/>
                  <a:gd name="T4" fmla="*/ 12 w 32"/>
                  <a:gd name="T5" fmla="*/ 30 h 30"/>
                  <a:gd name="T6" fmla="*/ 32 w 32"/>
                  <a:gd name="T7" fmla="*/ 18 h 30"/>
                  <a:gd name="T8" fmla="*/ 20 w 32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2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9" y="27"/>
                      <a:pt x="26" y="23"/>
                      <a:pt x="32" y="18"/>
                    </a:cubicBezTo>
                    <a:cubicBezTo>
                      <a:pt x="28" y="12"/>
                      <a:pt x="24" y="6"/>
                      <a:pt x="20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3" name="ïṣļiďè">
                <a:extLst>
                  <a:ext uri="{FF2B5EF4-FFF2-40B4-BE49-F238E27FC236}">
                    <a16:creationId xmlns:a16="http://schemas.microsoft.com/office/drawing/2014/main" id="{970BCE0B-9980-4D85-B3CE-01B519FEA818}"/>
                  </a:ext>
                </a:extLst>
              </p:cNvPr>
              <p:cNvSpPr/>
              <p:nvPr/>
            </p:nvSpPr>
            <p:spPr bwMode="auto">
              <a:xfrm>
                <a:off x="5441950" y="1934279"/>
                <a:ext cx="1150938" cy="1160463"/>
              </a:xfrm>
              <a:custGeom>
                <a:avLst/>
                <a:gdLst>
                  <a:gd name="T0" fmla="*/ 85 w 102"/>
                  <a:gd name="T1" fmla="*/ 86 h 103"/>
                  <a:gd name="T2" fmla="*/ 65 w 102"/>
                  <a:gd name="T3" fmla="*/ 97 h 103"/>
                  <a:gd name="T4" fmla="*/ 61 w 102"/>
                  <a:gd name="T5" fmla="*/ 98 h 103"/>
                  <a:gd name="T6" fmla="*/ 5 w 102"/>
                  <a:gd name="T7" fmla="*/ 61 h 103"/>
                  <a:gd name="T8" fmla="*/ 43 w 102"/>
                  <a:gd name="T9" fmla="*/ 5 h 103"/>
                  <a:gd name="T10" fmla="*/ 99 w 102"/>
                  <a:gd name="T11" fmla="*/ 43 h 103"/>
                  <a:gd name="T12" fmla="*/ 85 w 102"/>
                  <a:gd name="T13" fmla="*/ 8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" h="103">
                    <a:moveTo>
                      <a:pt x="85" y="86"/>
                    </a:moveTo>
                    <a:cubicBezTo>
                      <a:pt x="79" y="91"/>
                      <a:pt x="73" y="95"/>
                      <a:pt x="65" y="97"/>
                    </a:cubicBezTo>
                    <a:cubicBezTo>
                      <a:pt x="64" y="98"/>
                      <a:pt x="62" y="98"/>
                      <a:pt x="61" y="98"/>
                    </a:cubicBezTo>
                    <a:cubicBezTo>
                      <a:pt x="35" y="103"/>
                      <a:pt x="10" y="86"/>
                      <a:pt x="5" y="61"/>
                    </a:cubicBezTo>
                    <a:cubicBezTo>
                      <a:pt x="0" y="35"/>
                      <a:pt x="17" y="10"/>
                      <a:pt x="43" y="5"/>
                    </a:cubicBezTo>
                    <a:cubicBezTo>
                      <a:pt x="69" y="0"/>
                      <a:pt x="94" y="17"/>
                      <a:pt x="99" y="43"/>
                    </a:cubicBezTo>
                    <a:cubicBezTo>
                      <a:pt x="102" y="59"/>
                      <a:pt x="96" y="75"/>
                      <a:pt x="85" y="8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4" name="iSliḑê">
                <a:extLst>
                  <a:ext uri="{FF2B5EF4-FFF2-40B4-BE49-F238E27FC236}">
                    <a16:creationId xmlns:a16="http://schemas.microsoft.com/office/drawing/2014/main" id="{F88FB557-C5AF-4DDE-B7FA-38D8421B1C69}"/>
                  </a:ext>
                </a:extLst>
              </p:cNvPr>
              <p:cNvSpPr/>
              <p:nvPr/>
            </p:nvSpPr>
            <p:spPr bwMode="auto">
              <a:xfrm>
                <a:off x="3692525" y="4209166"/>
                <a:ext cx="3441700" cy="1611313"/>
              </a:xfrm>
              <a:custGeom>
                <a:avLst/>
                <a:gdLst>
                  <a:gd name="T0" fmla="*/ 305 w 305"/>
                  <a:gd name="T1" fmla="*/ 83 h 143"/>
                  <a:gd name="T2" fmla="*/ 153 w 305"/>
                  <a:gd name="T3" fmla="*/ 83 h 143"/>
                  <a:gd name="T4" fmla="*/ 144 w 305"/>
                  <a:gd name="T5" fmla="*/ 85 h 143"/>
                  <a:gd name="T6" fmla="*/ 138 w 305"/>
                  <a:gd name="T7" fmla="*/ 91 h 143"/>
                  <a:gd name="T8" fmla="*/ 135 w 305"/>
                  <a:gd name="T9" fmla="*/ 99 h 143"/>
                  <a:gd name="T10" fmla="*/ 65 w 305"/>
                  <a:gd name="T11" fmla="*/ 140 h 143"/>
                  <a:gd name="T12" fmla="*/ 55 w 305"/>
                  <a:gd name="T13" fmla="*/ 138 h 143"/>
                  <a:gd name="T14" fmla="*/ 5 w 305"/>
                  <a:gd name="T15" fmla="*/ 86 h 143"/>
                  <a:gd name="T16" fmla="*/ 33 w 305"/>
                  <a:gd name="T17" fmla="*/ 16 h 143"/>
                  <a:gd name="T18" fmla="*/ 100 w 305"/>
                  <a:gd name="T19" fmla="*/ 9 h 143"/>
                  <a:gd name="T20" fmla="*/ 90 w 305"/>
                  <a:gd name="T21" fmla="*/ 27 h 143"/>
                  <a:gd name="T22" fmla="*/ 108 w 305"/>
                  <a:gd name="T23" fmla="*/ 40 h 143"/>
                  <a:gd name="T24" fmla="*/ 119 w 305"/>
                  <a:gd name="T25" fmla="*/ 22 h 143"/>
                  <a:gd name="T26" fmla="*/ 137 w 305"/>
                  <a:gd name="T27" fmla="*/ 49 h 143"/>
                  <a:gd name="T28" fmla="*/ 143 w 305"/>
                  <a:gd name="T29" fmla="*/ 60 h 143"/>
                  <a:gd name="T30" fmla="*/ 150 w 305"/>
                  <a:gd name="T31" fmla="*/ 61 h 143"/>
                  <a:gd name="T32" fmla="*/ 305 w 305"/>
                  <a:gd name="T33" fmla="*/ 61 h 143"/>
                  <a:gd name="T34" fmla="*/ 305 w 305"/>
                  <a:gd name="T35" fmla="*/ 8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5" h="143">
                    <a:moveTo>
                      <a:pt x="305" y="83"/>
                    </a:moveTo>
                    <a:cubicBezTo>
                      <a:pt x="255" y="83"/>
                      <a:pt x="204" y="83"/>
                      <a:pt x="153" y="83"/>
                    </a:cubicBezTo>
                    <a:cubicBezTo>
                      <a:pt x="150" y="83"/>
                      <a:pt x="147" y="83"/>
                      <a:pt x="144" y="85"/>
                    </a:cubicBezTo>
                    <a:cubicBezTo>
                      <a:pt x="141" y="86"/>
                      <a:pt x="140" y="88"/>
                      <a:pt x="138" y="91"/>
                    </a:cubicBezTo>
                    <a:cubicBezTo>
                      <a:pt x="137" y="93"/>
                      <a:pt x="136" y="96"/>
                      <a:pt x="135" y="99"/>
                    </a:cubicBezTo>
                    <a:cubicBezTo>
                      <a:pt x="123" y="125"/>
                      <a:pt x="94" y="143"/>
                      <a:pt x="65" y="140"/>
                    </a:cubicBezTo>
                    <a:cubicBezTo>
                      <a:pt x="62" y="139"/>
                      <a:pt x="59" y="139"/>
                      <a:pt x="55" y="138"/>
                    </a:cubicBezTo>
                    <a:cubicBezTo>
                      <a:pt x="31" y="131"/>
                      <a:pt x="11" y="111"/>
                      <a:pt x="5" y="86"/>
                    </a:cubicBezTo>
                    <a:cubicBezTo>
                      <a:pt x="0" y="60"/>
                      <a:pt x="12" y="31"/>
                      <a:pt x="33" y="16"/>
                    </a:cubicBezTo>
                    <a:cubicBezTo>
                      <a:pt x="52" y="2"/>
                      <a:pt x="78" y="0"/>
                      <a:pt x="100" y="9"/>
                    </a:cubicBezTo>
                    <a:cubicBezTo>
                      <a:pt x="97" y="15"/>
                      <a:pt x="93" y="21"/>
                      <a:pt x="90" y="27"/>
                    </a:cubicBezTo>
                    <a:cubicBezTo>
                      <a:pt x="97" y="30"/>
                      <a:pt x="103" y="34"/>
                      <a:pt x="108" y="40"/>
                    </a:cubicBezTo>
                    <a:cubicBezTo>
                      <a:pt x="112" y="34"/>
                      <a:pt x="115" y="28"/>
                      <a:pt x="119" y="22"/>
                    </a:cubicBezTo>
                    <a:cubicBezTo>
                      <a:pt x="127" y="29"/>
                      <a:pt x="133" y="39"/>
                      <a:pt x="137" y="49"/>
                    </a:cubicBezTo>
                    <a:cubicBezTo>
                      <a:pt x="138" y="53"/>
                      <a:pt x="139" y="58"/>
                      <a:pt x="143" y="60"/>
                    </a:cubicBezTo>
                    <a:cubicBezTo>
                      <a:pt x="145" y="61"/>
                      <a:pt x="147" y="61"/>
                      <a:pt x="150" y="61"/>
                    </a:cubicBezTo>
                    <a:cubicBezTo>
                      <a:pt x="201" y="61"/>
                      <a:pt x="253" y="61"/>
                      <a:pt x="305" y="61"/>
                    </a:cubicBezTo>
                    <a:cubicBezTo>
                      <a:pt x="304" y="68"/>
                      <a:pt x="304" y="76"/>
                      <a:pt x="305" y="83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5" name="iṡļïḋê">
                <a:extLst>
                  <a:ext uri="{FF2B5EF4-FFF2-40B4-BE49-F238E27FC236}">
                    <a16:creationId xmlns:a16="http://schemas.microsoft.com/office/drawing/2014/main" id="{DD96066C-4A81-46D1-96CF-F00081B06113}"/>
                  </a:ext>
                </a:extLst>
              </p:cNvPr>
              <p:cNvSpPr/>
              <p:nvPr/>
            </p:nvSpPr>
            <p:spPr bwMode="auto">
              <a:xfrm>
                <a:off x="4098925" y="4852104"/>
                <a:ext cx="1150938" cy="935038"/>
              </a:xfrm>
              <a:custGeom>
                <a:avLst/>
                <a:gdLst>
                  <a:gd name="T0" fmla="*/ 82 w 102"/>
                  <a:gd name="T1" fmla="*/ 0 h 83"/>
                  <a:gd name="T2" fmla="*/ 0 w 102"/>
                  <a:gd name="T3" fmla="*/ 48 h 83"/>
                  <a:gd name="T4" fmla="*/ 19 w 102"/>
                  <a:gd name="T5" fmla="*/ 81 h 83"/>
                  <a:gd name="T6" fmla="*/ 29 w 102"/>
                  <a:gd name="T7" fmla="*/ 83 h 83"/>
                  <a:gd name="T8" fmla="*/ 35 w 102"/>
                  <a:gd name="T9" fmla="*/ 83 h 83"/>
                  <a:gd name="T10" fmla="*/ 99 w 102"/>
                  <a:gd name="T11" fmla="*/ 42 h 83"/>
                  <a:gd name="T12" fmla="*/ 102 w 102"/>
                  <a:gd name="T13" fmla="*/ 34 h 83"/>
                  <a:gd name="T14" fmla="*/ 82 w 102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83">
                    <a:moveTo>
                      <a:pt x="82" y="0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3" y="82"/>
                      <a:pt x="26" y="82"/>
                      <a:pt x="29" y="83"/>
                    </a:cubicBezTo>
                    <a:cubicBezTo>
                      <a:pt x="31" y="83"/>
                      <a:pt x="33" y="83"/>
                      <a:pt x="35" y="83"/>
                    </a:cubicBezTo>
                    <a:cubicBezTo>
                      <a:pt x="62" y="83"/>
                      <a:pt x="88" y="66"/>
                      <a:pt x="99" y="42"/>
                    </a:cubicBezTo>
                    <a:cubicBezTo>
                      <a:pt x="100" y="39"/>
                      <a:pt x="101" y="36"/>
                      <a:pt x="102" y="34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6" name="ï$ļíḓé">
                <a:extLst>
                  <a:ext uri="{FF2B5EF4-FFF2-40B4-BE49-F238E27FC236}">
                    <a16:creationId xmlns:a16="http://schemas.microsoft.com/office/drawing/2014/main" id="{8E0EE3BE-2F85-4A45-BB60-281DE99885C5}"/>
                  </a:ext>
                </a:extLst>
              </p:cNvPr>
              <p:cNvSpPr/>
              <p:nvPr/>
            </p:nvSpPr>
            <p:spPr bwMode="auto">
              <a:xfrm>
                <a:off x="3951288" y="4480629"/>
                <a:ext cx="1106488" cy="1092200"/>
              </a:xfrm>
              <a:custGeom>
                <a:avLst/>
                <a:gdLst>
                  <a:gd name="T0" fmla="*/ 98 w 98"/>
                  <a:gd name="T1" fmla="*/ 49 h 97"/>
                  <a:gd name="T2" fmla="*/ 49 w 98"/>
                  <a:gd name="T3" fmla="*/ 97 h 97"/>
                  <a:gd name="T4" fmla="*/ 0 w 98"/>
                  <a:gd name="T5" fmla="*/ 49 h 97"/>
                  <a:gd name="T6" fmla="*/ 49 w 98"/>
                  <a:gd name="T7" fmla="*/ 0 h 97"/>
                  <a:gd name="T8" fmla="*/ 66 w 98"/>
                  <a:gd name="T9" fmla="*/ 3 h 97"/>
                  <a:gd name="T10" fmla="*/ 85 w 98"/>
                  <a:gd name="T11" fmla="*/ 16 h 97"/>
                  <a:gd name="T12" fmla="*/ 98 w 98"/>
                  <a:gd name="T13" fmla="*/ 4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97">
                    <a:moveTo>
                      <a:pt x="98" y="49"/>
                    </a:moveTo>
                    <a:cubicBezTo>
                      <a:pt x="98" y="76"/>
                      <a:pt x="76" y="97"/>
                      <a:pt x="49" y="97"/>
                    </a:cubicBezTo>
                    <a:cubicBezTo>
                      <a:pt x="22" y="97"/>
                      <a:pt x="0" y="76"/>
                      <a:pt x="0" y="49"/>
                    </a:cubicBezTo>
                    <a:cubicBezTo>
                      <a:pt x="0" y="22"/>
                      <a:pt x="22" y="0"/>
                      <a:pt x="49" y="0"/>
                    </a:cubicBezTo>
                    <a:cubicBezTo>
                      <a:pt x="55" y="0"/>
                      <a:pt x="61" y="1"/>
                      <a:pt x="66" y="3"/>
                    </a:cubicBezTo>
                    <a:cubicBezTo>
                      <a:pt x="74" y="6"/>
                      <a:pt x="80" y="10"/>
                      <a:pt x="85" y="16"/>
                    </a:cubicBezTo>
                    <a:cubicBezTo>
                      <a:pt x="93" y="25"/>
                      <a:pt x="98" y="36"/>
                      <a:pt x="98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7" name="íŝlïḓé">
                <a:extLst>
                  <a:ext uri="{FF2B5EF4-FFF2-40B4-BE49-F238E27FC236}">
                    <a16:creationId xmlns:a16="http://schemas.microsoft.com/office/drawing/2014/main" id="{4DF506F0-5F4D-4076-9052-70E81C4A2603}"/>
                  </a:ext>
                </a:extLst>
              </p:cNvPr>
              <p:cNvSpPr/>
              <p:nvPr/>
            </p:nvSpPr>
            <p:spPr bwMode="auto">
              <a:xfrm>
                <a:off x="8218488" y="5336291"/>
                <a:ext cx="146050" cy="225425"/>
              </a:xfrm>
              <a:custGeom>
                <a:avLst/>
                <a:gdLst>
                  <a:gd name="T0" fmla="*/ 13 w 13"/>
                  <a:gd name="T1" fmla="*/ 0 h 20"/>
                  <a:gd name="T2" fmla="*/ 0 w 13"/>
                  <a:gd name="T3" fmla="*/ 20 h 20"/>
                  <a:gd name="T4" fmla="*/ 13 w 13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0">
                    <a:moveTo>
                      <a:pt x="13" y="0"/>
                    </a:moveTo>
                    <a:cubicBezTo>
                      <a:pt x="10" y="8"/>
                      <a:pt x="5" y="14"/>
                      <a:pt x="0" y="20"/>
                    </a:cubicBezTo>
                    <a:cubicBezTo>
                      <a:pt x="5" y="14"/>
                      <a:pt x="10" y="8"/>
                      <a:pt x="13" y="0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8" name="ï$1ïďe">
                <a:extLst>
                  <a:ext uri="{FF2B5EF4-FFF2-40B4-BE49-F238E27FC236}">
                    <a16:creationId xmlns:a16="http://schemas.microsoft.com/office/drawing/2014/main" id="{01C80A19-6B98-4915-8A71-A6387EFE13FF}"/>
                  </a:ext>
                </a:extLst>
              </p:cNvPr>
              <p:cNvSpPr/>
              <p:nvPr/>
            </p:nvSpPr>
            <p:spPr bwMode="auto">
              <a:xfrm>
                <a:off x="7180263" y="4694941"/>
                <a:ext cx="1228725" cy="1103313"/>
              </a:xfrm>
              <a:custGeom>
                <a:avLst/>
                <a:gdLst>
                  <a:gd name="T0" fmla="*/ 82 w 109"/>
                  <a:gd name="T1" fmla="*/ 3 h 98"/>
                  <a:gd name="T2" fmla="*/ 1 w 109"/>
                  <a:gd name="T3" fmla="*/ 51 h 98"/>
                  <a:gd name="T4" fmla="*/ 27 w 109"/>
                  <a:gd name="T5" fmla="*/ 96 h 98"/>
                  <a:gd name="T6" fmla="*/ 42 w 109"/>
                  <a:gd name="T7" fmla="*/ 98 h 98"/>
                  <a:gd name="T8" fmla="*/ 92 w 109"/>
                  <a:gd name="T9" fmla="*/ 77 h 98"/>
                  <a:gd name="T10" fmla="*/ 105 w 109"/>
                  <a:gd name="T11" fmla="*/ 57 h 98"/>
                  <a:gd name="T12" fmla="*/ 109 w 109"/>
                  <a:gd name="T13" fmla="*/ 48 h 98"/>
                  <a:gd name="T14" fmla="*/ 109 w 109"/>
                  <a:gd name="T15" fmla="*/ 47 h 98"/>
                  <a:gd name="T16" fmla="*/ 82 w 109"/>
                  <a:gd name="T17" fmla="*/ 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9" h="98">
                    <a:moveTo>
                      <a:pt x="82" y="3"/>
                    </a:moveTo>
                    <a:cubicBezTo>
                      <a:pt x="48" y="23"/>
                      <a:pt x="5" y="49"/>
                      <a:pt x="1" y="51"/>
                    </a:cubicBezTo>
                    <a:cubicBezTo>
                      <a:pt x="3" y="55"/>
                      <a:pt x="0" y="50"/>
                      <a:pt x="27" y="96"/>
                    </a:cubicBezTo>
                    <a:cubicBezTo>
                      <a:pt x="32" y="97"/>
                      <a:pt x="37" y="98"/>
                      <a:pt x="42" y="98"/>
                    </a:cubicBezTo>
                    <a:cubicBezTo>
                      <a:pt x="61" y="98"/>
                      <a:pt x="79" y="90"/>
                      <a:pt x="92" y="77"/>
                    </a:cubicBezTo>
                    <a:cubicBezTo>
                      <a:pt x="97" y="71"/>
                      <a:pt x="102" y="65"/>
                      <a:pt x="105" y="57"/>
                    </a:cubicBezTo>
                    <a:cubicBezTo>
                      <a:pt x="107" y="54"/>
                      <a:pt x="108" y="51"/>
                      <a:pt x="109" y="48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80" y="0"/>
                      <a:pt x="85" y="7"/>
                      <a:pt x="82" y="3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9" name="îsľîdé">
                <a:extLst>
                  <a:ext uri="{FF2B5EF4-FFF2-40B4-BE49-F238E27FC236}">
                    <a16:creationId xmlns:a16="http://schemas.microsoft.com/office/drawing/2014/main" id="{A76D3114-4AC0-4EE0-BBC2-E1E26C457F23}"/>
                  </a:ext>
                </a:extLst>
              </p:cNvPr>
              <p:cNvSpPr/>
              <p:nvPr/>
            </p:nvSpPr>
            <p:spPr bwMode="auto">
              <a:xfrm>
                <a:off x="7123113" y="4491741"/>
                <a:ext cx="1071563" cy="1058863"/>
              </a:xfrm>
              <a:custGeom>
                <a:avLst/>
                <a:gdLst>
                  <a:gd name="T0" fmla="*/ 95 w 95"/>
                  <a:gd name="T1" fmla="*/ 47 h 94"/>
                  <a:gd name="T2" fmla="*/ 48 w 95"/>
                  <a:gd name="T3" fmla="*/ 94 h 94"/>
                  <a:gd name="T4" fmla="*/ 2 w 95"/>
                  <a:gd name="T5" fmla="*/ 58 h 94"/>
                  <a:gd name="T6" fmla="*/ 0 w 95"/>
                  <a:gd name="T7" fmla="*/ 47 h 94"/>
                  <a:gd name="T8" fmla="*/ 2 w 95"/>
                  <a:gd name="T9" fmla="*/ 36 h 94"/>
                  <a:gd name="T10" fmla="*/ 48 w 95"/>
                  <a:gd name="T11" fmla="*/ 0 h 94"/>
                  <a:gd name="T12" fmla="*/ 95 w 95"/>
                  <a:gd name="T13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94">
                    <a:moveTo>
                      <a:pt x="95" y="47"/>
                    </a:moveTo>
                    <a:cubicBezTo>
                      <a:pt x="95" y="73"/>
                      <a:pt x="74" y="94"/>
                      <a:pt x="48" y="94"/>
                    </a:cubicBezTo>
                    <a:cubicBezTo>
                      <a:pt x="25" y="94"/>
                      <a:pt x="7" y="79"/>
                      <a:pt x="2" y="58"/>
                    </a:cubicBezTo>
                    <a:cubicBezTo>
                      <a:pt x="1" y="55"/>
                      <a:pt x="0" y="51"/>
                      <a:pt x="0" y="47"/>
                    </a:cubicBezTo>
                    <a:cubicBezTo>
                      <a:pt x="0" y="43"/>
                      <a:pt x="1" y="39"/>
                      <a:pt x="2" y="36"/>
                    </a:cubicBezTo>
                    <a:cubicBezTo>
                      <a:pt x="7" y="15"/>
                      <a:pt x="25" y="0"/>
                      <a:pt x="48" y="0"/>
                    </a:cubicBezTo>
                    <a:cubicBezTo>
                      <a:pt x="74" y="0"/>
                      <a:pt x="95" y="21"/>
                      <a:pt x="95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30" name="îSḷïde">
                <a:extLst>
                  <a:ext uri="{FF2B5EF4-FFF2-40B4-BE49-F238E27FC236}">
                    <a16:creationId xmlns:a16="http://schemas.microsoft.com/office/drawing/2014/main" id="{91CC404D-4827-497D-ABA7-264C49F65FA7}"/>
                  </a:ext>
                </a:extLst>
              </p:cNvPr>
              <p:cNvSpPr/>
              <p:nvPr/>
            </p:nvSpPr>
            <p:spPr>
              <a:xfrm>
                <a:off x="5758657" y="2311757"/>
                <a:ext cx="515936" cy="410838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8532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  <p:sp>
            <p:nvSpPr>
              <p:cNvPr id="131" name="íṩḻíde">
                <a:extLst>
                  <a:ext uri="{FF2B5EF4-FFF2-40B4-BE49-F238E27FC236}">
                    <a16:creationId xmlns:a16="http://schemas.microsoft.com/office/drawing/2014/main" id="{AB49E893-0EEC-4188-BBBE-53686165AFD0}"/>
                  </a:ext>
                </a:extLst>
              </p:cNvPr>
              <p:cNvSpPr/>
              <p:nvPr/>
            </p:nvSpPr>
            <p:spPr>
              <a:xfrm>
                <a:off x="4246563" y="4779719"/>
                <a:ext cx="515936" cy="506723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8532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  <p:sp>
            <p:nvSpPr>
              <p:cNvPr id="132" name="îśḷïḓe">
                <a:extLst>
                  <a:ext uri="{FF2B5EF4-FFF2-40B4-BE49-F238E27FC236}">
                    <a16:creationId xmlns:a16="http://schemas.microsoft.com/office/drawing/2014/main" id="{8573ECF2-361F-488C-AE49-3B3510CFBE4E}"/>
                  </a:ext>
                </a:extLst>
              </p:cNvPr>
              <p:cNvSpPr/>
              <p:nvPr/>
            </p:nvSpPr>
            <p:spPr>
              <a:xfrm>
                <a:off x="7419004" y="4775112"/>
                <a:ext cx="479779" cy="515936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8532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/>
              </a:p>
            </p:txBody>
          </p:sp>
        </p:grpSp>
        <p:sp>
          <p:nvSpPr>
            <p:cNvPr id="103" name="iṡľîdè">
              <a:extLst>
                <a:ext uri="{FF2B5EF4-FFF2-40B4-BE49-F238E27FC236}">
                  <a16:creationId xmlns:a16="http://schemas.microsoft.com/office/drawing/2014/main" id="{7DB83D0D-865C-43CA-8F31-75623D992977}"/>
                </a:ext>
              </a:extLst>
            </p:cNvPr>
            <p:cNvSpPr/>
            <p:nvPr/>
          </p:nvSpPr>
          <p:spPr>
            <a:xfrm>
              <a:off x="4857654" y="3946397"/>
              <a:ext cx="2376410" cy="720978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378">
                <a:defRPr/>
              </a:pPr>
              <a:r>
                <a:rPr lang="en-US" altLang="zh-CN" sz="2000" b="1" i="1" dirty="0"/>
                <a:t>Text here</a:t>
              </a:r>
              <a:endParaRPr lang="zh-CN" altLang="en-US" sz="2000" b="1" i="1" dirty="0"/>
            </a:p>
          </p:txBody>
        </p:sp>
        <p:sp>
          <p:nvSpPr>
            <p:cNvPr id="104" name="ïśľíḍe">
              <a:extLst>
                <a:ext uri="{FF2B5EF4-FFF2-40B4-BE49-F238E27FC236}">
                  <a16:creationId xmlns:a16="http://schemas.microsoft.com/office/drawing/2014/main" id="{0CC649AA-5CC2-4172-99CC-5570FD428248}"/>
                </a:ext>
              </a:extLst>
            </p:cNvPr>
            <p:cNvSpPr/>
            <p:nvPr/>
          </p:nvSpPr>
          <p:spPr>
            <a:xfrm>
              <a:off x="673100" y="4809706"/>
              <a:ext cx="2838450" cy="433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66800">
                <a:spcBef>
                  <a:spcPct val="0"/>
                </a:spcBef>
                <a:spcAft>
                  <a:spcPts val="600"/>
                </a:spcAft>
              </a:pPr>
              <a:r>
                <a:rPr lang="en-US" altLang="zh-CN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105" name="íṡ1iḓê">
              <a:extLst>
                <a:ext uri="{FF2B5EF4-FFF2-40B4-BE49-F238E27FC236}">
                  <a16:creationId xmlns:a16="http://schemas.microsoft.com/office/drawing/2014/main" id="{0A03B49F-AEEA-4632-A3AA-3581C8812D4E}"/>
                </a:ext>
              </a:extLst>
            </p:cNvPr>
            <p:cNvSpPr txBox="1"/>
            <p:nvPr/>
          </p:nvSpPr>
          <p:spPr>
            <a:xfrm>
              <a:off x="673100" y="5243512"/>
              <a:ext cx="2838450" cy="758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lnSpc>
                  <a:spcPct val="150000"/>
                </a:lnSpc>
                <a:defRPr/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  <p:sp>
          <p:nvSpPr>
            <p:cNvPr id="106" name="ïṩļiḑè">
              <a:extLst>
                <a:ext uri="{FF2B5EF4-FFF2-40B4-BE49-F238E27FC236}">
                  <a16:creationId xmlns:a16="http://schemas.microsoft.com/office/drawing/2014/main" id="{B7535DFC-B93A-40D7-9FC7-31EF8A1AFC08}"/>
                </a:ext>
              </a:extLst>
            </p:cNvPr>
            <p:cNvSpPr/>
            <p:nvPr/>
          </p:nvSpPr>
          <p:spPr>
            <a:xfrm>
              <a:off x="8686801" y="4809706"/>
              <a:ext cx="2838450" cy="433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 defTabSz="1066800">
                <a:spcBef>
                  <a:spcPct val="0"/>
                </a:spcBef>
                <a:spcAft>
                  <a:spcPts val="600"/>
                </a:spcAft>
              </a:pPr>
              <a:r>
                <a:rPr lang="en-US" altLang="zh-CN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107" name="îṥ1iḋé">
              <a:extLst>
                <a:ext uri="{FF2B5EF4-FFF2-40B4-BE49-F238E27FC236}">
                  <a16:creationId xmlns:a16="http://schemas.microsoft.com/office/drawing/2014/main" id="{5FD74FBE-66DE-4FB2-BDD5-E47F83EB20A7}"/>
                </a:ext>
              </a:extLst>
            </p:cNvPr>
            <p:cNvSpPr txBox="1"/>
            <p:nvPr/>
          </p:nvSpPr>
          <p:spPr>
            <a:xfrm>
              <a:off x="8686801" y="5243512"/>
              <a:ext cx="2838450" cy="758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914378">
                <a:lnSpc>
                  <a:spcPct val="150000"/>
                </a:lnSpc>
                <a:defRPr/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  <p:sp>
          <p:nvSpPr>
            <p:cNvPr id="108" name="íṥľiḍé">
              <a:extLst>
                <a:ext uri="{FF2B5EF4-FFF2-40B4-BE49-F238E27FC236}">
                  <a16:creationId xmlns:a16="http://schemas.microsoft.com/office/drawing/2014/main" id="{FAB2B0D1-663E-45E9-AC77-9829FFC7E426}"/>
                </a:ext>
              </a:extLst>
            </p:cNvPr>
            <p:cNvSpPr/>
            <p:nvPr/>
          </p:nvSpPr>
          <p:spPr>
            <a:xfrm>
              <a:off x="7180262" y="2234775"/>
              <a:ext cx="3335337" cy="433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1066800">
                <a:spcBef>
                  <a:spcPct val="0"/>
                </a:spcBef>
                <a:spcAft>
                  <a:spcPts val="600"/>
                </a:spcAft>
              </a:pPr>
              <a:r>
                <a:rPr lang="en-US" altLang="zh-CN" b="1" dirty="0">
                  <a:solidFill>
                    <a:schemeClr val="tx1"/>
                  </a:solidFill>
                </a:rPr>
                <a:t>Text here</a:t>
              </a:r>
            </a:p>
          </p:txBody>
        </p:sp>
        <p:sp>
          <p:nvSpPr>
            <p:cNvPr id="109" name="isḻíḋê">
              <a:extLst>
                <a:ext uri="{FF2B5EF4-FFF2-40B4-BE49-F238E27FC236}">
                  <a16:creationId xmlns:a16="http://schemas.microsoft.com/office/drawing/2014/main" id="{93A3693D-8BC8-4D4F-A1AF-4AC24C50BF8B}"/>
                </a:ext>
              </a:extLst>
            </p:cNvPr>
            <p:cNvSpPr txBox="1"/>
            <p:nvPr/>
          </p:nvSpPr>
          <p:spPr>
            <a:xfrm>
              <a:off x="7180262" y="2668581"/>
              <a:ext cx="3335337" cy="758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lnSpc>
                  <a:spcPct val="150000"/>
                </a:lnSpc>
                <a:defRPr/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  <p:sp>
          <p:nvSpPr>
            <p:cNvPr id="110" name="îšḻïďé">
              <a:extLst>
                <a:ext uri="{FF2B5EF4-FFF2-40B4-BE49-F238E27FC236}">
                  <a16:creationId xmlns:a16="http://schemas.microsoft.com/office/drawing/2014/main" id="{72EA2EF2-201E-41F9-980D-B21C0CB9BD3A}"/>
                </a:ext>
              </a:extLst>
            </p:cNvPr>
            <p:cNvSpPr txBox="1"/>
            <p:nvPr/>
          </p:nvSpPr>
          <p:spPr>
            <a:xfrm>
              <a:off x="673102" y="1130300"/>
              <a:ext cx="4479924" cy="10421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800" b="1" dirty="0"/>
                <a:t>Unified fonts make reading more fluent.</a:t>
              </a:r>
            </a:p>
          </p:txBody>
        </p:sp>
        <p:sp>
          <p:nvSpPr>
            <p:cNvPr id="111" name="ïṥļiḋè">
              <a:extLst>
                <a:ext uri="{FF2B5EF4-FFF2-40B4-BE49-F238E27FC236}">
                  <a16:creationId xmlns:a16="http://schemas.microsoft.com/office/drawing/2014/main" id="{28EDE4A6-2353-4569-B242-9CF9362D1C4F}"/>
                </a:ext>
              </a:extLst>
            </p:cNvPr>
            <p:cNvSpPr txBox="1"/>
            <p:nvPr/>
          </p:nvSpPr>
          <p:spPr>
            <a:xfrm>
              <a:off x="673100" y="2172472"/>
              <a:ext cx="4479925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735967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ḻ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ḻïdê">
            <a:extLst>
              <a:ext uri="{FF2B5EF4-FFF2-40B4-BE49-F238E27FC236}">
                <a16:creationId xmlns:a16="http://schemas.microsoft.com/office/drawing/2014/main" id="{5E5EBADE-F6C6-4D81-80B1-BEE1C978E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$ḻîḓé">
            <a:extLst>
              <a:ext uri="{FF2B5EF4-FFF2-40B4-BE49-F238E27FC236}">
                <a16:creationId xmlns:a16="http://schemas.microsoft.com/office/drawing/2014/main" id="{5BD5E911-DF26-4630-80A7-79AE6E96B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ṩlîḑé">
            <a:extLst>
              <a:ext uri="{FF2B5EF4-FFF2-40B4-BE49-F238E27FC236}">
                <a16:creationId xmlns:a16="http://schemas.microsoft.com/office/drawing/2014/main" id="{203F70DE-C42D-4DAF-B0AD-DDA21990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122" name="íṧḷîḋ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3F3DDEA-9DF5-4E79-A7B5-A0FD804F636B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749423"/>
            <a:ext cx="10156581" cy="3963970"/>
            <a:chOff x="660400" y="1749423"/>
            <a:chExt cx="10156581" cy="3963970"/>
          </a:xfrm>
        </p:grpSpPr>
        <p:sp>
          <p:nvSpPr>
            <p:cNvPr id="123" name="iṡľiḑè">
              <a:extLst>
                <a:ext uri="{FF2B5EF4-FFF2-40B4-BE49-F238E27FC236}">
                  <a16:creationId xmlns:a16="http://schemas.microsoft.com/office/drawing/2014/main" id="{512B4AAF-5808-45B2-A8A9-16C303DD0F10}"/>
                </a:ext>
              </a:extLst>
            </p:cNvPr>
            <p:cNvSpPr/>
            <p:nvPr/>
          </p:nvSpPr>
          <p:spPr bwMode="auto">
            <a:xfrm>
              <a:off x="4576734" y="3584165"/>
              <a:ext cx="3038533" cy="696182"/>
            </a:xfrm>
            <a:custGeom>
              <a:avLst/>
              <a:gdLst>
                <a:gd name="T0" fmla="*/ 2154 w 2562"/>
                <a:gd name="T1" fmla="*/ 0 h 587"/>
                <a:gd name="T2" fmla="*/ 408 w 2562"/>
                <a:gd name="T3" fmla="*/ 0 h 587"/>
                <a:gd name="T4" fmla="*/ 0 w 2562"/>
                <a:gd name="T5" fmla="*/ 587 h 587"/>
                <a:gd name="T6" fmla="*/ 2562 w 2562"/>
                <a:gd name="T7" fmla="*/ 587 h 587"/>
                <a:gd name="T8" fmla="*/ 2154 w 2562"/>
                <a:gd name="T9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2" h="587">
                  <a:moveTo>
                    <a:pt x="2154" y="0"/>
                  </a:moveTo>
                  <a:lnTo>
                    <a:pt x="408" y="0"/>
                  </a:lnTo>
                  <a:lnTo>
                    <a:pt x="0" y="587"/>
                  </a:lnTo>
                  <a:lnTo>
                    <a:pt x="2562" y="587"/>
                  </a:lnTo>
                  <a:lnTo>
                    <a:pt x="21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/>
                <a:t>2</a:t>
              </a:r>
              <a:endParaRPr lang="id-ID" sz="2400" b="1" dirty="0"/>
            </a:p>
          </p:txBody>
        </p:sp>
        <p:sp>
          <p:nvSpPr>
            <p:cNvPr id="124" name="ïslídè">
              <a:extLst>
                <a:ext uri="{FF2B5EF4-FFF2-40B4-BE49-F238E27FC236}">
                  <a16:creationId xmlns:a16="http://schemas.microsoft.com/office/drawing/2014/main" id="{3BBE57CB-0CD0-4A21-8B06-38F40E63FA10}"/>
                </a:ext>
              </a:extLst>
            </p:cNvPr>
            <p:cNvSpPr/>
            <p:nvPr/>
          </p:nvSpPr>
          <p:spPr bwMode="auto">
            <a:xfrm>
              <a:off x="3943410" y="4987203"/>
              <a:ext cx="4305180" cy="527770"/>
            </a:xfrm>
            <a:custGeom>
              <a:avLst/>
              <a:gdLst>
                <a:gd name="T0" fmla="*/ 306 w 3630"/>
                <a:gd name="T1" fmla="*/ 0 h 445"/>
                <a:gd name="T2" fmla="*/ 0 w 3630"/>
                <a:gd name="T3" fmla="*/ 445 h 445"/>
                <a:gd name="T4" fmla="*/ 3630 w 3630"/>
                <a:gd name="T5" fmla="*/ 445 h 445"/>
                <a:gd name="T6" fmla="*/ 3324 w 3630"/>
                <a:gd name="T7" fmla="*/ 0 h 445"/>
                <a:gd name="T8" fmla="*/ 306 w 3630"/>
                <a:gd name="T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0" h="445">
                  <a:moveTo>
                    <a:pt x="306" y="0"/>
                  </a:moveTo>
                  <a:lnTo>
                    <a:pt x="0" y="445"/>
                  </a:lnTo>
                  <a:lnTo>
                    <a:pt x="3630" y="445"/>
                  </a:lnTo>
                  <a:lnTo>
                    <a:pt x="3324" y="0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/>
                <a:t>3</a:t>
              </a:r>
              <a:endParaRPr lang="id-ID" sz="2400" b="1" dirty="0"/>
            </a:p>
          </p:txBody>
        </p:sp>
        <p:sp>
          <p:nvSpPr>
            <p:cNvPr id="125" name="ïṧḷiḋé">
              <a:extLst>
                <a:ext uri="{FF2B5EF4-FFF2-40B4-BE49-F238E27FC236}">
                  <a16:creationId xmlns:a16="http://schemas.microsoft.com/office/drawing/2014/main" id="{A3152955-067F-48C9-A997-95F243918910}"/>
                </a:ext>
              </a:extLst>
            </p:cNvPr>
            <p:cNvSpPr/>
            <p:nvPr/>
          </p:nvSpPr>
          <p:spPr bwMode="auto">
            <a:xfrm>
              <a:off x="5332216" y="1749423"/>
              <a:ext cx="1527568" cy="1113654"/>
            </a:xfrm>
            <a:custGeom>
              <a:avLst/>
              <a:gdLst>
                <a:gd name="T0" fmla="*/ 1288 w 1288"/>
                <a:gd name="T1" fmla="*/ 939 h 939"/>
                <a:gd name="T2" fmla="*/ 644 w 1288"/>
                <a:gd name="T3" fmla="*/ 0 h 939"/>
                <a:gd name="T4" fmla="*/ 0 w 1288"/>
                <a:gd name="T5" fmla="*/ 939 h 939"/>
                <a:gd name="T6" fmla="*/ 1288 w 1288"/>
                <a:gd name="T7" fmla="*/ 939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8" h="939">
                  <a:moveTo>
                    <a:pt x="1288" y="939"/>
                  </a:moveTo>
                  <a:lnTo>
                    <a:pt x="644" y="0"/>
                  </a:lnTo>
                  <a:lnTo>
                    <a:pt x="0" y="939"/>
                  </a:lnTo>
                  <a:lnTo>
                    <a:pt x="1288" y="9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>
                  <a:solidFill>
                    <a:schemeClr val="bg1"/>
                  </a:solidFill>
                </a:rPr>
                <a:t>1</a:t>
              </a:r>
              <a:endParaRPr lang="id-ID" sz="2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6" name="îṡḷïdé">
              <a:extLst>
                <a:ext uri="{FF2B5EF4-FFF2-40B4-BE49-F238E27FC236}">
                  <a16:creationId xmlns:a16="http://schemas.microsoft.com/office/drawing/2014/main" id="{E64CAE25-250C-41D2-BBBB-DD5820FE8BE4}"/>
                </a:ext>
              </a:extLst>
            </p:cNvPr>
            <p:cNvGrpSpPr/>
            <p:nvPr/>
          </p:nvGrpSpPr>
          <p:grpSpPr>
            <a:xfrm>
              <a:off x="4531228" y="4300515"/>
              <a:ext cx="3129811" cy="672462"/>
              <a:chOff x="4573909" y="4079091"/>
              <a:chExt cx="3044458" cy="654123"/>
            </a:xfrm>
            <a:solidFill>
              <a:schemeClr val="bg1">
                <a:lumMod val="95000"/>
              </a:schemeClr>
            </a:solidFill>
          </p:grpSpPr>
          <p:sp>
            <p:nvSpPr>
              <p:cNvPr id="153" name="iSľiḓe">
                <a:extLst>
                  <a:ext uri="{FF2B5EF4-FFF2-40B4-BE49-F238E27FC236}">
                    <a16:creationId xmlns:a16="http://schemas.microsoft.com/office/drawing/2014/main" id="{EF0DAA40-7826-42DC-9C08-B67D09E4B95F}"/>
                  </a:ext>
                </a:extLst>
              </p:cNvPr>
              <p:cNvSpPr/>
              <p:nvPr/>
            </p:nvSpPr>
            <p:spPr bwMode="auto">
              <a:xfrm>
                <a:off x="4950005" y="4079091"/>
                <a:ext cx="410656" cy="654123"/>
              </a:xfrm>
              <a:custGeom>
                <a:avLst/>
                <a:gdLst>
                  <a:gd name="connsiteX0" fmla="*/ 206920 w 410656"/>
                  <a:gd name="connsiteY0" fmla="*/ 27688 h 654123"/>
                  <a:gd name="connsiteX1" fmla="*/ 265757 w 410656"/>
                  <a:gd name="connsiteY1" fmla="*/ 86525 h 654123"/>
                  <a:gd name="connsiteX2" fmla="*/ 206920 w 410656"/>
                  <a:gd name="connsiteY2" fmla="*/ 145362 h 654123"/>
                  <a:gd name="connsiteX3" fmla="*/ 148083 w 410656"/>
                  <a:gd name="connsiteY3" fmla="*/ 86525 h 654123"/>
                  <a:gd name="connsiteX4" fmla="*/ 206920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6920" y="27688"/>
                    </a:moveTo>
                    <a:cubicBezTo>
                      <a:pt x="239415" y="27688"/>
                      <a:pt x="265757" y="54030"/>
                      <a:pt x="265757" y="86525"/>
                    </a:cubicBezTo>
                    <a:cubicBezTo>
                      <a:pt x="265757" y="119020"/>
                      <a:pt x="239415" y="145362"/>
                      <a:pt x="206920" y="145362"/>
                    </a:cubicBezTo>
                    <a:cubicBezTo>
                      <a:pt x="174425" y="145362"/>
                      <a:pt x="148083" y="119020"/>
                      <a:pt x="148083" y="86525"/>
                    </a:cubicBezTo>
                    <a:cubicBezTo>
                      <a:pt x="148083" y="54030"/>
                      <a:pt x="174425" y="27688"/>
                      <a:pt x="206920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3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4" name="ïŝļiḓé">
                <a:extLst>
                  <a:ext uri="{FF2B5EF4-FFF2-40B4-BE49-F238E27FC236}">
                    <a16:creationId xmlns:a16="http://schemas.microsoft.com/office/drawing/2014/main" id="{AD1AC9A1-105B-4F94-AB17-FE93834EE6BF}"/>
                  </a:ext>
                </a:extLst>
              </p:cNvPr>
              <p:cNvSpPr/>
              <p:nvPr/>
            </p:nvSpPr>
            <p:spPr bwMode="auto">
              <a:xfrm>
                <a:off x="4573909" y="4079091"/>
                <a:ext cx="409511" cy="654123"/>
              </a:xfrm>
              <a:custGeom>
                <a:avLst/>
                <a:gdLst>
                  <a:gd name="connsiteX0" fmla="*/ 206925 w 409511"/>
                  <a:gd name="connsiteY0" fmla="*/ 27688 h 654123"/>
                  <a:gd name="connsiteX1" fmla="*/ 265762 w 409511"/>
                  <a:gd name="connsiteY1" fmla="*/ 86525 h 654123"/>
                  <a:gd name="connsiteX2" fmla="*/ 206925 w 409511"/>
                  <a:gd name="connsiteY2" fmla="*/ 145362 h 654123"/>
                  <a:gd name="connsiteX3" fmla="*/ 148088 w 409511"/>
                  <a:gd name="connsiteY3" fmla="*/ 86525 h 654123"/>
                  <a:gd name="connsiteX4" fmla="*/ 206925 w 409511"/>
                  <a:gd name="connsiteY4" fmla="*/ 27688 h 654123"/>
                  <a:gd name="connsiteX5" fmla="*/ 12193 w 409511"/>
                  <a:gd name="connsiteY5" fmla="*/ 0 h 654123"/>
                  <a:gd name="connsiteX6" fmla="*/ 21579 w 409511"/>
                  <a:gd name="connsiteY6" fmla="*/ 0 h 654123"/>
                  <a:gd name="connsiteX7" fmla="*/ 40352 w 409511"/>
                  <a:gd name="connsiteY7" fmla="*/ 9412 h 654123"/>
                  <a:gd name="connsiteX8" fmla="*/ 138911 w 409511"/>
                  <a:gd name="connsiteY8" fmla="*/ 160002 h 654123"/>
                  <a:gd name="connsiteX9" fmla="*/ 270324 w 409511"/>
                  <a:gd name="connsiteY9" fmla="*/ 160002 h 654123"/>
                  <a:gd name="connsiteX10" fmla="*/ 373576 w 409511"/>
                  <a:gd name="connsiteY10" fmla="*/ 9412 h 654123"/>
                  <a:gd name="connsiteX11" fmla="*/ 387656 w 409511"/>
                  <a:gd name="connsiteY11" fmla="*/ 0 h 654123"/>
                  <a:gd name="connsiteX12" fmla="*/ 401736 w 409511"/>
                  <a:gd name="connsiteY12" fmla="*/ 0 h 654123"/>
                  <a:gd name="connsiteX13" fmla="*/ 406429 w 409511"/>
                  <a:gd name="connsiteY13" fmla="*/ 32942 h 654123"/>
                  <a:gd name="connsiteX14" fmla="*/ 298483 w 409511"/>
                  <a:gd name="connsiteY14" fmla="*/ 192943 h 654123"/>
                  <a:gd name="connsiteX15" fmla="*/ 284404 w 409511"/>
                  <a:gd name="connsiteY15" fmla="*/ 202355 h 654123"/>
                  <a:gd name="connsiteX16" fmla="*/ 275017 w 409511"/>
                  <a:gd name="connsiteY16" fmla="*/ 202355 h 654123"/>
                  <a:gd name="connsiteX17" fmla="*/ 275017 w 409511"/>
                  <a:gd name="connsiteY17" fmla="*/ 621182 h 654123"/>
                  <a:gd name="connsiteX18" fmla="*/ 242164 w 409511"/>
                  <a:gd name="connsiteY18" fmla="*/ 654123 h 654123"/>
                  <a:gd name="connsiteX19" fmla="*/ 209311 w 409511"/>
                  <a:gd name="connsiteY19" fmla="*/ 621182 h 654123"/>
                  <a:gd name="connsiteX20" fmla="*/ 209311 w 409511"/>
                  <a:gd name="connsiteY20" fmla="*/ 381180 h 654123"/>
                  <a:gd name="connsiteX21" fmla="*/ 199924 w 409511"/>
                  <a:gd name="connsiteY21" fmla="*/ 381180 h 654123"/>
                  <a:gd name="connsiteX22" fmla="*/ 199924 w 409511"/>
                  <a:gd name="connsiteY22" fmla="*/ 621182 h 654123"/>
                  <a:gd name="connsiteX23" fmla="*/ 167071 w 409511"/>
                  <a:gd name="connsiteY23" fmla="*/ 654123 h 654123"/>
                  <a:gd name="connsiteX24" fmla="*/ 134218 w 409511"/>
                  <a:gd name="connsiteY24" fmla="*/ 621182 h 654123"/>
                  <a:gd name="connsiteX25" fmla="*/ 134218 w 409511"/>
                  <a:gd name="connsiteY25" fmla="*/ 202355 h 654123"/>
                  <a:gd name="connsiteX26" fmla="*/ 129525 w 409511"/>
                  <a:gd name="connsiteY26" fmla="*/ 202355 h 654123"/>
                  <a:gd name="connsiteX27" fmla="*/ 110752 w 409511"/>
                  <a:gd name="connsiteY27" fmla="*/ 192943 h 654123"/>
                  <a:gd name="connsiteX28" fmla="*/ 2806 w 409511"/>
                  <a:gd name="connsiteY28" fmla="*/ 32942 h 654123"/>
                  <a:gd name="connsiteX29" fmla="*/ 12193 w 409511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09511" h="654123">
                    <a:moveTo>
                      <a:pt x="206925" y="27688"/>
                    </a:moveTo>
                    <a:cubicBezTo>
                      <a:pt x="239420" y="27688"/>
                      <a:pt x="265762" y="54030"/>
                      <a:pt x="265762" y="86525"/>
                    </a:cubicBezTo>
                    <a:cubicBezTo>
                      <a:pt x="265762" y="119020"/>
                      <a:pt x="239420" y="145362"/>
                      <a:pt x="206925" y="145362"/>
                    </a:cubicBezTo>
                    <a:cubicBezTo>
                      <a:pt x="174430" y="145362"/>
                      <a:pt x="148088" y="119020"/>
                      <a:pt x="148088" y="86525"/>
                    </a:cubicBezTo>
                    <a:cubicBezTo>
                      <a:pt x="148088" y="54030"/>
                      <a:pt x="174430" y="27688"/>
                      <a:pt x="206925" y="27688"/>
                    </a:cubicBezTo>
                    <a:close/>
                    <a:moveTo>
                      <a:pt x="12193" y="0"/>
                    </a:moveTo>
                    <a:cubicBezTo>
                      <a:pt x="12193" y="0"/>
                      <a:pt x="16886" y="0"/>
                      <a:pt x="21579" y="0"/>
                    </a:cubicBezTo>
                    <a:cubicBezTo>
                      <a:pt x="26272" y="0"/>
                      <a:pt x="35659" y="0"/>
                      <a:pt x="40352" y="9412"/>
                    </a:cubicBezTo>
                    <a:cubicBezTo>
                      <a:pt x="40352" y="9412"/>
                      <a:pt x="40352" y="9412"/>
                      <a:pt x="138911" y="160002"/>
                    </a:cubicBezTo>
                    <a:cubicBezTo>
                      <a:pt x="138911" y="160002"/>
                      <a:pt x="138911" y="160002"/>
                      <a:pt x="270324" y="160002"/>
                    </a:cubicBezTo>
                    <a:cubicBezTo>
                      <a:pt x="270324" y="160002"/>
                      <a:pt x="270324" y="160002"/>
                      <a:pt x="373576" y="9412"/>
                    </a:cubicBezTo>
                    <a:cubicBezTo>
                      <a:pt x="373576" y="0"/>
                      <a:pt x="382963" y="0"/>
                      <a:pt x="387656" y="0"/>
                    </a:cubicBezTo>
                    <a:cubicBezTo>
                      <a:pt x="392349" y="0"/>
                      <a:pt x="397042" y="0"/>
                      <a:pt x="401736" y="0"/>
                    </a:cubicBezTo>
                    <a:cubicBezTo>
                      <a:pt x="411122" y="9412"/>
                      <a:pt x="411122" y="23529"/>
                      <a:pt x="406429" y="32942"/>
                    </a:cubicBezTo>
                    <a:cubicBezTo>
                      <a:pt x="406429" y="32942"/>
                      <a:pt x="406429" y="32942"/>
                      <a:pt x="298483" y="192943"/>
                    </a:cubicBezTo>
                    <a:cubicBezTo>
                      <a:pt x="293790" y="197649"/>
                      <a:pt x="289097" y="202355"/>
                      <a:pt x="284404" y="202355"/>
                    </a:cubicBezTo>
                    <a:cubicBezTo>
                      <a:pt x="284404" y="202355"/>
                      <a:pt x="284404" y="202355"/>
                      <a:pt x="275017" y="202355"/>
                    </a:cubicBezTo>
                    <a:cubicBezTo>
                      <a:pt x="275017" y="202355"/>
                      <a:pt x="275017" y="202355"/>
                      <a:pt x="275017" y="621182"/>
                    </a:cubicBezTo>
                    <a:cubicBezTo>
                      <a:pt x="275017" y="635300"/>
                      <a:pt x="260937" y="654123"/>
                      <a:pt x="242164" y="654123"/>
                    </a:cubicBezTo>
                    <a:cubicBezTo>
                      <a:pt x="228084" y="654123"/>
                      <a:pt x="209311" y="635300"/>
                      <a:pt x="209311" y="621182"/>
                    </a:cubicBezTo>
                    <a:cubicBezTo>
                      <a:pt x="209311" y="621182"/>
                      <a:pt x="209311" y="621182"/>
                      <a:pt x="209311" y="381180"/>
                    </a:cubicBezTo>
                    <a:cubicBezTo>
                      <a:pt x="209311" y="381180"/>
                      <a:pt x="209311" y="381180"/>
                      <a:pt x="199924" y="381180"/>
                    </a:cubicBezTo>
                    <a:cubicBezTo>
                      <a:pt x="199924" y="381180"/>
                      <a:pt x="199924" y="381180"/>
                      <a:pt x="199924" y="621182"/>
                    </a:cubicBezTo>
                    <a:cubicBezTo>
                      <a:pt x="199924" y="635300"/>
                      <a:pt x="185845" y="654123"/>
                      <a:pt x="167071" y="654123"/>
                    </a:cubicBezTo>
                    <a:cubicBezTo>
                      <a:pt x="148298" y="654123"/>
                      <a:pt x="134218" y="635300"/>
                      <a:pt x="134218" y="621182"/>
                    </a:cubicBezTo>
                    <a:cubicBezTo>
                      <a:pt x="134218" y="621182"/>
                      <a:pt x="134218" y="621182"/>
                      <a:pt x="134218" y="202355"/>
                    </a:cubicBezTo>
                    <a:cubicBezTo>
                      <a:pt x="134218" y="202355"/>
                      <a:pt x="134218" y="202355"/>
                      <a:pt x="129525" y="202355"/>
                    </a:cubicBezTo>
                    <a:cubicBezTo>
                      <a:pt x="120138" y="202355"/>
                      <a:pt x="115445" y="197649"/>
                      <a:pt x="110752" y="192943"/>
                    </a:cubicBezTo>
                    <a:cubicBezTo>
                      <a:pt x="110752" y="192943"/>
                      <a:pt x="110752" y="192943"/>
                      <a:pt x="2806" y="32942"/>
                    </a:cubicBezTo>
                    <a:cubicBezTo>
                      <a:pt x="-1887" y="23529"/>
                      <a:pt x="-1887" y="9412"/>
                      <a:pt x="1219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5" name="îṥļîḓé">
                <a:extLst>
                  <a:ext uri="{FF2B5EF4-FFF2-40B4-BE49-F238E27FC236}">
                    <a16:creationId xmlns:a16="http://schemas.microsoft.com/office/drawing/2014/main" id="{C9EA5EE2-C1FC-4B1E-A852-09220DAD1289}"/>
                  </a:ext>
                </a:extLst>
              </p:cNvPr>
              <p:cNvSpPr/>
              <p:nvPr/>
            </p:nvSpPr>
            <p:spPr bwMode="auto">
              <a:xfrm>
                <a:off x="5326097" y="407909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7688 h 654123"/>
                  <a:gd name="connsiteX1" fmla="*/ 266911 w 410656"/>
                  <a:gd name="connsiteY1" fmla="*/ 86525 h 654123"/>
                  <a:gd name="connsiteX2" fmla="*/ 208074 w 410656"/>
                  <a:gd name="connsiteY2" fmla="*/ 145362 h 654123"/>
                  <a:gd name="connsiteX3" fmla="*/ 149237 w 410656"/>
                  <a:gd name="connsiteY3" fmla="*/ 86525 h 654123"/>
                  <a:gd name="connsiteX4" fmla="*/ 208074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7688"/>
                    </a:moveTo>
                    <a:cubicBezTo>
                      <a:pt x="240569" y="27688"/>
                      <a:pt x="266911" y="54030"/>
                      <a:pt x="266911" y="86525"/>
                    </a:cubicBezTo>
                    <a:cubicBezTo>
                      <a:pt x="266911" y="119020"/>
                      <a:pt x="240569" y="145362"/>
                      <a:pt x="208074" y="145362"/>
                    </a:cubicBezTo>
                    <a:cubicBezTo>
                      <a:pt x="175579" y="145362"/>
                      <a:pt x="149237" y="119020"/>
                      <a:pt x="149237" y="86525"/>
                    </a:cubicBezTo>
                    <a:cubicBezTo>
                      <a:pt x="149237" y="54030"/>
                      <a:pt x="175579" y="27688"/>
                      <a:pt x="208074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2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6" name="íṣľïḓé">
                <a:extLst>
                  <a:ext uri="{FF2B5EF4-FFF2-40B4-BE49-F238E27FC236}">
                    <a16:creationId xmlns:a16="http://schemas.microsoft.com/office/drawing/2014/main" id="{9D9E5E72-1BBB-4F2D-94BE-A33152FD7752}"/>
                  </a:ext>
                </a:extLst>
              </p:cNvPr>
              <p:cNvSpPr/>
              <p:nvPr/>
            </p:nvSpPr>
            <p:spPr bwMode="auto">
              <a:xfrm>
                <a:off x="5702189" y="407909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7688 h 654123"/>
                  <a:gd name="connsiteX1" fmla="*/ 266911 w 410656"/>
                  <a:gd name="connsiteY1" fmla="*/ 86525 h 654123"/>
                  <a:gd name="connsiteX2" fmla="*/ 208074 w 410656"/>
                  <a:gd name="connsiteY2" fmla="*/ 145362 h 654123"/>
                  <a:gd name="connsiteX3" fmla="*/ 149237 w 410656"/>
                  <a:gd name="connsiteY3" fmla="*/ 86525 h 654123"/>
                  <a:gd name="connsiteX4" fmla="*/ 208074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7688"/>
                    </a:moveTo>
                    <a:cubicBezTo>
                      <a:pt x="240569" y="27688"/>
                      <a:pt x="266911" y="54030"/>
                      <a:pt x="266911" y="86525"/>
                    </a:cubicBezTo>
                    <a:cubicBezTo>
                      <a:pt x="266911" y="119020"/>
                      <a:pt x="240569" y="145362"/>
                      <a:pt x="208074" y="145362"/>
                    </a:cubicBezTo>
                    <a:cubicBezTo>
                      <a:pt x="175579" y="145362"/>
                      <a:pt x="149237" y="119020"/>
                      <a:pt x="149237" y="86525"/>
                    </a:cubicBezTo>
                    <a:cubicBezTo>
                      <a:pt x="149237" y="54030"/>
                      <a:pt x="175579" y="27688"/>
                      <a:pt x="208074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2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7" name="ï$ļiďê">
                <a:extLst>
                  <a:ext uri="{FF2B5EF4-FFF2-40B4-BE49-F238E27FC236}">
                    <a16:creationId xmlns:a16="http://schemas.microsoft.com/office/drawing/2014/main" id="{66ED61A9-CA20-48DC-BB6B-5972BFC9FAD4}"/>
                  </a:ext>
                </a:extLst>
              </p:cNvPr>
              <p:cNvSpPr/>
              <p:nvPr/>
            </p:nvSpPr>
            <p:spPr bwMode="auto">
              <a:xfrm>
                <a:off x="6079435" y="4079091"/>
                <a:ext cx="410656" cy="654123"/>
              </a:xfrm>
              <a:custGeom>
                <a:avLst/>
                <a:gdLst>
                  <a:gd name="connsiteX0" fmla="*/ 206920 w 410656"/>
                  <a:gd name="connsiteY0" fmla="*/ 27688 h 654123"/>
                  <a:gd name="connsiteX1" fmla="*/ 265757 w 410656"/>
                  <a:gd name="connsiteY1" fmla="*/ 86525 h 654123"/>
                  <a:gd name="connsiteX2" fmla="*/ 206920 w 410656"/>
                  <a:gd name="connsiteY2" fmla="*/ 145362 h 654123"/>
                  <a:gd name="connsiteX3" fmla="*/ 148083 w 410656"/>
                  <a:gd name="connsiteY3" fmla="*/ 86525 h 654123"/>
                  <a:gd name="connsiteX4" fmla="*/ 206920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6920" y="27688"/>
                    </a:moveTo>
                    <a:cubicBezTo>
                      <a:pt x="239415" y="27688"/>
                      <a:pt x="265757" y="54030"/>
                      <a:pt x="265757" y="86525"/>
                    </a:cubicBezTo>
                    <a:cubicBezTo>
                      <a:pt x="265757" y="119020"/>
                      <a:pt x="239415" y="145362"/>
                      <a:pt x="206920" y="145362"/>
                    </a:cubicBezTo>
                    <a:cubicBezTo>
                      <a:pt x="174425" y="145362"/>
                      <a:pt x="148083" y="119020"/>
                      <a:pt x="148083" y="86525"/>
                    </a:cubicBezTo>
                    <a:cubicBezTo>
                      <a:pt x="148083" y="54030"/>
                      <a:pt x="174425" y="27688"/>
                      <a:pt x="206920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3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8" name="i$lîdé">
                <a:extLst>
                  <a:ext uri="{FF2B5EF4-FFF2-40B4-BE49-F238E27FC236}">
                    <a16:creationId xmlns:a16="http://schemas.microsoft.com/office/drawing/2014/main" id="{EE8BF91F-4C79-4330-A2B4-2574DC8C3B29}"/>
                  </a:ext>
                </a:extLst>
              </p:cNvPr>
              <p:cNvSpPr/>
              <p:nvPr/>
            </p:nvSpPr>
            <p:spPr bwMode="auto">
              <a:xfrm>
                <a:off x="6455527" y="4079091"/>
                <a:ext cx="410656" cy="654123"/>
              </a:xfrm>
              <a:custGeom>
                <a:avLst/>
                <a:gdLst>
                  <a:gd name="connsiteX0" fmla="*/ 206920 w 410656"/>
                  <a:gd name="connsiteY0" fmla="*/ 27688 h 654123"/>
                  <a:gd name="connsiteX1" fmla="*/ 265757 w 410656"/>
                  <a:gd name="connsiteY1" fmla="*/ 86525 h 654123"/>
                  <a:gd name="connsiteX2" fmla="*/ 206920 w 410656"/>
                  <a:gd name="connsiteY2" fmla="*/ 145362 h 654123"/>
                  <a:gd name="connsiteX3" fmla="*/ 148083 w 410656"/>
                  <a:gd name="connsiteY3" fmla="*/ 86525 h 654123"/>
                  <a:gd name="connsiteX4" fmla="*/ 206920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6920" y="27688"/>
                    </a:moveTo>
                    <a:cubicBezTo>
                      <a:pt x="239415" y="27688"/>
                      <a:pt x="265757" y="54030"/>
                      <a:pt x="265757" y="86525"/>
                    </a:cubicBezTo>
                    <a:cubicBezTo>
                      <a:pt x="265757" y="119020"/>
                      <a:pt x="239415" y="145362"/>
                      <a:pt x="206920" y="145362"/>
                    </a:cubicBezTo>
                    <a:cubicBezTo>
                      <a:pt x="174425" y="145362"/>
                      <a:pt x="148083" y="119020"/>
                      <a:pt x="148083" y="86525"/>
                    </a:cubicBezTo>
                    <a:cubicBezTo>
                      <a:pt x="148083" y="54030"/>
                      <a:pt x="174425" y="27688"/>
                      <a:pt x="206920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3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9" name="ïṣľiḍè">
                <a:extLst>
                  <a:ext uri="{FF2B5EF4-FFF2-40B4-BE49-F238E27FC236}">
                    <a16:creationId xmlns:a16="http://schemas.microsoft.com/office/drawing/2014/main" id="{E76DA776-F2DF-46ED-88AD-5993C8A58AF3}"/>
                  </a:ext>
                </a:extLst>
              </p:cNvPr>
              <p:cNvSpPr/>
              <p:nvPr/>
            </p:nvSpPr>
            <p:spPr bwMode="auto">
              <a:xfrm>
                <a:off x="6831619" y="407909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7688 h 654123"/>
                  <a:gd name="connsiteX1" fmla="*/ 266911 w 410656"/>
                  <a:gd name="connsiteY1" fmla="*/ 86525 h 654123"/>
                  <a:gd name="connsiteX2" fmla="*/ 208074 w 410656"/>
                  <a:gd name="connsiteY2" fmla="*/ 145362 h 654123"/>
                  <a:gd name="connsiteX3" fmla="*/ 149237 w 410656"/>
                  <a:gd name="connsiteY3" fmla="*/ 86525 h 654123"/>
                  <a:gd name="connsiteX4" fmla="*/ 208074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7688"/>
                    </a:moveTo>
                    <a:cubicBezTo>
                      <a:pt x="240569" y="27688"/>
                      <a:pt x="266911" y="54030"/>
                      <a:pt x="266911" y="86525"/>
                    </a:cubicBezTo>
                    <a:cubicBezTo>
                      <a:pt x="266911" y="119020"/>
                      <a:pt x="240569" y="145362"/>
                      <a:pt x="208074" y="145362"/>
                    </a:cubicBezTo>
                    <a:cubicBezTo>
                      <a:pt x="175579" y="145362"/>
                      <a:pt x="149237" y="119020"/>
                      <a:pt x="149237" y="86525"/>
                    </a:cubicBezTo>
                    <a:cubicBezTo>
                      <a:pt x="149237" y="54030"/>
                      <a:pt x="175579" y="27688"/>
                      <a:pt x="208074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2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60" name="ïŝ1iḑé">
                <a:extLst>
                  <a:ext uri="{FF2B5EF4-FFF2-40B4-BE49-F238E27FC236}">
                    <a16:creationId xmlns:a16="http://schemas.microsoft.com/office/drawing/2014/main" id="{DC8BE2EE-B84B-4798-B26F-75F8CC4095B6}"/>
                  </a:ext>
                </a:extLst>
              </p:cNvPr>
              <p:cNvSpPr/>
              <p:nvPr/>
            </p:nvSpPr>
            <p:spPr bwMode="auto">
              <a:xfrm>
                <a:off x="7207711" y="407909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7688 h 654123"/>
                  <a:gd name="connsiteX1" fmla="*/ 266911 w 410656"/>
                  <a:gd name="connsiteY1" fmla="*/ 86525 h 654123"/>
                  <a:gd name="connsiteX2" fmla="*/ 208074 w 410656"/>
                  <a:gd name="connsiteY2" fmla="*/ 145362 h 654123"/>
                  <a:gd name="connsiteX3" fmla="*/ 149237 w 410656"/>
                  <a:gd name="connsiteY3" fmla="*/ 86525 h 654123"/>
                  <a:gd name="connsiteX4" fmla="*/ 208074 w 410656"/>
                  <a:gd name="connsiteY4" fmla="*/ 27688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2 h 654123"/>
                  <a:gd name="connsiteX9" fmla="*/ 271079 w 410656"/>
                  <a:gd name="connsiteY9" fmla="*/ 160002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7688"/>
                    </a:moveTo>
                    <a:cubicBezTo>
                      <a:pt x="240569" y="27688"/>
                      <a:pt x="266911" y="54030"/>
                      <a:pt x="266911" y="86525"/>
                    </a:cubicBezTo>
                    <a:cubicBezTo>
                      <a:pt x="266911" y="119020"/>
                      <a:pt x="240569" y="145362"/>
                      <a:pt x="208074" y="145362"/>
                    </a:cubicBezTo>
                    <a:cubicBezTo>
                      <a:pt x="175579" y="145362"/>
                      <a:pt x="149237" y="119020"/>
                      <a:pt x="149237" y="86525"/>
                    </a:cubicBezTo>
                    <a:cubicBezTo>
                      <a:pt x="149237" y="54030"/>
                      <a:pt x="175579" y="27688"/>
                      <a:pt x="208074" y="27688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2"/>
                    </a:cubicBezTo>
                    <a:cubicBezTo>
                      <a:pt x="139300" y="160002"/>
                      <a:pt x="139300" y="160002"/>
                      <a:pt x="271079" y="160002"/>
                    </a:cubicBezTo>
                    <a:cubicBezTo>
                      <a:pt x="271079" y="160002"/>
                      <a:pt x="271079" y="160002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300"/>
                      <a:pt x="261667" y="654123"/>
                      <a:pt x="242841" y="654123"/>
                    </a:cubicBezTo>
                    <a:cubicBezTo>
                      <a:pt x="228722" y="654123"/>
                      <a:pt x="209896" y="635300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300"/>
                      <a:pt x="186364" y="654123"/>
                      <a:pt x="167539" y="654123"/>
                    </a:cubicBezTo>
                    <a:cubicBezTo>
                      <a:pt x="148712" y="654123"/>
                      <a:pt x="134593" y="635300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</p:grpSp>
        <p:grpSp>
          <p:nvGrpSpPr>
            <p:cNvPr id="127" name="ïsļiḍé">
              <a:extLst>
                <a:ext uri="{FF2B5EF4-FFF2-40B4-BE49-F238E27FC236}">
                  <a16:creationId xmlns:a16="http://schemas.microsoft.com/office/drawing/2014/main" id="{7BE2BB36-2ECD-4DC3-BDA7-426AA98BE23E}"/>
                </a:ext>
              </a:extLst>
            </p:cNvPr>
            <p:cNvGrpSpPr/>
            <p:nvPr/>
          </p:nvGrpSpPr>
          <p:grpSpPr>
            <a:xfrm>
              <a:off x="5304505" y="2886800"/>
              <a:ext cx="1583264" cy="672462"/>
              <a:chOff x="5326098" y="2703931"/>
              <a:chExt cx="1540087" cy="654123"/>
            </a:xfrm>
            <a:solidFill>
              <a:schemeClr val="bg1">
                <a:lumMod val="95000"/>
              </a:schemeClr>
            </a:solidFill>
          </p:grpSpPr>
          <p:sp>
            <p:nvSpPr>
              <p:cNvPr id="149" name="íślîḍé">
                <a:extLst>
                  <a:ext uri="{FF2B5EF4-FFF2-40B4-BE49-F238E27FC236}">
                    <a16:creationId xmlns:a16="http://schemas.microsoft.com/office/drawing/2014/main" id="{45A7E113-844D-4837-A68B-DD65AE1302D0}"/>
                  </a:ext>
                </a:extLst>
              </p:cNvPr>
              <p:cNvSpPr/>
              <p:nvPr/>
            </p:nvSpPr>
            <p:spPr bwMode="auto">
              <a:xfrm>
                <a:off x="5326098" y="270393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8842 h 654123"/>
                  <a:gd name="connsiteX1" fmla="*/ 266911 w 410656"/>
                  <a:gd name="connsiteY1" fmla="*/ 87679 h 654123"/>
                  <a:gd name="connsiteX2" fmla="*/ 208074 w 410656"/>
                  <a:gd name="connsiteY2" fmla="*/ 146516 h 654123"/>
                  <a:gd name="connsiteX3" fmla="*/ 149237 w 410656"/>
                  <a:gd name="connsiteY3" fmla="*/ 87679 h 654123"/>
                  <a:gd name="connsiteX4" fmla="*/ 208074 w 410656"/>
                  <a:gd name="connsiteY4" fmla="*/ 28842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1 h 654123"/>
                  <a:gd name="connsiteX9" fmla="*/ 271079 w 410656"/>
                  <a:gd name="connsiteY9" fmla="*/ 160001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8842"/>
                    </a:moveTo>
                    <a:cubicBezTo>
                      <a:pt x="240569" y="28842"/>
                      <a:pt x="266911" y="55184"/>
                      <a:pt x="266911" y="87679"/>
                    </a:cubicBezTo>
                    <a:cubicBezTo>
                      <a:pt x="266911" y="120174"/>
                      <a:pt x="240569" y="146516"/>
                      <a:pt x="208074" y="146516"/>
                    </a:cubicBezTo>
                    <a:cubicBezTo>
                      <a:pt x="175579" y="146516"/>
                      <a:pt x="149237" y="120174"/>
                      <a:pt x="149237" y="87679"/>
                    </a:cubicBezTo>
                    <a:cubicBezTo>
                      <a:pt x="149237" y="55184"/>
                      <a:pt x="175579" y="28842"/>
                      <a:pt x="208074" y="28842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1"/>
                    </a:cubicBezTo>
                    <a:cubicBezTo>
                      <a:pt x="139300" y="160001"/>
                      <a:pt x="139300" y="160001"/>
                      <a:pt x="271079" y="160001"/>
                    </a:cubicBezTo>
                    <a:cubicBezTo>
                      <a:pt x="271079" y="160001"/>
                      <a:pt x="271079" y="160001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299"/>
                      <a:pt x="261667" y="654123"/>
                      <a:pt x="242841" y="654123"/>
                    </a:cubicBezTo>
                    <a:cubicBezTo>
                      <a:pt x="228722" y="654123"/>
                      <a:pt x="209896" y="635299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299"/>
                      <a:pt x="186364" y="654123"/>
                      <a:pt x="167539" y="654123"/>
                    </a:cubicBezTo>
                    <a:cubicBezTo>
                      <a:pt x="148712" y="654123"/>
                      <a:pt x="134593" y="635299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0" name="íṧḻîdé">
                <a:extLst>
                  <a:ext uri="{FF2B5EF4-FFF2-40B4-BE49-F238E27FC236}">
                    <a16:creationId xmlns:a16="http://schemas.microsoft.com/office/drawing/2014/main" id="{7E889E93-22A7-49A0-8A34-697087CC79D1}"/>
                  </a:ext>
                </a:extLst>
              </p:cNvPr>
              <p:cNvSpPr/>
              <p:nvPr/>
            </p:nvSpPr>
            <p:spPr bwMode="auto">
              <a:xfrm>
                <a:off x="5702190" y="2703931"/>
                <a:ext cx="410656" cy="654123"/>
              </a:xfrm>
              <a:custGeom>
                <a:avLst/>
                <a:gdLst>
                  <a:gd name="connsiteX0" fmla="*/ 208074 w 410656"/>
                  <a:gd name="connsiteY0" fmla="*/ 28842 h 654123"/>
                  <a:gd name="connsiteX1" fmla="*/ 266911 w 410656"/>
                  <a:gd name="connsiteY1" fmla="*/ 87679 h 654123"/>
                  <a:gd name="connsiteX2" fmla="*/ 208074 w 410656"/>
                  <a:gd name="connsiteY2" fmla="*/ 146516 h 654123"/>
                  <a:gd name="connsiteX3" fmla="*/ 149237 w 410656"/>
                  <a:gd name="connsiteY3" fmla="*/ 87679 h 654123"/>
                  <a:gd name="connsiteX4" fmla="*/ 208074 w 410656"/>
                  <a:gd name="connsiteY4" fmla="*/ 28842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1 h 654123"/>
                  <a:gd name="connsiteX9" fmla="*/ 271079 w 410656"/>
                  <a:gd name="connsiteY9" fmla="*/ 160001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8074" y="28842"/>
                    </a:moveTo>
                    <a:cubicBezTo>
                      <a:pt x="240569" y="28842"/>
                      <a:pt x="266911" y="55184"/>
                      <a:pt x="266911" y="87679"/>
                    </a:cubicBezTo>
                    <a:cubicBezTo>
                      <a:pt x="266911" y="120174"/>
                      <a:pt x="240569" y="146516"/>
                      <a:pt x="208074" y="146516"/>
                    </a:cubicBezTo>
                    <a:cubicBezTo>
                      <a:pt x="175579" y="146516"/>
                      <a:pt x="149237" y="120174"/>
                      <a:pt x="149237" y="87679"/>
                    </a:cubicBezTo>
                    <a:cubicBezTo>
                      <a:pt x="149237" y="55184"/>
                      <a:pt x="175579" y="28842"/>
                      <a:pt x="208074" y="28842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1"/>
                    </a:cubicBezTo>
                    <a:cubicBezTo>
                      <a:pt x="139300" y="160001"/>
                      <a:pt x="139300" y="160001"/>
                      <a:pt x="271079" y="160001"/>
                    </a:cubicBezTo>
                    <a:cubicBezTo>
                      <a:pt x="271079" y="160001"/>
                      <a:pt x="271079" y="160001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299"/>
                      <a:pt x="261667" y="654123"/>
                      <a:pt x="242841" y="654123"/>
                    </a:cubicBezTo>
                    <a:cubicBezTo>
                      <a:pt x="228722" y="654123"/>
                      <a:pt x="209896" y="635299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299"/>
                      <a:pt x="186364" y="654123"/>
                      <a:pt x="167539" y="654123"/>
                    </a:cubicBezTo>
                    <a:cubicBezTo>
                      <a:pt x="148712" y="654123"/>
                      <a:pt x="134593" y="635299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1" name="íşľiḑe">
                <a:extLst>
                  <a:ext uri="{FF2B5EF4-FFF2-40B4-BE49-F238E27FC236}">
                    <a16:creationId xmlns:a16="http://schemas.microsoft.com/office/drawing/2014/main" id="{E9536278-E367-4071-8EF8-B4F4610FFBEE}"/>
                  </a:ext>
                </a:extLst>
              </p:cNvPr>
              <p:cNvSpPr/>
              <p:nvPr/>
            </p:nvSpPr>
            <p:spPr bwMode="auto">
              <a:xfrm>
                <a:off x="6079436" y="2703931"/>
                <a:ext cx="410656" cy="654123"/>
              </a:xfrm>
              <a:custGeom>
                <a:avLst/>
                <a:gdLst>
                  <a:gd name="connsiteX0" fmla="*/ 206920 w 410656"/>
                  <a:gd name="connsiteY0" fmla="*/ 28842 h 654123"/>
                  <a:gd name="connsiteX1" fmla="*/ 265757 w 410656"/>
                  <a:gd name="connsiteY1" fmla="*/ 87679 h 654123"/>
                  <a:gd name="connsiteX2" fmla="*/ 206920 w 410656"/>
                  <a:gd name="connsiteY2" fmla="*/ 146516 h 654123"/>
                  <a:gd name="connsiteX3" fmla="*/ 148083 w 410656"/>
                  <a:gd name="connsiteY3" fmla="*/ 87679 h 654123"/>
                  <a:gd name="connsiteX4" fmla="*/ 206920 w 410656"/>
                  <a:gd name="connsiteY4" fmla="*/ 28842 h 654123"/>
                  <a:gd name="connsiteX5" fmla="*/ 12227 w 410656"/>
                  <a:gd name="connsiteY5" fmla="*/ 0 h 654123"/>
                  <a:gd name="connsiteX6" fmla="*/ 21640 w 410656"/>
                  <a:gd name="connsiteY6" fmla="*/ 0 h 654123"/>
                  <a:gd name="connsiteX7" fmla="*/ 40465 w 410656"/>
                  <a:gd name="connsiteY7" fmla="*/ 9412 h 654123"/>
                  <a:gd name="connsiteX8" fmla="*/ 139300 w 410656"/>
                  <a:gd name="connsiteY8" fmla="*/ 160001 h 654123"/>
                  <a:gd name="connsiteX9" fmla="*/ 271079 w 410656"/>
                  <a:gd name="connsiteY9" fmla="*/ 160001 h 654123"/>
                  <a:gd name="connsiteX10" fmla="*/ 374620 w 410656"/>
                  <a:gd name="connsiteY10" fmla="*/ 9412 h 654123"/>
                  <a:gd name="connsiteX11" fmla="*/ 388739 w 410656"/>
                  <a:gd name="connsiteY11" fmla="*/ 0 h 654123"/>
                  <a:gd name="connsiteX12" fmla="*/ 402858 w 410656"/>
                  <a:gd name="connsiteY12" fmla="*/ 0 h 654123"/>
                  <a:gd name="connsiteX13" fmla="*/ 407565 w 410656"/>
                  <a:gd name="connsiteY13" fmla="*/ 32942 h 654123"/>
                  <a:gd name="connsiteX14" fmla="*/ 299318 w 410656"/>
                  <a:gd name="connsiteY14" fmla="*/ 192943 h 654123"/>
                  <a:gd name="connsiteX15" fmla="*/ 285198 w 410656"/>
                  <a:gd name="connsiteY15" fmla="*/ 202355 h 654123"/>
                  <a:gd name="connsiteX16" fmla="*/ 275786 w 410656"/>
                  <a:gd name="connsiteY16" fmla="*/ 202355 h 654123"/>
                  <a:gd name="connsiteX17" fmla="*/ 275786 w 410656"/>
                  <a:gd name="connsiteY17" fmla="*/ 621182 h 654123"/>
                  <a:gd name="connsiteX18" fmla="*/ 242841 w 410656"/>
                  <a:gd name="connsiteY18" fmla="*/ 654123 h 654123"/>
                  <a:gd name="connsiteX19" fmla="*/ 209896 w 410656"/>
                  <a:gd name="connsiteY19" fmla="*/ 621182 h 654123"/>
                  <a:gd name="connsiteX20" fmla="*/ 209896 w 410656"/>
                  <a:gd name="connsiteY20" fmla="*/ 381180 h 654123"/>
                  <a:gd name="connsiteX21" fmla="*/ 200483 w 410656"/>
                  <a:gd name="connsiteY21" fmla="*/ 381180 h 654123"/>
                  <a:gd name="connsiteX22" fmla="*/ 200483 w 410656"/>
                  <a:gd name="connsiteY22" fmla="*/ 621182 h 654123"/>
                  <a:gd name="connsiteX23" fmla="*/ 167539 w 410656"/>
                  <a:gd name="connsiteY23" fmla="*/ 654123 h 654123"/>
                  <a:gd name="connsiteX24" fmla="*/ 134593 w 410656"/>
                  <a:gd name="connsiteY24" fmla="*/ 621182 h 654123"/>
                  <a:gd name="connsiteX25" fmla="*/ 134593 w 410656"/>
                  <a:gd name="connsiteY25" fmla="*/ 202355 h 654123"/>
                  <a:gd name="connsiteX26" fmla="*/ 129887 w 410656"/>
                  <a:gd name="connsiteY26" fmla="*/ 202355 h 654123"/>
                  <a:gd name="connsiteX27" fmla="*/ 111061 w 410656"/>
                  <a:gd name="connsiteY27" fmla="*/ 192943 h 654123"/>
                  <a:gd name="connsiteX28" fmla="*/ 2814 w 410656"/>
                  <a:gd name="connsiteY28" fmla="*/ 32942 h 654123"/>
                  <a:gd name="connsiteX29" fmla="*/ 12227 w 410656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6" h="654123">
                    <a:moveTo>
                      <a:pt x="206920" y="28842"/>
                    </a:moveTo>
                    <a:cubicBezTo>
                      <a:pt x="239415" y="28842"/>
                      <a:pt x="265757" y="55184"/>
                      <a:pt x="265757" y="87679"/>
                    </a:cubicBezTo>
                    <a:cubicBezTo>
                      <a:pt x="265757" y="120174"/>
                      <a:pt x="239415" y="146516"/>
                      <a:pt x="206920" y="146516"/>
                    </a:cubicBezTo>
                    <a:cubicBezTo>
                      <a:pt x="174425" y="146516"/>
                      <a:pt x="148083" y="120174"/>
                      <a:pt x="148083" y="87679"/>
                    </a:cubicBezTo>
                    <a:cubicBezTo>
                      <a:pt x="148083" y="55184"/>
                      <a:pt x="174425" y="28842"/>
                      <a:pt x="206920" y="28842"/>
                    </a:cubicBezTo>
                    <a:close/>
                    <a:moveTo>
                      <a:pt x="12227" y="0"/>
                    </a:moveTo>
                    <a:cubicBezTo>
                      <a:pt x="12227" y="0"/>
                      <a:pt x="16933" y="0"/>
                      <a:pt x="21640" y="0"/>
                    </a:cubicBezTo>
                    <a:cubicBezTo>
                      <a:pt x="26346" y="0"/>
                      <a:pt x="35759" y="0"/>
                      <a:pt x="40465" y="9412"/>
                    </a:cubicBezTo>
                    <a:cubicBezTo>
                      <a:pt x="40465" y="9412"/>
                      <a:pt x="40465" y="9412"/>
                      <a:pt x="139300" y="160001"/>
                    </a:cubicBezTo>
                    <a:cubicBezTo>
                      <a:pt x="139300" y="160001"/>
                      <a:pt x="139300" y="160001"/>
                      <a:pt x="271079" y="160001"/>
                    </a:cubicBezTo>
                    <a:cubicBezTo>
                      <a:pt x="271079" y="160001"/>
                      <a:pt x="271079" y="160001"/>
                      <a:pt x="374620" y="9412"/>
                    </a:cubicBezTo>
                    <a:cubicBezTo>
                      <a:pt x="374620" y="0"/>
                      <a:pt x="384033" y="0"/>
                      <a:pt x="388739" y="0"/>
                    </a:cubicBezTo>
                    <a:cubicBezTo>
                      <a:pt x="393446" y="0"/>
                      <a:pt x="398152" y="0"/>
                      <a:pt x="402858" y="0"/>
                    </a:cubicBezTo>
                    <a:cubicBezTo>
                      <a:pt x="412271" y="9412"/>
                      <a:pt x="412271" y="23529"/>
                      <a:pt x="407565" y="32942"/>
                    </a:cubicBezTo>
                    <a:cubicBezTo>
                      <a:pt x="407565" y="32942"/>
                      <a:pt x="407565" y="32942"/>
                      <a:pt x="299318" y="192943"/>
                    </a:cubicBezTo>
                    <a:cubicBezTo>
                      <a:pt x="294611" y="197649"/>
                      <a:pt x="289905" y="202355"/>
                      <a:pt x="285198" y="202355"/>
                    </a:cubicBezTo>
                    <a:cubicBezTo>
                      <a:pt x="285198" y="202355"/>
                      <a:pt x="285198" y="202355"/>
                      <a:pt x="275786" y="202355"/>
                    </a:cubicBezTo>
                    <a:cubicBezTo>
                      <a:pt x="275786" y="202355"/>
                      <a:pt x="275786" y="202355"/>
                      <a:pt x="275786" y="621182"/>
                    </a:cubicBezTo>
                    <a:cubicBezTo>
                      <a:pt x="275786" y="635299"/>
                      <a:pt x="261667" y="654123"/>
                      <a:pt x="242841" y="654123"/>
                    </a:cubicBezTo>
                    <a:cubicBezTo>
                      <a:pt x="228722" y="654123"/>
                      <a:pt x="209896" y="635299"/>
                      <a:pt x="209896" y="621182"/>
                    </a:cubicBezTo>
                    <a:cubicBezTo>
                      <a:pt x="209896" y="621182"/>
                      <a:pt x="209896" y="621182"/>
                      <a:pt x="209896" y="381180"/>
                    </a:cubicBezTo>
                    <a:cubicBezTo>
                      <a:pt x="209896" y="381180"/>
                      <a:pt x="209896" y="381180"/>
                      <a:pt x="200483" y="381180"/>
                    </a:cubicBezTo>
                    <a:cubicBezTo>
                      <a:pt x="200483" y="381180"/>
                      <a:pt x="200483" y="381180"/>
                      <a:pt x="200483" y="621182"/>
                    </a:cubicBezTo>
                    <a:cubicBezTo>
                      <a:pt x="200483" y="635299"/>
                      <a:pt x="186364" y="654123"/>
                      <a:pt x="167539" y="654123"/>
                    </a:cubicBezTo>
                    <a:cubicBezTo>
                      <a:pt x="148713" y="654123"/>
                      <a:pt x="134593" y="635299"/>
                      <a:pt x="134593" y="621182"/>
                    </a:cubicBezTo>
                    <a:cubicBezTo>
                      <a:pt x="134593" y="621182"/>
                      <a:pt x="134593" y="621182"/>
                      <a:pt x="134593" y="202355"/>
                    </a:cubicBezTo>
                    <a:cubicBezTo>
                      <a:pt x="134593" y="202355"/>
                      <a:pt x="134593" y="202355"/>
                      <a:pt x="129887" y="202355"/>
                    </a:cubicBezTo>
                    <a:cubicBezTo>
                      <a:pt x="120474" y="202355"/>
                      <a:pt x="115768" y="197649"/>
                      <a:pt x="111061" y="192943"/>
                    </a:cubicBezTo>
                    <a:cubicBezTo>
                      <a:pt x="111061" y="192943"/>
                      <a:pt x="111061" y="192943"/>
                      <a:pt x="2814" y="32942"/>
                    </a:cubicBezTo>
                    <a:cubicBezTo>
                      <a:pt x="-1892" y="23529"/>
                      <a:pt x="-1892" y="9412"/>
                      <a:pt x="122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52" name="íṩ1ïḓe">
                <a:extLst>
                  <a:ext uri="{FF2B5EF4-FFF2-40B4-BE49-F238E27FC236}">
                    <a16:creationId xmlns:a16="http://schemas.microsoft.com/office/drawing/2014/main" id="{DA9FDBD5-DED9-4E99-944F-A2212B882B71}"/>
                  </a:ext>
                </a:extLst>
              </p:cNvPr>
              <p:cNvSpPr/>
              <p:nvPr/>
            </p:nvSpPr>
            <p:spPr bwMode="auto">
              <a:xfrm>
                <a:off x="6455528" y="2703931"/>
                <a:ext cx="410657" cy="654123"/>
              </a:xfrm>
              <a:custGeom>
                <a:avLst/>
                <a:gdLst>
                  <a:gd name="connsiteX0" fmla="*/ 206921 w 410657"/>
                  <a:gd name="connsiteY0" fmla="*/ 28842 h 654123"/>
                  <a:gd name="connsiteX1" fmla="*/ 265758 w 410657"/>
                  <a:gd name="connsiteY1" fmla="*/ 87679 h 654123"/>
                  <a:gd name="connsiteX2" fmla="*/ 206921 w 410657"/>
                  <a:gd name="connsiteY2" fmla="*/ 146516 h 654123"/>
                  <a:gd name="connsiteX3" fmla="*/ 148084 w 410657"/>
                  <a:gd name="connsiteY3" fmla="*/ 87679 h 654123"/>
                  <a:gd name="connsiteX4" fmla="*/ 206921 w 410657"/>
                  <a:gd name="connsiteY4" fmla="*/ 28842 h 654123"/>
                  <a:gd name="connsiteX5" fmla="*/ 12228 w 410657"/>
                  <a:gd name="connsiteY5" fmla="*/ 0 h 654123"/>
                  <a:gd name="connsiteX6" fmla="*/ 21641 w 410657"/>
                  <a:gd name="connsiteY6" fmla="*/ 0 h 654123"/>
                  <a:gd name="connsiteX7" fmla="*/ 40467 w 410657"/>
                  <a:gd name="connsiteY7" fmla="*/ 9412 h 654123"/>
                  <a:gd name="connsiteX8" fmla="*/ 139301 w 410657"/>
                  <a:gd name="connsiteY8" fmla="*/ 160001 h 654123"/>
                  <a:gd name="connsiteX9" fmla="*/ 271080 w 410657"/>
                  <a:gd name="connsiteY9" fmla="*/ 160001 h 654123"/>
                  <a:gd name="connsiteX10" fmla="*/ 374621 w 410657"/>
                  <a:gd name="connsiteY10" fmla="*/ 9412 h 654123"/>
                  <a:gd name="connsiteX11" fmla="*/ 388740 w 410657"/>
                  <a:gd name="connsiteY11" fmla="*/ 0 h 654123"/>
                  <a:gd name="connsiteX12" fmla="*/ 402859 w 410657"/>
                  <a:gd name="connsiteY12" fmla="*/ 0 h 654123"/>
                  <a:gd name="connsiteX13" fmla="*/ 407566 w 410657"/>
                  <a:gd name="connsiteY13" fmla="*/ 32942 h 654123"/>
                  <a:gd name="connsiteX14" fmla="*/ 299319 w 410657"/>
                  <a:gd name="connsiteY14" fmla="*/ 192943 h 654123"/>
                  <a:gd name="connsiteX15" fmla="*/ 285199 w 410657"/>
                  <a:gd name="connsiteY15" fmla="*/ 202355 h 654123"/>
                  <a:gd name="connsiteX16" fmla="*/ 275787 w 410657"/>
                  <a:gd name="connsiteY16" fmla="*/ 202355 h 654123"/>
                  <a:gd name="connsiteX17" fmla="*/ 275787 w 410657"/>
                  <a:gd name="connsiteY17" fmla="*/ 621182 h 654123"/>
                  <a:gd name="connsiteX18" fmla="*/ 242842 w 410657"/>
                  <a:gd name="connsiteY18" fmla="*/ 654123 h 654123"/>
                  <a:gd name="connsiteX19" fmla="*/ 209897 w 410657"/>
                  <a:gd name="connsiteY19" fmla="*/ 621182 h 654123"/>
                  <a:gd name="connsiteX20" fmla="*/ 209897 w 410657"/>
                  <a:gd name="connsiteY20" fmla="*/ 381180 h 654123"/>
                  <a:gd name="connsiteX21" fmla="*/ 200484 w 410657"/>
                  <a:gd name="connsiteY21" fmla="*/ 381180 h 654123"/>
                  <a:gd name="connsiteX22" fmla="*/ 200484 w 410657"/>
                  <a:gd name="connsiteY22" fmla="*/ 621182 h 654123"/>
                  <a:gd name="connsiteX23" fmla="*/ 167540 w 410657"/>
                  <a:gd name="connsiteY23" fmla="*/ 654123 h 654123"/>
                  <a:gd name="connsiteX24" fmla="*/ 134595 w 410657"/>
                  <a:gd name="connsiteY24" fmla="*/ 621182 h 654123"/>
                  <a:gd name="connsiteX25" fmla="*/ 134595 w 410657"/>
                  <a:gd name="connsiteY25" fmla="*/ 202355 h 654123"/>
                  <a:gd name="connsiteX26" fmla="*/ 129888 w 410657"/>
                  <a:gd name="connsiteY26" fmla="*/ 202355 h 654123"/>
                  <a:gd name="connsiteX27" fmla="*/ 111063 w 410657"/>
                  <a:gd name="connsiteY27" fmla="*/ 192943 h 654123"/>
                  <a:gd name="connsiteX28" fmla="*/ 2816 w 410657"/>
                  <a:gd name="connsiteY28" fmla="*/ 32942 h 654123"/>
                  <a:gd name="connsiteX29" fmla="*/ 12228 w 410657"/>
                  <a:gd name="connsiteY29" fmla="*/ 0 h 65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10657" h="654123">
                    <a:moveTo>
                      <a:pt x="206921" y="28842"/>
                    </a:moveTo>
                    <a:cubicBezTo>
                      <a:pt x="239416" y="28842"/>
                      <a:pt x="265758" y="55184"/>
                      <a:pt x="265758" y="87679"/>
                    </a:cubicBezTo>
                    <a:cubicBezTo>
                      <a:pt x="265758" y="120174"/>
                      <a:pt x="239416" y="146516"/>
                      <a:pt x="206921" y="146516"/>
                    </a:cubicBezTo>
                    <a:cubicBezTo>
                      <a:pt x="174426" y="146516"/>
                      <a:pt x="148084" y="120174"/>
                      <a:pt x="148084" y="87679"/>
                    </a:cubicBezTo>
                    <a:cubicBezTo>
                      <a:pt x="148084" y="55184"/>
                      <a:pt x="174426" y="28842"/>
                      <a:pt x="206921" y="28842"/>
                    </a:cubicBezTo>
                    <a:close/>
                    <a:moveTo>
                      <a:pt x="12228" y="0"/>
                    </a:moveTo>
                    <a:cubicBezTo>
                      <a:pt x="12228" y="0"/>
                      <a:pt x="16935" y="0"/>
                      <a:pt x="21641" y="0"/>
                    </a:cubicBezTo>
                    <a:cubicBezTo>
                      <a:pt x="26348" y="0"/>
                      <a:pt x="35760" y="0"/>
                      <a:pt x="40467" y="9412"/>
                    </a:cubicBezTo>
                    <a:cubicBezTo>
                      <a:pt x="40467" y="9412"/>
                      <a:pt x="40467" y="9412"/>
                      <a:pt x="139301" y="160001"/>
                    </a:cubicBezTo>
                    <a:cubicBezTo>
                      <a:pt x="139301" y="160001"/>
                      <a:pt x="139301" y="160001"/>
                      <a:pt x="271080" y="160001"/>
                    </a:cubicBezTo>
                    <a:cubicBezTo>
                      <a:pt x="271080" y="160001"/>
                      <a:pt x="271080" y="160001"/>
                      <a:pt x="374621" y="9412"/>
                    </a:cubicBezTo>
                    <a:cubicBezTo>
                      <a:pt x="374621" y="0"/>
                      <a:pt x="384034" y="0"/>
                      <a:pt x="388740" y="0"/>
                    </a:cubicBezTo>
                    <a:cubicBezTo>
                      <a:pt x="393447" y="0"/>
                      <a:pt x="398153" y="0"/>
                      <a:pt x="402859" y="0"/>
                    </a:cubicBezTo>
                    <a:cubicBezTo>
                      <a:pt x="412272" y="9412"/>
                      <a:pt x="412272" y="23530"/>
                      <a:pt x="407566" y="32942"/>
                    </a:cubicBezTo>
                    <a:cubicBezTo>
                      <a:pt x="407566" y="32942"/>
                      <a:pt x="407566" y="32942"/>
                      <a:pt x="299319" y="192943"/>
                    </a:cubicBezTo>
                    <a:cubicBezTo>
                      <a:pt x="294612" y="197649"/>
                      <a:pt x="289906" y="202355"/>
                      <a:pt x="285199" y="202355"/>
                    </a:cubicBezTo>
                    <a:cubicBezTo>
                      <a:pt x="285199" y="202355"/>
                      <a:pt x="285199" y="202355"/>
                      <a:pt x="275787" y="202355"/>
                    </a:cubicBezTo>
                    <a:cubicBezTo>
                      <a:pt x="275787" y="202355"/>
                      <a:pt x="275787" y="202355"/>
                      <a:pt x="275787" y="621182"/>
                    </a:cubicBezTo>
                    <a:cubicBezTo>
                      <a:pt x="275787" y="635299"/>
                      <a:pt x="261668" y="654123"/>
                      <a:pt x="242842" y="654123"/>
                    </a:cubicBezTo>
                    <a:cubicBezTo>
                      <a:pt x="228723" y="654123"/>
                      <a:pt x="209897" y="635299"/>
                      <a:pt x="209897" y="621182"/>
                    </a:cubicBezTo>
                    <a:cubicBezTo>
                      <a:pt x="209897" y="621182"/>
                      <a:pt x="209897" y="621182"/>
                      <a:pt x="209897" y="381180"/>
                    </a:cubicBezTo>
                    <a:cubicBezTo>
                      <a:pt x="209897" y="381180"/>
                      <a:pt x="209897" y="381180"/>
                      <a:pt x="200484" y="381180"/>
                    </a:cubicBezTo>
                    <a:cubicBezTo>
                      <a:pt x="200484" y="381180"/>
                      <a:pt x="200484" y="381180"/>
                      <a:pt x="200484" y="621182"/>
                    </a:cubicBezTo>
                    <a:cubicBezTo>
                      <a:pt x="200484" y="635299"/>
                      <a:pt x="186365" y="654123"/>
                      <a:pt x="167540" y="654123"/>
                    </a:cubicBezTo>
                    <a:cubicBezTo>
                      <a:pt x="148714" y="654123"/>
                      <a:pt x="134595" y="635299"/>
                      <a:pt x="134595" y="621182"/>
                    </a:cubicBezTo>
                    <a:cubicBezTo>
                      <a:pt x="134595" y="621182"/>
                      <a:pt x="134595" y="621182"/>
                      <a:pt x="134595" y="202355"/>
                    </a:cubicBezTo>
                    <a:cubicBezTo>
                      <a:pt x="134595" y="202355"/>
                      <a:pt x="134595" y="202355"/>
                      <a:pt x="129888" y="202355"/>
                    </a:cubicBezTo>
                    <a:cubicBezTo>
                      <a:pt x="120476" y="202355"/>
                      <a:pt x="115769" y="197649"/>
                      <a:pt x="111063" y="192943"/>
                    </a:cubicBezTo>
                    <a:cubicBezTo>
                      <a:pt x="111063" y="192943"/>
                      <a:pt x="111063" y="192943"/>
                      <a:pt x="2816" y="32942"/>
                    </a:cubicBezTo>
                    <a:cubicBezTo>
                      <a:pt x="-1891" y="23530"/>
                      <a:pt x="-1891" y="9412"/>
                      <a:pt x="122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350"/>
              </a:p>
            </p:txBody>
          </p:sp>
        </p:grpSp>
        <p:grpSp>
          <p:nvGrpSpPr>
            <p:cNvPr id="128" name="îŝḷïdé">
              <a:extLst>
                <a:ext uri="{FF2B5EF4-FFF2-40B4-BE49-F238E27FC236}">
                  <a16:creationId xmlns:a16="http://schemas.microsoft.com/office/drawing/2014/main" id="{78E99596-E692-4B93-985C-172395D06FB0}"/>
                </a:ext>
              </a:extLst>
            </p:cNvPr>
            <p:cNvGrpSpPr/>
            <p:nvPr/>
          </p:nvGrpSpPr>
          <p:grpSpPr>
            <a:xfrm>
              <a:off x="6399146" y="2084259"/>
              <a:ext cx="382654" cy="382654"/>
              <a:chOff x="8397597" y="1190861"/>
              <a:chExt cx="594604" cy="594604"/>
            </a:xfrm>
          </p:grpSpPr>
          <p:sp>
            <p:nvSpPr>
              <p:cNvPr id="147" name="isḷîḋê">
                <a:extLst>
                  <a:ext uri="{FF2B5EF4-FFF2-40B4-BE49-F238E27FC236}">
                    <a16:creationId xmlns:a16="http://schemas.microsoft.com/office/drawing/2014/main" id="{B9D930C2-CC9E-4383-BF42-DE4B5227BEDA}"/>
                  </a:ext>
                </a:extLst>
              </p:cNvPr>
              <p:cNvSpPr/>
              <p:nvPr/>
            </p:nvSpPr>
            <p:spPr>
              <a:xfrm>
                <a:off x="8397597" y="1190861"/>
                <a:ext cx="594604" cy="594604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íślïḑé">
                <a:extLst>
                  <a:ext uri="{FF2B5EF4-FFF2-40B4-BE49-F238E27FC236}">
                    <a16:creationId xmlns:a16="http://schemas.microsoft.com/office/drawing/2014/main" id="{D0B5E7EC-417D-42FE-97F2-33B8A7E802C0}"/>
                  </a:ext>
                </a:extLst>
              </p:cNvPr>
              <p:cNvSpPr/>
              <p:nvPr/>
            </p:nvSpPr>
            <p:spPr>
              <a:xfrm>
                <a:off x="8560682" y="1381288"/>
                <a:ext cx="268432" cy="213751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9" name="íśļíḓé">
              <a:extLst>
                <a:ext uri="{FF2B5EF4-FFF2-40B4-BE49-F238E27FC236}">
                  <a16:creationId xmlns:a16="http://schemas.microsoft.com/office/drawing/2014/main" id="{779CBE34-5835-4EED-85C7-9ECA7C43D5AF}"/>
                </a:ext>
              </a:extLst>
            </p:cNvPr>
            <p:cNvGrpSpPr/>
            <p:nvPr/>
          </p:nvGrpSpPr>
          <p:grpSpPr>
            <a:xfrm>
              <a:off x="7258636" y="3685405"/>
              <a:ext cx="382654" cy="382654"/>
              <a:chOff x="8397597" y="1190861"/>
              <a:chExt cx="594604" cy="594604"/>
            </a:xfrm>
          </p:grpSpPr>
          <p:sp>
            <p:nvSpPr>
              <p:cNvPr id="145" name="išļîḓê">
                <a:extLst>
                  <a:ext uri="{FF2B5EF4-FFF2-40B4-BE49-F238E27FC236}">
                    <a16:creationId xmlns:a16="http://schemas.microsoft.com/office/drawing/2014/main" id="{1F36A0DD-7043-4BFE-8FB8-5BD9BA29D6FA}"/>
                  </a:ext>
                </a:extLst>
              </p:cNvPr>
              <p:cNvSpPr/>
              <p:nvPr/>
            </p:nvSpPr>
            <p:spPr>
              <a:xfrm>
                <a:off x="8397597" y="1190861"/>
                <a:ext cx="594604" cy="59460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6" name="íṡļidé">
                <a:extLst>
                  <a:ext uri="{FF2B5EF4-FFF2-40B4-BE49-F238E27FC236}">
                    <a16:creationId xmlns:a16="http://schemas.microsoft.com/office/drawing/2014/main" id="{F0C97A63-CE4C-4AA9-946A-1175215742F2}"/>
                  </a:ext>
                </a:extLst>
              </p:cNvPr>
              <p:cNvSpPr/>
              <p:nvPr/>
            </p:nvSpPr>
            <p:spPr>
              <a:xfrm>
                <a:off x="8560682" y="1376427"/>
                <a:ext cx="268432" cy="223473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ïṥḷiḑê">
              <a:extLst>
                <a:ext uri="{FF2B5EF4-FFF2-40B4-BE49-F238E27FC236}">
                  <a16:creationId xmlns:a16="http://schemas.microsoft.com/office/drawing/2014/main" id="{1B9B1247-5F7E-4002-8EF6-9A619B45062C}"/>
                </a:ext>
              </a:extLst>
            </p:cNvPr>
            <p:cNvGrpSpPr/>
            <p:nvPr/>
          </p:nvGrpSpPr>
          <p:grpSpPr>
            <a:xfrm>
              <a:off x="7925386" y="5026344"/>
              <a:ext cx="382654" cy="382654"/>
              <a:chOff x="8397597" y="1190861"/>
              <a:chExt cx="594604" cy="594604"/>
            </a:xfrm>
          </p:grpSpPr>
          <p:sp>
            <p:nvSpPr>
              <p:cNvPr id="143" name="ïŝḷîḓè">
                <a:extLst>
                  <a:ext uri="{FF2B5EF4-FFF2-40B4-BE49-F238E27FC236}">
                    <a16:creationId xmlns:a16="http://schemas.microsoft.com/office/drawing/2014/main" id="{F7DF3CD0-6553-4404-A22C-C5160363A043}"/>
                  </a:ext>
                </a:extLst>
              </p:cNvPr>
              <p:cNvSpPr/>
              <p:nvPr/>
            </p:nvSpPr>
            <p:spPr>
              <a:xfrm>
                <a:off x="8397597" y="1190861"/>
                <a:ext cx="594604" cy="59460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ïṥḷíḑè">
                <a:extLst>
                  <a:ext uri="{FF2B5EF4-FFF2-40B4-BE49-F238E27FC236}">
                    <a16:creationId xmlns:a16="http://schemas.microsoft.com/office/drawing/2014/main" id="{90FCE489-07A0-4815-9709-D7285852DD78}"/>
                  </a:ext>
                </a:extLst>
              </p:cNvPr>
              <p:cNvSpPr/>
              <p:nvPr/>
            </p:nvSpPr>
            <p:spPr>
              <a:xfrm>
                <a:off x="8560682" y="1365931"/>
                <a:ext cx="268432" cy="244464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1" name="íśḻiḓe">
              <a:extLst>
                <a:ext uri="{FF2B5EF4-FFF2-40B4-BE49-F238E27FC236}">
                  <a16:creationId xmlns:a16="http://schemas.microsoft.com/office/drawing/2014/main" id="{4026E0D9-1EF0-444A-BADF-33B9889C2F96}"/>
                </a:ext>
              </a:extLst>
            </p:cNvPr>
            <p:cNvSpPr txBox="1"/>
            <p:nvPr/>
          </p:nvSpPr>
          <p:spPr>
            <a:xfrm>
              <a:off x="6887775" y="1788122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 dirty="0"/>
                <a:t>Text here</a:t>
              </a:r>
              <a:endParaRPr lang="id-ID" sz="1600" b="1" dirty="0"/>
            </a:p>
          </p:txBody>
        </p:sp>
        <p:sp>
          <p:nvSpPr>
            <p:cNvPr id="132" name="iṣľïḋê">
              <a:extLst>
                <a:ext uri="{FF2B5EF4-FFF2-40B4-BE49-F238E27FC236}">
                  <a16:creationId xmlns:a16="http://schemas.microsoft.com/office/drawing/2014/main" id="{0F1B117A-64C1-4DC7-837F-6D18662FB377}"/>
                </a:ext>
              </a:extLst>
            </p:cNvPr>
            <p:cNvSpPr/>
            <p:nvPr/>
          </p:nvSpPr>
          <p:spPr bwMode="auto">
            <a:xfrm>
              <a:off x="6887775" y="2162517"/>
              <a:ext cx="2455114" cy="608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</a:t>
              </a:r>
              <a:r>
                <a:rPr lang="en-US" altLang="zh-CN" sz="1100"/>
                <a:t>retain text……</a:t>
              </a:r>
              <a:endParaRPr lang="en-US" altLang="zh-CN" sz="1100" dirty="0"/>
            </a:p>
          </p:txBody>
        </p:sp>
        <p:sp>
          <p:nvSpPr>
            <p:cNvPr id="133" name="i$lîďe">
              <a:extLst>
                <a:ext uri="{FF2B5EF4-FFF2-40B4-BE49-F238E27FC236}">
                  <a16:creationId xmlns:a16="http://schemas.microsoft.com/office/drawing/2014/main" id="{C352E0F0-E7EB-400D-A708-51A99327D2D9}"/>
                </a:ext>
              </a:extLst>
            </p:cNvPr>
            <p:cNvSpPr txBox="1"/>
            <p:nvPr/>
          </p:nvSpPr>
          <p:spPr>
            <a:xfrm>
              <a:off x="7732118" y="3389268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 dirty="0"/>
                <a:t>Text here</a:t>
              </a:r>
              <a:endParaRPr lang="id-ID" sz="1600" b="1" dirty="0"/>
            </a:p>
          </p:txBody>
        </p:sp>
        <p:sp>
          <p:nvSpPr>
            <p:cNvPr id="134" name="iśḷîḑe">
              <a:extLst>
                <a:ext uri="{FF2B5EF4-FFF2-40B4-BE49-F238E27FC236}">
                  <a16:creationId xmlns:a16="http://schemas.microsoft.com/office/drawing/2014/main" id="{5046BB22-3732-476B-BBA4-278519FCBBEF}"/>
                </a:ext>
              </a:extLst>
            </p:cNvPr>
            <p:cNvSpPr/>
            <p:nvPr/>
          </p:nvSpPr>
          <p:spPr bwMode="auto">
            <a:xfrm>
              <a:off x="7732118" y="3763663"/>
              <a:ext cx="2455114" cy="608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</a:t>
              </a:r>
              <a:r>
                <a:rPr lang="en-US" altLang="zh-CN" sz="1100"/>
                <a:t>retain text……</a:t>
              </a:r>
              <a:endParaRPr lang="en-US" altLang="zh-CN" sz="1100" dirty="0"/>
            </a:p>
          </p:txBody>
        </p:sp>
        <p:sp>
          <p:nvSpPr>
            <p:cNvPr id="135" name="ïṩ1íḑe">
              <a:extLst>
                <a:ext uri="{FF2B5EF4-FFF2-40B4-BE49-F238E27FC236}">
                  <a16:creationId xmlns:a16="http://schemas.microsoft.com/office/drawing/2014/main" id="{94D79830-E9E6-49F1-9116-5A4EDB01087C}"/>
                </a:ext>
              </a:extLst>
            </p:cNvPr>
            <p:cNvSpPr txBox="1"/>
            <p:nvPr/>
          </p:nvSpPr>
          <p:spPr>
            <a:xfrm>
              <a:off x="8361867" y="4730207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 dirty="0"/>
                <a:t>Text here</a:t>
              </a:r>
              <a:endParaRPr lang="id-ID" sz="1600" b="1" dirty="0"/>
            </a:p>
          </p:txBody>
        </p:sp>
        <p:sp>
          <p:nvSpPr>
            <p:cNvPr id="136" name="işḻiḑê">
              <a:extLst>
                <a:ext uri="{FF2B5EF4-FFF2-40B4-BE49-F238E27FC236}">
                  <a16:creationId xmlns:a16="http://schemas.microsoft.com/office/drawing/2014/main" id="{B843C72C-3D3F-46D6-898A-33A595015802}"/>
                </a:ext>
              </a:extLst>
            </p:cNvPr>
            <p:cNvSpPr/>
            <p:nvPr/>
          </p:nvSpPr>
          <p:spPr bwMode="auto">
            <a:xfrm>
              <a:off x="8361867" y="5104602"/>
              <a:ext cx="2455114" cy="608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</a:t>
              </a:r>
              <a:r>
                <a:rPr lang="en-US" altLang="zh-CN" sz="1100"/>
                <a:t>retain text……</a:t>
              </a:r>
              <a:endParaRPr lang="en-US" altLang="zh-CN" sz="1100" dirty="0"/>
            </a:p>
          </p:txBody>
        </p:sp>
        <p:cxnSp>
          <p:nvCxnSpPr>
            <p:cNvPr id="137" name="ïṧḷídê">
              <a:extLst>
                <a:ext uri="{FF2B5EF4-FFF2-40B4-BE49-F238E27FC236}">
                  <a16:creationId xmlns:a16="http://schemas.microsoft.com/office/drawing/2014/main" id="{FB4C51F8-716D-43E4-A8D5-E0D2406C0BE2}"/>
                </a:ext>
              </a:extLst>
            </p:cNvPr>
            <p:cNvCxnSpPr/>
            <p:nvPr/>
          </p:nvCxnSpPr>
          <p:spPr>
            <a:xfrm flipH="1">
              <a:off x="660400" y="2863077"/>
              <a:ext cx="44640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îSľïḍé">
              <a:extLst>
                <a:ext uri="{FF2B5EF4-FFF2-40B4-BE49-F238E27FC236}">
                  <a16:creationId xmlns:a16="http://schemas.microsoft.com/office/drawing/2014/main" id="{51290D0F-B1DD-499E-AD0D-45BE358159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0400" y="4276399"/>
              <a:ext cx="38163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iśļïḍè">
              <a:extLst>
                <a:ext uri="{FF2B5EF4-FFF2-40B4-BE49-F238E27FC236}">
                  <a16:creationId xmlns:a16="http://schemas.microsoft.com/office/drawing/2014/main" id="{85AA3E57-4466-43B7-84C5-E20AE93CED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0400" y="5514973"/>
              <a:ext cx="31305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ïšļïḋè">
              <a:extLst>
                <a:ext uri="{FF2B5EF4-FFF2-40B4-BE49-F238E27FC236}">
                  <a16:creationId xmlns:a16="http://schemas.microsoft.com/office/drawing/2014/main" id="{D93B3127-C16B-41DF-BA83-ABFDB8ECF55A}"/>
                </a:ext>
              </a:extLst>
            </p:cNvPr>
            <p:cNvSpPr txBox="1"/>
            <p:nvPr/>
          </p:nvSpPr>
          <p:spPr>
            <a:xfrm>
              <a:off x="665210" y="3389268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/>
                <a:t>…text</a:t>
              </a:r>
              <a:endParaRPr lang="id-ID" sz="1600" b="1" dirty="0"/>
            </a:p>
          </p:txBody>
        </p:sp>
        <p:sp>
          <p:nvSpPr>
            <p:cNvPr id="141" name="iṧ1iḑè">
              <a:extLst>
                <a:ext uri="{FF2B5EF4-FFF2-40B4-BE49-F238E27FC236}">
                  <a16:creationId xmlns:a16="http://schemas.microsoft.com/office/drawing/2014/main" id="{30976F70-BD16-49FD-9CEA-AB9ECB520F42}"/>
                </a:ext>
              </a:extLst>
            </p:cNvPr>
            <p:cNvSpPr txBox="1"/>
            <p:nvPr/>
          </p:nvSpPr>
          <p:spPr>
            <a:xfrm>
              <a:off x="665210" y="2119054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/>
                <a:t>…text</a:t>
              </a:r>
              <a:endParaRPr lang="id-ID" sz="1600" b="1" dirty="0"/>
            </a:p>
          </p:txBody>
        </p:sp>
        <p:sp>
          <p:nvSpPr>
            <p:cNvPr id="142" name="ï$ļíḓe">
              <a:extLst>
                <a:ext uri="{FF2B5EF4-FFF2-40B4-BE49-F238E27FC236}">
                  <a16:creationId xmlns:a16="http://schemas.microsoft.com/office/drawing/2014/main" id="{E57F802C-EB0A-4BBA-8684-54923F808510}"/>
                </a:ext>
              </a:extLst>
            </p:cNvPr>
            <p:cNvSpPr txBox="1"/>
            <p:nvPr/>
          </p:nvSpPr>
          <p:spPr>
            <a:xfrm>
              <a:off x="665210" y="4800007"/>
              <a:ext cx="2455114" cy="3743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/>
                <a:t>…text</a:t>
              </a:r>
              <a:endParaRPr lang="id-ID" sz="1600" b="1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46634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ḋè">
            <a:extLst>
              <a:ext uri="{FF2B5EF4-FFF2-40B4-BE49-F238E27FC236}">
                <a16:creationId xmlns:a16="http://schemas.microsoft.com/office/drawing/2014/main" id="{4FFFFD21-FD79-408D-86D2-AAC4B5F19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ṡļîḋé">
            <a:extLst>
              <a:ext uri="{FF2B5EF4-FFF2-40B4-BE49-F238E27FC236}">
                <a16:creationId xmlns:a16="http://schemas.microsoft.com/office/drawing/2014/main" id="{0115C47D-B0C6-42E7-9A42-6F897B7A5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şľíḋè">
            <a:extLst>
              <a:ext uri="{FF2B5EF4-FFF2-40B4-BE49-F238E27FC236}">
                <a16:creationId xmlns:a16="http://schemas.microsoft.com/office/drawing/2014/main" id="{C7214B30-F5B5-4CA2-A40C-E1EA643C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38" name="ïṡľiďè">
            <a:extLst>
              <a:ext uri="{FF2B5EF4-FFF2-40B4-BE49-F238E27FC236}">
                <a16:creationId xmlns:a16="http://schemas.microsoft.com/office/drawing/2014/main" id="{F502A7A5-B3E2-43C7-A6F2-FE1955BCA5D9}"/>
              </a:ext>
            </a:extLst>
          </p:cNvPr>
          <p:cNvSpPr/>
          <p:nvPr/>
        </p:nvSpPr>
        <p:spPr bwMode="auto">
          <a:xfrm rot="1800000" flipV="1">
            <a:off x="5797619" y="2225365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39" name="iṥľíḍê">
            <a:extLst>
              <a:ext uri="{FF2B5EF4-FFF2-40B4-BE49-F238E27FC236}">
                <a16:creationId xmlns:a16="http://schemas.microsoft.com/office/drawing/2014/main" id="{4BB2D640-91C2-41C4-9D64-C22B55FB363B}"/>
              </a:ext>
            </a:extLst>
          </p:cNvPr>
          <p:cNvSpPr/>
          <p:nvPr/>
        </p:nvSpPr>
        <p:spPr bwMode="auto">
          <a:xfrm rot="5463362" flipV="1">
            <a:off x="6388386" y="3269811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40" name="işḻïdè">
            <a:extLst>
              <a:ext uri="{FF2B5EF4-FFF2-40B4-BE49-F238E27FC236}">
                <a16:creationId xmlns:a16="http://schemas.microsoft.com/office/drawing/2014/main" id="{A00C2737-D9D9-4B78-826E-BD9940BB58C6}"/>
              </a:ext>
            </a:extLst>
          </p:cNvPr>
          <p:cNvSpPr/>
          <p:nvPr/>
        </p:nvSpPr>
        <p:spPr bwMode="auto">
          <a:xfrm rot="19736638" flipH="1" flipV="1">
            <a:off x="4597718" y="2235970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41" name="íṧľîḑe">
            <a:extLst>
              <a:ext uri="{FF2B5EF4-FFF2-40B4-BE49-F238E27FC236}">
                <a16:creationId xmlns:a16="http://schemas.microsoft.com/office/drawing/2014/main" id="{392AF9B9-518B-4EF1-A5C9-1A86B582FB9D}"/>
              </a:ext>
            </a:extLst>
          </p:cNvPr>
          <p:cNvSpPr/>
          <p:nvPr/>
        </p:nvSpPr>
        <p:spPr bwMode="auto">
          <a:xfrm rot="1800000">
            <a:off x="4581833" y="4331167"/>
            <a:ext cx="1615151" cy="634794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42" name="ïṡḻïḋê">
            <a:extLst>
              <a:ext uri="{FF2B5EF4-FFF2-40B4-BE49-F238E27FC236}">
                <a16:creationId xmlns:a16="http://schemas.microsoft.com/office/drawing/2014/main" id="{5254E0F8-9B3E-4C19-B6B2-3829D68C3F3C}"/>
              </a:ext>
            </a:extLst>
          </p:cNvPr>
          <p:cNvSpPr/>
          <p:nvPr/>
        </p:nvSpPr>
        <p:spPr bwMode="auto">
          <a:xfrm rot="19736638">
            <a:off x="5781733" y="4320564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43" name="îsľïďé">
            <a:extLst>
              <a:ext uri="{FF2B5EF4-FFF2-40B4-BE49-F238E27FC236}">
                <a16:creationId xmlns:a16="http://schemas.microsoft.com/office/drawing/2014/main" id="{0773A132-81CD-4909-A919-4157EA28BF54}"/>
              </a:ext>
            </a:extLst>
          </p:cNvPr>
          <p:cNvSpPr/>
          <p:nvPr/>
        </p:nvSpPr>
        <p:spPr bwMode="auto">
          <a:xfrm rot="5463362" flipH="1">
            <a:off x="3991066" y="3286722"/>
            <a:ext cx="1615151" cy="634793"/>
          </a:xfrm>
          <a:custGeom>
            <a:avLst/>
            <a:gdLst>
              <a:gd name="connsiteX0" fmla="*/ 279327 w 1999980"/>
              <a:gd name="connsiteY0" fmla="*/ 786040 h 786040"/>
              <a:gd name="connsiteX1" fmla="*/ 999990 w 1999980"/>
              <a:gd name="connsiteY1" fmla="*/ 297572 h 786040"/>
              <a:gd name="connsiteX2" fmla="*/ 1720653 w 1999980"/>
              <a:gd name="connsiteY2" fmla="*/ 786040 h 786040"/>
              <a:gd name="connsiteX3" fmla="*/ 1999980 w 1999980"/>
              <a:gd name="connsiteY3" fmla="*/ 628832 h 786040"/>
              <a:gd name="connsiteX4" fmla="*/ 1849144 w 1999980"/>
              <a:gd name="connsiteY4" fmla="*/ 376176 h 786040"/>
              <a:gd name="connsiteX5" fmla="*/ 1798865 w 1999980"/>
              <a:gd name="connsiteY5" fmla="*/ 404249 h 786040"/>
              <a:gd name="connsiteX6" fmla="*/ 999990 w 1999980"/>
              <a:gd name="connsiteY6" fmla="*/ 0 h 786040"/>
              <a:gd name="connsiteX7" fmla="*/ 201115 w 1999980"/>
              <a:gd name="connsiteY7" fmla="*/ 404249 h 786040"/>
              <a:gd name="connsiteX8" fmla="*/ 150836 w 1999980"/>
              <a:gd name="connsiteY8" fmla="*/ 376176 h 786040"/>
              <a:gd name="connsiteX9" fmla="*/ 0 w 1999980"/>
              <a:gd name="connsiteY9" fmla="*/ 628832 h 786040"/>
              <a:gd name="connsiteX10" fmla="*/ 279327 w 1999980"/>
              <a:gd name="connsiteY10" fmla="*/ 786040 h 78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9980" h="786040">
                <a:moveTo>
                  <a:pt x="279327" y="786040"/>
                </a:moveTo>
                <a:cubicBezTo>
                  <a:pt x="575413" y="247041"/>
                  <a:pt x="999990" y="297572"/>
                  <a:pt x="999990" y="297572"/>
                </a:cubicBezTo>
                <a:cubicBezTo>
                  <a:pt x="999990" y="297572"/>
                  <a:pt x="1424567" y="247041"/>
                  <a:pt x="1720653" y="786040"/>
                </a:cubicBezTo>
                <a:cubicBezTo>
                  <a:pt x="1999980" y="628832"/>
                  <a:pt x="1999980" y="628832"/>
                  <a:pt x="1999980" y="628832"/>
                </a:cubicBezTo>
                <a:cubicBezTo>
                  <a:pt x="1849144" y="376176"/>
                  <a:pt x="1849144" y="376176"/>
                  <a:pt x="1849144" y="376176"/>
                </a:cubicBezTo>
                <a:cubicBezTo>
                  <a:pt x="1798865" y="404249"/>
                  <a:pt x="1798865" y="404249"/>
                  <a:pt x="1798865" y="404249"/>
                </a:cubicBezTo>
                <a:cubicBezTo>
                  <a:pt x="1798865" y="404249"/>
                  <a:pt x="1564230" y="28073"/>
                  <a:pt x="999990" y="0"/>
                </a:cubicBezTo>
                <a:cubicBezTo>
                  <a:pt x="435750" y="28073"/>
                  <a:pt x="201115" y="404249"/>
                  <a:pt x="201115" y="404249"/>
                </a:cubicBezTo>
                <a:cubicBezTo>
                  <a:pt x="201115" y="404249"/>
                  <a:pt x="201115" y="404249"/>
                  <a:pt x="150836" y="376176"/>
                </a:cubicBezTo>
                <a:cubicBezTo>
                  <a:pt x="150836" y="376176"/>
                  <a:pt x="150836" y="376176"/>
                  <a:pt x="0" y="628832"/>
                </a:cubicBezTo>
                <a:cubicBezTo>
                  <a:pt x="0" y="628832"/>
                  <a:pt x="0" y="628832"/>
                  <a:pt x="279327" y="7860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/>
          </a:p>
        </p:txBody>
      </p:sp>
      <p:sp>
        <p:nvSpPr>
          <p:cNvPr id="7" name="iŝḻîḍé">
            <a:extLst>
              <a:ext uri="{FF2B5EF4-FFF2-40B4-BE49-F238E27FC236}">
                <a16:creationId xmlns:a16="http://schemas.microsoft.com/office/drawing/2014/main" id="{F3303BD0-E0C2-4C2F-A365-69E1357535EB}"/>
              </a:ext>
            </a:extLst>
          </p:cNvPr>
          <p:cNvSpPr/>
          <p:nvPr/>
        </p:nvSpPr>
        <p:spPr>
          <a:xfrm>
            <a:off x="4674371" y="1653447"/>
            <a:ext cx="972995" cy="9729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8" name="ïs1îḍè">
            <a:extLst>
              <a:ext uri="{FF2B5EF4-FFF2-40B4-BE49-F238E27FC236}">
                <a16:creationId xmlns:a16="http://schemas.microsoft.com/office/drawing/2014/main" id="{790FD6C4-CEAA-48C4-BFD9-9F0CEAB0CA99}"/>
              </a:ext>
            </a:extLst>
          </p:cNvPr>
          <p:cNvSpPr/>
          <p:nvPr/>
        </p:nvSpPr>
        <p:spPr>
          <a:xfrm>
            <a:off x="7189708" y="3105678"/>
            <a:ext cx="972995" cy="9729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9" name="ï$ḻiďè">
            <a:extLst>
              <a:ext uri="{FF2B5EF4-FFF2-40B4-BE49-F238E27FC236}">
                <a16:creationId xmlns:a16="http://schemas.microsoft.com/office/drawing/2014/main" id="{DE650AA4-66D3-482F-87DE-D499CC58F134}"/>
              </a:ext>
            </a:extLst>
          </p:cNvPr>
          <p:cNvSpPr/>
          <p:nvPr/>
        </p:nvSpPr>
        <p:spPr>
          <a:xfrm>
            <a:off x="6355592" y="4550410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10" name="ï$ḷiḋé">
            <a:extLst>
              <a:ext uri="{FF2B5EF4-FFF2-40B4-BE49-F238E27FC236}">
                <a16:creationId xmlns:a16="http://schemas.microsoft.com/office/drawing/2014/main" id="{ADF8457D-87B3-4CA2-BA02-9B8B7CC97064}"/>
              </a:ext>
            </a:extLst>
          </p:cNvPr>
          <p:cNvSpPr/>
          <p:nvPr/>
        </p:nvSpPr>
        <p:spPr>
          <a:xfrm>
            <a:off x="3829768" y="3116340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11" name="íślîḓè">
            <a:extLst>
              <a:ext uri="{FF2B5EF4-FFF2-40B4-BE49-F238E27FC236}">
                <a16:creationId xmlns:a16="http://schemas.microsoft.com/office/drawing/2014/main" id="{023CF151-F9D6-4C2F-951C-B0E8A075FC08}"/>
              </a:ext>
            </a:extLst>
          </p:cNvPr>
          <p:cNvSpPr/>
          <p:nvPr/>
        </p:nvSpPr>
        <p:spPr>
          <a:xfrm>
            <a:off x="6354498" y="1647846"/>
            <a:ext cx="972995" cy="9729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12" name="îṡ1íḓè">
            <a:extLst>
              <a:ext uri="{FF2B5EF4-FFF2-40B4-BE49-F238E27FC236}">
                <a16:creationId xmlns:a16="http://schemas.microsoft.com/office/drawing/2014/main" id="{86553F42-58F5-4143-8740-0A26EBE050A9}"/>
              </a:ext>
            </a:extLst>
          </p:cNvPr>
          <p:cNvSpPr/>
          <p:nvPr/>
        </p:nvSpPr>
        <p:spPr>
          <a:xfrm>
            <a:off x="4661206" y="4580718"/>
            <a:ext cx="972995" cy="9729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50" name="îṧľîďé">
            <a:extLst>
              <a:ext uri="{FF2B5EF4-FFF2-40B4-BE49-F238E27FC236}">
                <a16:creationId xmlns:a16="http://schemas.microsoft.com/office/drawing/2014/main" id="{A143129B-C512-4B44-B768-95489A4F9A16}"/>
              </a:ext>
            </a:extLst>
          </p:cNvPr>
          <p:cNvSpPr/>
          <p:nvPr/>
        </p:nvSpPr>
        <p:spPr bwMode="auto">
          <a:xfrm>
            <a:off x="5007443" y="1989259"/>
            <a:ext cx="306850" cy="301370"/>
          </a:xfrm>
          <a:custGeom>
            <a:avLst/>
            <a:gdLst>
              <a:gd name="connsiteX0" fmla="*/ 342900 w 533400"/>
              <a:gd name="connsiteY0" fmla="*/ 276225 h 523875"/>
              <a:gd name="connsiteX1" fmla="*/ 371475 w 533400"/>
              <a:gd name="connsiteY1" fmla="*/ 304800 h 523875"/>
              <a:gd name="connsiteX2" fmla="*/ 371475 w 533400"/>
              <a:gd name="connsiteY2" fmla="*/ 495300 h 523875"/>
              <a:gd name="connsiteX3" fmla="*/ 342900 w 533400"/>
              <a:gd name="connsiteY3" fmla="*/ 523875 h 523875"/>
              <a:gd name="connsiteX4" fmla="*/ 190500 w 533400"/>
              <a:gd name="connsiteY4" fmla="*/ 523875 h 523875"/>
              <a:gd name="connsiteX5" fmla="*/ 161925 w 533400"/>
              <a:gd name="connsiteY5" fmla="*/ 495300 h 523875"/>
              <a:gd name="connsiteX6" fmla="*/ 161925 w 533400"/>
              <a:gd name="connsiteY6" fmla="*/ 304800 h 523875"/>
              <a:gd name="connsiteX7" fmla="*/ 190500 w 533400"/>
              <a:gd name="connsiteY7" fmla="*/ 276225 h 523875"/>
              <a:gd name="connsiteX8" fmla="*/ 342900 w 533400"/>
              <a:gd name="connsiteY8" fmla="*/ 276225 h 523875"/>
              <a:gd name="connsiteX9" fmla="*/ 142875 w 533400"/>
              <a:gd name="connsiteY9" fmla="*/ 114300 h 523875"/>
              <a:gd name="connsiteX10" fmla="*/ 179070 w 533400"/>
              <a:gd name="connsiteY10" fmla="*/ 152400 h 523875"/>
              <a:gd name="connsiteX11" fmla="*/ 180975 w 533400"/>
              <a:gd name="connsiteY11" fmla="*/ 152400 h 523875"/>
              <a:gd name="connsiteX12" fmla="*/ 352425 w 533400"/>
              <a:gd name="connsiteY12" fmla="*/ 152400 h 523875"/>
              <a:gd name="connsiteX13" fmla="*/ 390525 w 533400"/>
              <a:gd name="connsiteY13" fmla="*/ 116205 h 523875"/>
              <a:gd name="connsiteX14" fmla="*/ 390525 w 533400"/>
              <a:gd name="connsiteY14" fmla="*/ 114300 h 523875"/>
              <a:gd name="connsiteX15" fmla="*/ 504825 w 533400"/>
              <a:gd name="connsiteY15" fmla="*/ 114300 h 523875"/>
              <a:gd name="connsiteX16" fmla="*/ 533400 w 533400"/>
              <a:gd name="connsiteY16" fmla="*/ 142875 h 523875"/>
              <a:gd name="connsiteX17" fmla="*/ 533400 w 533400"/>
              <a:gd name="connsiteY17" fmla="*/ 381000 h 523875"/>
              <a:gd name="connsiteX18" fmla="*/ 504825 w 533400"/>
              <a:gd name="connsiteY18" fmla="*/ 409575 h 523875"/>
              <a:gd name="connsiteX19" fmla="*/ 390525 w 533400"/>
              <a:gd name="connsiteY19" fmla="*/ 409575 h 523875"/>
              <a:gd name="connsiteX20" fmla="*/ 390525 w 533400"/>
              <a:gd name="connsiteY20" fmla="*/ 295275 h 523875"/>
              <a:gd name="connsiteX21" fmla="*/ 354330 w 533400"/>
              <a:gd name="connsiteY21" fmla="*/ 257175 h 523875"/>
              <a:gd name="connsiteX22" fmla="*/ 352425 w 533400"/>
              <a:gd name="connsiteY22" fmla="*/ 257175 h 523875"/>
              <a:gd name="connsiteX23" fmla="*/ 180975 w 533400"/>
              <a:gd name="connsiteY23" fmla="*/ 257175 h 523875"/>
              <a:gd name="connsiteX24" fmla="*/ 142875 w 533400"/>
              <a:gd name="connsiteY24" fmla="*/ 293370 h 523875"/>
              <a:gd name="connsiteX25" fmla="*/ 142875 w 533400"/>
              <a:gd name="connsiteY25" fmla="*/ 295275 h 523875"/>
              <a:gd name="connsiteX26" fmla="*/ 142875 w 533400"/>
              <a:gd name="connsiteY26" fmla="*/ 409575 h 523875"/>
              <a:gd name="connsiteX27" fmla="*/ 28575 w 533400"/>
              <a:gd name="connsiteY27" fmla="*/ 409575 h 523875"/>
              <a:gd name="connsiteX28" fmla="*/ 0 w 533400"/>
              <a:gd name="connsiteY28" fmla="*/ 381000 h 523875"/>
              <a:gd name="connsiteX29" fmla="*/ 0 w 533400"/>
              <a:gd name="connsiteY29" fmla="*/ 200787 h 523875"/>
              <a:gd name="connsiteX30" fmla="*/ 10287 w 533400"/>
              <a:gd name="connsiteY30" fmla="*/ 174784 h 523875"/>
              <a:gd name="connsiteX31" fmla="*/ 55436 w 533400"/>
              <a:gd name="connsiteY31" fmla="*/ 126397 h 523875"/>
              <a:gd name="connsiteX32" fmla="*/ 83248 w 533400"/>
              <a:gd name="connsiteY32" fmla="*/ 114300 h 523875"/>
              <a:gd name="connsiteX33" fmla="*/ 142875 w 533400"/>
              <a:gd name="connsiteY33" fmla="*/ 114300 h 523875"/>
              <a:gd name="connsiteX34" fmla="*/ 461963 w 533400"/>
              <a:gd name="connsiteY34" fmla="*/ 171450 h 523875"/>
              <a:gd name="connsiteX35" fmla="*/ 447675 w 533400"/>
              <a:gd name="connsiteY35" fmla="*/ 185738 h 523875"/>
              <a:gd name="connsiteX36" fmla="*/ 461963 w 533400"/>
              <a:gd name="connsiteY36" fmla="*/ 200025 h 523875"/>
              <a:gd name="connsiteX37" fmla="*/ 476250 w 533400"/>
              <a:gd name="connsiteY37" fmla="*/ 185738 h 523875"/>
              <a:gd name="connsiteX38" fmla="*/ 461963 w 533400"/>
              <a:gd name="connsiteY38" fmla="*/ 171450 h 523875"/>
              <a:gd name="connsiteX39" fmla="*/ 342900 w 533400"/>
              <a:gd name="connsiteY39" fmla="*/ 0 h 523875"/>
              <a:gd name="connsiteX40" fmla="*/ 371475 w 533400"/>
              <a:gd name="connsiteY40" fmla="*/ 28575 h 523875"/>
              <a:gd name="connsiteX41" fmla="*/ 371475 w 533400"/>
              <a:gd name="connsiteY41" fmla="*/ 104775 h 523875"/>
              <a:gd name="connsiteX42" fmla="*/ 342900 w 533400"/>
              <a:gd name="connsiteY42" fmla="*/ 133350 h 523875"/>
              <a:gd name="connsiteX43" fmla="*/ 190500 w 533400"/>
              <a:gd name="connsiteY43" fmla="*/ 133350 h 523875"/>
              <a:gd name="connsiteX44" fmla="*/ 161925 w 533400"/>
              <a:gd name="connsiteY44" fmla="*/ 104775 h 523875"/>
              <a:gd name="connsiteX45" fmla="*/ 161925 w 533400"/>
              <a:gd name="connsiteY45" fmla="*/ 28575 h 523875"/>
              <a:gd name="connsiteX46" fmla="*/ 190500 w 533400"/>
              <a:gd name="connsiteY46" fmla="*/ 0 h 523875"/>
              <a:gd name="connsiteX47" fmla="*/ 342900 w 533400"/>
              <a:gd name="connsiteY47" fmla="*/ 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33400" h="523875">
                <a:moveTo>
                  <a:pt x="342900" y="276225"/>
                </a:moveTo>
                <a:cubicBezTo>
                  <a:pt x="358711" y="276225"/>
                  <a:pt x="371475" y="288989"/>
                  <a:pt x="371475" y="304800"/>
                </a:cubicBezTo>
                <a:lnTo>
                  <a:pt x="371475" y="495300"/>
                </a:lnTo>
                <a:cubicBezTo>
                  <a:pt x="371475" y="511112"/>
                  <a:pt x="358711" y="523875"/>
                  <a:pt x="342900" y="523875"/>
                </a:cubicBezTo>
                <a:lnTo>
                  <a:pt x="190500" y="523875"/>
                </a:lnTo>
                <a:cubicBezTo>
                  <a:pt x="174689" y="523875"/>
                  <a:pt x="161925" y="511112"/>
                  <a:pt x="161925" y="495300"/>
                </a:cubicBezTo>
                <a:lnTo>
                  <a:pt x="161925" y="304800"/>
                </a:lnTo>
                <a:cubicBezTo>
                  <a:pt x="161925" y="288989"/>
                  <a:pt x="174689" y="276225"/>
                  <a:pt x="190500" y="276225"/>
                </a:cubicBezTo>
                <a:lnTo>
                  <a:pt x="342900" y="276225"/>
                </a:lnTo>
                <a:close/>
                <a:moveTo>
                  <a:pt x="142875" y="114300"/>
                </a:moveTo>
                <a:cubicBezTo>
                  <a:pt x="142875" y="134684"/>
                  <a:pt x="158877" y="151352"/>
                  <a:pt x="179070" y="152400"/>
                </a:cubicBezTo>
                <a:lnTo>
                  <a:pt x="180975" y="152400"/>
                </a:lnTo>
                <a:lnTo>
                  <a:pt x="352425" y="152400"/>
                </a:lnTo>
                <a:cubicBezTo>
                  <a:pt x="372809" y="152400"/>
                  <a:pt x="389477" y="136398"/>
                  <a:pt x="390525" y="116205"/>
                </a:cubicBezTo>
                <a:lnTo>
                  <a:pt x="390525" y="114300"/>
                </a:lnTo>
                <a:lnTo>
                  <a:pt x="504825" y="114300"/>
                </a:lnTo>
                <a:cubicBezTo>
                  <a:pt x="520636" y="114300"/>
                  <a:pt x="533400" y="127064"/>
                  <a:pt x="533400" y="142875"/>
                </a:cubicBezTo>
                <a:lnTo>
                  <a:pt x="533400" y="381000"/>
                </a:lnTo>
                <a:cubicBezTo>
                  <a:pt x="533400" y="396812"/>
                  <a:pt x="520636" y="409575"/>
                  <a:pt x="504825" y="409575"/>
                </a:cubicBezTo>
                <a:lnTo>
                  <a:pt x="390525" y="409575"/>
                </a:lnTo>
                <a:lnTo>
                  <a:pt x="390525" y="295275"/>
                </a:lnTo>
                <a:cubicBezTo>
                  <a:pt x="390525" y="274892"/>
                  <a:pt x="374523" y="258223"/>
                  <a:pt x="354330" y="257175"/>
                </a:cubicBezTo>
                <a:lnTo>
                  <a:pt x="352425" y="257175"/>
                </a:lnTo>
                <a:lnTo>
                  <a:pt x="180975" y="257175"/>
                </a:lnTo>
                <a:cubicBezTo>
                  <a:pt x="160591" y="257175"/>
                  <a:pt x="143923" y="273177"/>
                  <a:pt x="142875" y="293370"/>
                </a:cubicBezTo>
                <a:lnTo>
                  <a:pt x="142875" y="295275"/>
                </a:lnTo>
                <a:lnTo>
                  <a:pt x="142875" y="409575"/>
                </a:lnTo>
                <a:lnTo>
                  <a:pt x="28575" y="409575"/>
                </a:lnTo>
                <a:cubicBezTo>
                  <a:pt x="12763" y="409575"/>
                  <a:pt x="0" y="396812"/>
                  <a:pt x="0" y="381000"/>
                </a:cubicBezTo>
                <a:lnTo>
                  <a:pt x="0" y="200787"/>
                </a:lnTo>
                <a:cubicBezTo>
                  <a:pt x="0" y="191167"/>
                  <a:pt x="3620" y="181832"/>
                  <a:pt x="10287" y="174784"/>
                </a:cubicBezTo>
                <a:lnTo>
                  <a:pt x="55436" y="126397"/>
                </a:lnTo>
                <a:cubicBezTo>
                  <a:pt x="62675" y="118682"/>
                  <a:pt x="72771" y="114300"/>
                  <a:pt x="83248" y="114300"/>
                </a:cubicBezTo>
                <a:lnTo>
                  <a:pt x="142875" y="114300"/>
                </a:lnTo>
                <a:close/>
                <a:moveTo>
                  <a:pt x="461963" y="171450"/>
                </a:moveTo>
                <a:cubicBezTo>
                  <a:pt x="454057" y="171450"/>
                  <a:pt x="447675" y="177832"/>
                  <a:pt x="447675" y="185738"/>
                </a:cubicBezTo>
                <a:cubicBezTo>
                  <a:pt x="447675" y="193643"/>
                  <a:pt x="454057" y="200025"/>
                  <a:pt x="461963" y="200025"/>
                </a:cubicBezTo>
                <a:cubicBezTo>
                  <a:pt x="469868" y="200025"/>
                  <a:pt x="476250" y="193643"/>
                  <a:pt x="476250" y="185738"/>
                </a:cubicBezTo>
                <a:cubicBezTo>
                  <a:pt x="476250" y="177832"/>
                  <a:pt x="469868" y="171450"/>
                  <a:pt x="461963" y="171450"/>
                </a:cubicBezTo>
                <a:close/>
                <a:moveTo>
                  <a:pt x="342900" y="0"/>
                </a:moveTo>
                <a:cubicBezTo>
                  <a:pt x="358711" y="0"/>
                  <a:pt x="371475" y="12763"/>
                  <a:pt x="371475" y="28575"/>
                </a:cubicBezTo>
                <a:lnTo>
                  <a:pt x="371475" y="104775"/>
                </a:lnTo>
                <a:cubicBezTo>
                  <a:pt x="371475" y="120587"/>
                  <a:pt x="358711" y="133350"/>
                  <a:pt x="342900" y="133350"/>
                </a:cubicBezTo>
                <a:lnTo>
                  <a:pt x="190500" y="133350"/>
                </a:lnTo>
                <a:cubicBezTo>
                  <a:pt x="174689" y="133350"/>
                  <a:pt x="161925" y="120587"/>
                  <a:pt x="161925" y="104775"/>
                </a:cubicBezTo>
                <a:lnTo>
                  <a:pt x="161925" y="28575"/>
                </a:lnTo>
                <a:cubicBezTo>
                  <a:pt x="161925" y="12763"/>
                  <a:pt x="174689" y="0"/>
                  <a:pt x="190500" y="0"/>
                </a:cubicBezTo>
                <a:lnTo>
                  <a:pt x="342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5" name="i$ḻîďe">
            <a:extLst>
              <a:ext uri="{FF2B5EF4-FFF2-40B4-BE49-F238E27FC236}">
                <a16:creationId xmlns:a16="http://schemas.microsoft.com/office/drawing/2014/main" id="{B0E05055-372B-4B2D-8965-14958D3F4907}"/>
              </a:ext>
            </a:extLst>
          </p:cNvPr>
          <p:cNvSpPr/>
          <p:nvPr/>
        </p:nvSpPr>
        <p:spPr bwMode="auto">
          <a:xfrm>
            <a:off x="6687570" y="1994618"/>
            <a:ext cx="306850" cy="279452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8" name="ïŝlïďé">
            <a:extLst>
              <a:ext uri="{FF2B5EF4-FFF2-40B4-BE49-F238E27FC236}">
                <a16:creationId xmlns:a16="http://schemas.microsoft.com/office/drawing/2014/main" id="{F4992C6B-CAAB-446A-B3EC-CE11FD881D1F}"/>
              </a:ext>
            </a:extLst>
          </p:cNvPr>
          <p:cNvSpPr/>
          <p:nvPr/>
        </p:nvSpPr>
        <p:spPr bwMode="auto">
          <a:xfrm>
            <a:off x="4173593" y="3449412"/>
            <a:ext cx="285346" cy="306850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4" name="ïSľíḋe">
            <a:extLst>
              <a:ext uri="{FF2B5EF4-FFF2-40B4-BE49-F238E27FC236}">
                <a16:creationId xmlns:a16="http://schemas.microsoft.com/office/drawing/2014/main" id="{3F18652D-1E84-4762-BC6C-7A2D4BBE51FC}"/>
              </a:ext>
            </a:extLst>
          </p:cNvPr>
          <p:cNvSpPr/>
          <p:nvPr/>
        </p:nvSpPr>
        <p:spPr bwMode="auto">
          <a:xfrm>
            <a:off x="7562558" y="3449412"/>
            <a:ext cx="227296" cy="306850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7" name="íslïde">
            <a:extLst>
              <a:ext uri="{FF2B5EF4-FFF2-40B4-BE49-F238E27FC236}">
                <a16:creationId xmlns:a16="http://schemas.microsoft.com/office/drawing/2014/main" id="{135C385C-BE9F-4F4C-9DFA-B957C6165D7F}"/>
              </a:ext>
            </a:extLst>
          </p:cNvPr>
          <p:cNvSpPr/>
          <p:nvPr/>
        </p:nvSpPr>
        <p:spPr bwMode="auto">
          <a:xfrm>
            <a:off x="5007444" y="4914736"/>
            <a:ext cx="306850" cy="24434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6" name="iṥľîḍe">
            <a:extLst>
              <a:ext uri="{FF2B5EF4-FFF2-40B4-BE49-F238E27FC236}">
                <a16:creationId xmlns:a16="http://schemas.microsoft.com/office/drawing/2014/main" id="{85D5D6F8-A2DE-4A30-832B-A1B095B6C149}"/>
              </a:ext>
            </a:extLst>
          </p:cNvPr>
          <p:cNvSpPr/>
          <p:nvPr/>
        </p:nvSpPr>
        <p:spPr bwMode="auto">
          <a:xfrm>
            <a:off x="6701028" y="4883481"/>
            <a:ext cx="279933" cy="306850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9" name="ï$lide">
            <a:extLst>
              <a:ext uri="{FF2B5EF4-FFF2-40B4-BE49-F238E27FC236}">
                <a16:creationId xmlns:a16="http://schemas.microsoft.com/office/drawing/2014/main" id="{84BEC765-1BCB-42C4-90A6-5E9BA4AE1E7F}"/>
              </a:ext>
            </a:extLst>
          </p:cNvPr>
          <p:cNvSpPr/>
          <p:nvPr/>
        </p:nvSpPr>
        <p:spPr>
          <a:xfrm>
            <a:off x="5115364" y="3244164"/>
            <a:ext cx="1761744" cy="713232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en-US" altLang="zh-CN" b="1" u="sng"/>
              <a:t>…text</a:t>
            </a:r>
            <a:endParaRPr lang="zh-CN" altLang="en-US" b="1" u="sng" dirty="0"/>
          </a:p>
        </p:txBody>
      </p:sp>
      <p:sp>
        <p:nvSpPr>
          <p:cNvPr id="36" name="îŝliḓe">
            <a:extLst>
              <a:ext uri="{FF2B5EF4-FFF2-40B4-BE49-F238E27FC236}">
                <a16:creationId xmlns:a16="http://schemas.microsoft.com/office/drawing/2014/main" id="{D37343DB-1EFA-4A91-BCFD-80C31AD519E7}"/>
              </a:ext>
            </a:extLst>
          </p:cNvPr>
          <p:cNvSpPr txBox="1"/>
          <p:nvPr/>
        </p:nvSpPr>
        <p:spPr>
          <a:xfrm>
            <a:off x="7421140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37" name="iṥľíḑé">
            <a:extLst>
              <a:ext uri="{FF2B5EF4-FFF2-40B4-BE49-F238E27FC236}">
                <a16:creationId xmlns:a16="http://schemas.microsoft.com/office/drawing/2014/main" id="{C7D2E6DD-2946-4E30-A79D-B8895A52FCCD}"/>
              </a:ext>
            </a:extLst>
          </p:cNvPr>
          <p:cNvSpPr/>
          <p:nvPr/>
        </p:nvSpPr>
        <p:spPr>
          <a:xfrm>
            <a:off x="7421140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34" name="ïśľíḋê">
            <a:extLst>
              <a:ext uri="{FF2B5EF4-FFF2-40B4-BE49-F238E27FC236}">
                <a16:creationId xmlns:a16="http://schemas.microsoft.com/office/drawing/2014/main" id="{306D09DB-D983-4A87-AD02-55834285065A}"/>
              </a:ext>
            </a:extLst>
          </p:cNvPr>
          <p:cNvSpPr txBox="1"/>
          <p:nvPr/>
        </p:nvSpPr>
        <p:spPr>
          <a:xfrm>
            <a:off x="1946859" y="1932336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35" name="iṡ1ïḍè">
            <a:extLst>
              <a:ext uri="{FF2B5EF4-FFF2-40B4-BE49-F238E27FC236}">
                <a16:creationId xmlns:a16="http://schemas.microsoft.com/office/drawing/2014/main" id="{6F22C7A8-3ABB-4D72-9B5D-5281245319CE}"/>
              </a:ext>
            </a:extLst>
          </p:cNvPr>
          <p:cNvSpPr/>
          <p:nvPr/>
        </p:nvSpPr>
        <p:spPr>
          <a:xfrm>
            <a:off x="1946859" y="1611342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32" name="î$liďé">
            <a:extLst>
              <a:ext uri="{FF2B5EF4-FFF2-40B4-BE49-F238E27FC236}">
                <a16:creationId xmlns:a16="http://schemas.microsoft.com/office/drawing/2014/main" id="{0BC64E66-F74A-4BAC-A208-597DD403CEC6}"/>
              </a:ext>
            </a:extLst>
          </p:cNvPr>
          <p:cNvSpPr txBox="1"/>
          <p:nvPr/>
        </p:nvSpPr>
        <p:spPr>
          <a:xfrm>
            <a:off x="7421140" y="4932813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33" name="íṥḻíḑé">
            <a:extLst>
              <a:ext uri="{FF2B5EF4-FFF2-40B4-BE49-F238E27FC236}">
                <a16:creationId xmlns:a16="http://schemas.microsoft.com/office/drawing/2014/main" id="{247FA443-AA89-4B0E-B82D-DDC5DFBAB8EE}"/>
              </a:ext>
            </a:extLst>
          </p:cNvPr>
          <p:cNvSpPr/>
          <p:nvPr/>
        </p:nvSpPr>
        <p:spPr>
          <a:xfrm>
            <a:off x="7421140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30" name="ïśliḓé">
            <a:extLst>
              <a:ext uri="{FF2B5EF4-FFF2-40B4-BE49-F238E27FC236}">
                <a16:creationId xmlns:a16="http://schemas.microsoft.com/office/drawing/2014/main" id="{42961D2A-4203-4C11-A1B4-CA364B446957}"/>
              </a:ext>
            </a:extLst>
          </p:cNvPr>
          <p:cNvSpPr txBox="1"/>
          <p:nvPr/>
        </p:nvSpPr>
        <p:spPr>
          <a:xfrm>
            <a:off x="1946859" y="4932813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31" name="îṧ1îḓe">
            <a:extLst>
              <a:ext uri="{FF2B5EF4-FFF2-40B4-BE49-F238E27FC236}">
                <a16:creationId xmlns:a16="http://schemas.microsoft.com/office/drawing/2014/main" id="{FA0DCC77-764C-41E4-A9F4-37336A89742D}"/>
              </a:ext>
            </a:extLst>
          </p:cNvPr>
          <p:cNvSpPr/>
          <p:nvPr/>
        </p:nvSpPr>
        <p:spPr>
          <a:xfrm>
            <a:off x="1946859" y="4611819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28" name="îṣḻídé">
            <a:extLst>
              <a:ext uri="{FF2B5EF4-FFF2-40B4-BE49-F238E27FC236}">
                <a16:creationId xmlns:a16="http://schemas.microsoft.com/office/drawing/2014/main" id="{00C07E41-8446-4507-84DB-F28CCEFE55FC}"/>
              </a:ext>
            </a:extLst>
          </p:cNvPr>
          <p:cNvSpPr txBox="1"/>
          <p:nvPr/>
        </p:nvSpPr>
        <p:spPr>
          <a:xfrm>
            <a:off x="1138668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29" name="ïšlïḍé">
            <a:extLst>
              <a:ext uri="{FF2B5EF4-FFF2-40B4-BE49-F238E27FC236}">
                <a16:creationId xmlns:a16="http://schemas.microsoft.com/office/drawing/2014/main" id="{8A1C2B8D-7F3E-4133-BA0E-A55E896B6A4B}"/>
              </a:ext>
            </a:extLst>
          </p:cNvPr>
          <p:cNvSpPr/>
          <p:nvPr/>
        </p:nvSpPr>
        <p:spPr>
          <a:xfrm>
            <a:off x="1138668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26" name="ïṧļïďê">
            <a:extLst>
              <a:ext uri="{FF2B5EF4-FFF2-40B4-BE49-F238E27FC236}">
                <a16:creationId xmlns:a16="http://schemas.microsoft.com/office/drawing/2014/main" id="{726F5595-2AD5-492C-A71E-A9E77D2B40C3}"/>
              </a:ext>
            </a:extLst>
          </p:cNvPr>
          <p:cNvSpPr txBox="1"/>
          <p:nvPr/>
        </p:nvSpPr>
        <p:spPr>
          <a:xfrm>
            <a:off x="8475303" y="3385200"/>
            <a:ext cx="2578029" cy="7250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</a:t>
            </a:r>
            <a:r>
              <a:rPr lang="en-US" altLang="zh-CN" sz="1100"/>
              <a:t>text.</a:t>
            </a:r>
          </a:p>
          <a:p>
            <a:pPr>
              <a:lnSpc>
                <a:spcPct val="120000"/>
              </a:lnSpc>
            </a:pPr>
            <a:r>
              <a:rPr lang="en-US" altLang="zh-CN" sz="1100"/>
              <a:t>……</a:t>
            </a:r>
            <a:endParaRPr lang="zh-CN" altLang="en-US" sz="1100" dirty="0"/>
          </a:p>
        </p:txBody>
      </p:sp>
      <p:sp>
        <p:nvSpPr>
          <p:cNvPr id="27" name="îṡḷïḑê">
            <a:extLst>
              <a:ext uri="{FF2B5EF4-FFF2-40B4-BE49-F238E27FC236}">
                <a16:creationId xmlns:a16="http://schemas.microsoft.com/office/drawing/2014/main" id="{4ED25CB3-8FFC-41C7-97FA-B721DFA6ADF7}"/>
              </a:ext>
            </a:extLst>
          </p:cNvPr>
          <p:cNvSpPr/>
          <p:nvPr/>
        </p:nvSpPr>
        <p:spPr>
          <a:xfrm>
            <a:off x="8475303" y="3064206"/>
            <a:ext cx="2578029" cy="320994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97759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ļí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şľiḑè">
            <a:extLst>
              <a:ext uri="{FF2B5EF4-FFF2-40B4-BE49-F238E27FC236}">
                <a16:creationId xmlns:a16="http://schemas.microsoft.com/office/drawing/2014/main" id="{E1EB56BC-C820-421F-9CC2-71B51990F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Sļíḍé">
            <a:extLst>
              <a:ext uri="{FF2B5EF4-FFF2-40B4-BE49-F238E27FC236}">
                <a16:creationId xmlns:a16="http://schemas.microsoft.com/office/drawing/2014/main" id="{591EECEC-1A58-4D31-A737-22726F2FB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ḷîḍê">
            <a:extLst>
              <a:ext uri="{FF2B5EF4-FFF2-40B4-BE49-F238E27FC236}">
                <a16:creationId xmlns:a16="http://schemas.microsoft.com/office/drawing/2014/main" id="{B43C1E0A-621F-41A2-A132-365AFAEFB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167" name="ïṧḷiď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F74DAB-BE46-4E35-A63A-B2DD230AC5D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59340"/>
            <a:ext cx="10845800" cy="4641734"/>
            <a:chOff x="673100" y="1340096"/>
            <a:chExt cx="10845800" cy="4641734"/>
          </a:xfrm>
        </p:grpSpPr>
        <p:sp>
          <p:nvSpPr>
            <p:cNvPr id="168" name="íŝ1ïďe">
              <a:extLst>
                <a:ext uri="{FF2B5EF4-FFF2-40B4-BE49-F238E27FC236}">
                  <a16:creationId xmlns:a16="http://schemas.microsoft.com/office/drawing/2014/main" id="{63F5E3EB-0117-447D-A7EE-0FE90FFD0BAB}"/>
                </a:ext>
              </a:extLst>
            </p:cNvPr>
            <p:cNvSpPr/>
            <p:nvPr/>
          </p:nvSpPr>
          <p:spPr>
            <a:xfrm>
              <a:off x="673100" y="4490068"/>
              <a:ext cx="10845800" cy="5249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cxnSp>
          <p:nvCxnSpPr>
            <p:cNvPr id="169" name="iṥḷîḋé">
              <a:extLst>
                <a:ext uri="{FF2B5EF4-FFF2-40B4-BE49-F238E27FC236}">
                  <a16:creationId xmlns:a16="http://schemas.microsoft.com/office/drawing/2014/main" id="{E0FB723E-1800-4CBC-BB32-969C189E91ED}"/>
                </a:ext>
              </a:extLst>
            </p:cNvPr>
            <p:cNvCxnSpPr/>
            <p:nvPr/>
          </p:nvCxnSpPr>
          <p:spPr>
            <a:xfrm>
              <a:off x="1479956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iṧlídê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73100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</a:t>
              </a:r>
              <a:r>
                <a:rPr lang="en-US" altLang="zh-CN" sz="1000"/>
                <a:t>here.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1" name="íṩḻiḑè">
              <a:extLst>
                <a:ext uri="{FF2B5EF4-FFF2-40B4-BE49-F238E27FC236}">
                  <a16:creationId xmlns:a16="http://schemas.microsoft.com/office/drawing/2014/main" id="{BEB01CB8-45EE-4952-B9E1-977715255145}"/>
                </a:ext>
              </a:extLst>
            </p:cNvPr>
            <p:cNvSpPr/>
            <p:nvPr/>
          </p:nvSpPr>
          <p:spPr>
            <a:xfrm>
              <a:off x="881935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72" name="iṧḷîḑè">
              <a:extLst>
                <a:ext uri="{FF2B5EF4-FFF2-40B4-BE49-F238E27FC236}">
                  <a16:creationId xmlns:a16="http://schemas.microsoft.com/office/drawing/2014/main" id="{F873719B-D8D8-459B-BFA0-6C34D395DCBB}"/>
                </a:ext>
              </a:extLst>
            </p:cNvPr>
            <p:cNvSpPr/>
            <p:nvPr/>
          </p:nvSpPr>
          <p:spPr>
            <a:xfrm>
              <a:off x="881935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5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73" name="ïṡ1iḑê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2738561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text</a:t>
              </a:r>
              <a:r>
                <a:rPr lang="en-US" altLang="zh-CN" sz="1000" dirty="0"/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4" name="iṧ1îḋê">
              <a:extLst>
                <a:ext uri="{FF2B5EF4-FFF2-40B4-BE49-F238E27FC236}">
                  <a16:creationId xmlns:a16="http://schemas.microsoft.com/office/drawing/2014/main" id="{E053A017-E670-4090-A813-44A06E6E2D35}"/>
                </a:ext>
              </a:extLst>
            </p:cNvPr>
            <p:cNvSpPr/>
            <p:nvPr/>
          </p:nvSpPr>
          <p:spPr>
            <a:xfrm>
              <a:off x="2947396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6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75" name="ïšḷíḑé">
              <a:extLst>
                <a:ext uri="{FF2B5EF4-FFF2-40B4-BE49-F238E27FC236}">
                  <a16:creationId xmlns:a16="http://schemas.microsoft.com/office/drawing/2014/main" id="{6D020018-D83D-449D-AD9E-04A49455DEE5}"/>
                </a:ext>
              </a:extLst>
            </p:cNvPr>
            <p:cNvCxnSpPr/>
            <p:nvPr/>
          </p:nvCxnSpPr>
          <p:spPr>
            <a:xfrm>
              <a:off x="5610878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îṥḷïḓé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4804022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text</a:t>
              </a:r>
              <a:r>
                <a:rPr lang="en-US" altLang="zh-CN" sz="1000" dirty="0"/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7" name="îślîḓe">
              <a:extLst>
                <a:ext uri="{FF2B5EF4-FFF2-40B4-BE49-F238E27FC236}">
                  <a16:creationId xmlns:a16="http://schemas.microsoft.com/office/drawing/2014/main" id="{C8B2DBF1-3F97-4C3F-AB84-7DF9D0C707E6}"/>
                </a:ext>
              </a:extLst>
            </p:cNvPr>
            <p:cNvSpPr/>
            <p:nvPr/>
          </p:nvSpPr>
          <p:spPr>
            <a:xfrm>
              <a:off x="5012857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78" name="íṡ1íḑê">
              <a:extLst>
                <a:ext uri="{FF2B5EF4-FFF2-40B4-BE49-F238E27FC236}">
                  <a16:creationId xmlns:a16="http://schemas.microsoft.com/office/drawing/2014/main" id="{62D4C41C-6B23-4855-B30C-A84A0B1BCE7D}"/>
                </a:ext>
              </a:extLst>
            </p:cNvPr>
            <p:cNvSpPr/>
            <p:nvPr/>
          </p:nvSpPr>
          <p:spPr>
            <a:xfrm>
              <a:off x="5012857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7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79" name="íSlíde">
              <a:extLst>
                <a:ext uri="{FF2B5EF4-FFF2-40B4-BE49-F238E27FC236}">
                  <a16:creationId xmlns:a16="http://schemas.microsoft.com/office/drawing/2014/main" id="{70BED330-5CE9-4093-83FA-016E477DEDE2}"/>
                </a:ext>
              </a:extLst>
            </p:cNvPr>
            <p:cNvCxnSpPr/>
            <p:nvPr/>
          </p:nvCxnSpPr>
          <p:spPr>
            <a:xfrm>
              <a:off x="3545417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ïṧ1ïḋé">
              <a:extLst>
                <a:ext uri="{FF2B5EF4-FFF2-40B4-BE49-F238E27FC236}">
                  <a16:creationId xmlns:a16="http://schemas.microsoft.com/office/drawing/2014/main" id="{366E308D-D994-48F7-A581-A2C87B82B173}"/>
                </a:ext>
              </a:extLst>
            </p:cNvPr>
            <p:cNvCxnSpPr/>
            <p:nvPr/>
          </p:nvCxnSpPr>
          <p:spPr>
            <a:xfrm>
              <a:off x="7676339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îšliďê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869483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</a:t>
              </a:r>
              <a:r>
                <a:rPr lang="en-US" altLang="zh-CN" sz="1000" dirty="0"/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82" name="îsļîḑè">
              <a:extLst>
                <a:ext uri="{FF2B5EF4-FFF2-40B4-BE49-F238E27FC236}">
                  <a16:creationId xmlns:a16="http://schemas.microsoft.com/office/drawing/2014/main" id="{FA58A457-91A4-452E-AAF9-6AB93E52E7CC}"/>
                </a:ext>
              </a:extLst>
            </p:cNvPr>
            <p:cNvSpPr/>
            <p:nvPr/>
          </p:nvSpPr>
          <p:spPr>
            <a:xfrm>
              <a:off x="2947396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3" name="îṥ1ïḋê">
              <a:extLst>
                <a:ext uri="{FF2B5EF4-FFF2-40B4-BE49-F238E27FC236}">
                  <a16:creationId xmlns:a16="http://schemas.microsoft.com/office/drawing/2014/main" id="{B86197FF-E0EC-442C-8544-A6ECC652B1EB}"/>
                </a:ext>
              </a:extLst>
            </p:cNvPr>
            <p:cNvSpPr/>
            <p:nvPr/>
          </p:nvSpPr>
          <p:spPr>
            <a:xfrm>
              <a:off x="7078318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4" name="ïṥlïďé">
              <a:extLst>
                <a:ext uri="{FF2B5EF4-FFF2-40B4-BE49-F238E27FC236}">
                  <a16:creationId xmlns:a16="http://schemas.microsoft.com/office/drawing/2014/main" id="{56F1C4F0-AE96-43E3-99BD-4AB1225D0656}"/>
                </a:ext>
              </a:extLst>
            </p:cNvPr>
            <p:cNvSpPr/>
            <p:nvPr/>
          </p:nvSpPr>
          <p:spPr>
            <a:xfrm>
              <a:off x="7078318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8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85" name="íṩľîďê">
              <a:extLst>
                <a:ext uri="{FF2B5EF4-FFF2-40B4-BE49-F238E27FC236}">
                  <a16:creationId xmlns:a16="http://schemas.microsoft.com/office/drawing/2014/main" id="{1D0EAF2A-F2B2-4634-8162-FB3D1274F3C6}"/>
                </a:ext>
              </a:extLst>
            </p:cNvPr>
            <p:cNvCxnSpPr/>
            <p:nvPr/>
          </p:nvCxnSpPr>
          <p:spPr>
            <a:xfrm>
              <a:off x="9741802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íṥ1îďê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8934946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</a:t>
              </a:r>
              <a:r>
                <a:rPr lang="en-US" altLang="zh-CN" sz="1000" dirty="0"/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87" name="ï$ľiḓè">
              <a:extLst>
                <a:ext uri="{FF2B5EF4-FFF2-40B4-BE49-F238E27FC236}">
                  <a16:creationId xmlns:a16="http://schemas.microsoft.com/office/drawing/2014/main" id="{33D59F38-F307-4EB2-BB77-EB1EE087657D}"/>
                </a:ext>
              </a:extLst>
            </p:cNvPr>
            <p:cNvSpPr/>
            <p:nvPr/>
          </p:nvSpPr>
          <p:spPr>
            <a:xfrm>
              <a:off x="9143781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8" name="íşļïḑé">
              <a:extLst>
                <a:ext uri="{FF2B5EF4-FFF2-40B4-BE49-F238E27FC236}">
                  <a16:creationId xmlns:a16="http://schemas.microsoft.com/office/drawing/2014/main" id="{74AB7032-9BC5-4E60-A9F9-2EF7CAE8EB4C}"/>
                </a:ext>
              </a:extLst>
            </p:cNvPr>
            <p:cNvSpPr/>
            <p:nvPr/>
          </p:nvSpPr>
          <p:spPr>
            <a:xfrm>
              <a:off x="9143781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9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89" name="išļidé">
              <a:extLst>
                <a:ext uri="{FF2B5EF4-FFF2-40B4-BE49-F238E27FC236}">
                  <a16:creationId xmlns:a16="http://schemas.microsoft.com/office/drawing/2014/main" id="{8B2F8D10-299A-4FFB-9384-0F22784FC2CA}"/>
                </a:ext>
              </a:extLst>
            </p:cNvPr>
            <p:cNvSpPr/>
            <p:nvPr/>
          </p:nvSpPr>
          <p:spPr>
            <a:xfrm>
              <a:off x="1312964" y="2288371"/>
              <a:ext cx="333981" cy="406585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0" name="íš1îḓé">
              <a:extLst>
                <a:ext uri="{FF2B5EF4-FFF2-40B4-BE49-F238E27FC236}">
                  <a16:creationId xmlns:a16="http://schemas.microsoft.com/office/drawing/2014/main" id="{5351F107-D992-42CB-97CE-898E7043D605}"/>
                </a:ext>
              </a:extLst>
            </p:cNvPr>
            <p:cNvSpPr/>
            <p:nvPr/>
          </p:nvSpPr>
          <p:spPr>
            <a:xfrm>
              <a:off x="3342124" y="1390919"/>
              <a:ext cx="406585" cy="304939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1" name="îSlîdê">
              <a:extLst>
                <a:ext uri="{FF2B5EF4-FFF2-40B4-BE49-F238E27FC236}">
                  <a16:creationId xmlns:a16="http://schemas.microsoft.com/office/drawing/2014/main" id="{3417C159-5017-42A8-84FA-86409E4AD7C5}"/>
                </a:ext>
              </a:extLst>
            </p:cNvPr>
            <p:cNvSpPr/>
            <p:nvPr/>
          </p:nvSpPr>
          <p:spPr>
            <a:xfrm>
              <a:off x="5407584" y="2292001"/>
              <a:ext cx="406585" cy="399325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2" name="isļide">
              <a:extLst>
                <a:ext uri="{FF2B5EF4-FFF2-40B4-BE49-F238E27FC236}">
                  <a16:creationId xmlns:a16="http://schemas.microsoft.com/office/drawing/2014/main" id="{AEE4E26D-42EB-41D3-A93A-02899526D59E}"/>
                </a:ext>
              </a:extLst>
            </p:cNvPr>
            <p:cNvSpPr/>
            <p:nvPr/>
          </p:nvSpPr>
          <p:spPr>
            <a:xfrm>
              <a:off x="7490877" y="1340096"/>
              <a:ext cx="370920" cy="406585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3" name="îšḷïḑê">
              <a:extLst>
                <a:ext uri="{FF2B5EF4-FFF2-40B4-BE49-F238E27FC236}">
                  <a16:creationId xmlns:a16="http://schemas.microsoft.com/office/drawing/2014/main" id="{CF10C170-5090-4ACD-9EB1-1E99D28A63E6}"/>
                </a:ext>
              </a:extLst>
            </p:cNvPr>
            <p:cNvSpPr/>
            <p:nvPr/>
          </p:nvSpPr>
          <p:spPr>
            <a:xfrm>
              <a:off x="9549596" y="2288371"/>
              <a:ext cx="384408" cy="406585"/>
            </a:xfrm>
            <a:custGeom>
              <a:avLst/>
              <a:gdLst>
                <a:gd name="connsiteX0" fmla="*/ 371475 w 495300"/>
                <a:gd name="connsiteY0" fmla="*/ 0 h 523875"/>
                <a:gd name="connsiteX1" fmla="*/ 400050 w 495300"/>
                <a:gd name="connsiteY1" fmla="*/ 28575 h 523875"/>
                <a:gd name="connsiteX2" fmla="*/ 400050 w 495300"/>
                <a:gd name="connsiteY2" fmla="*/ 133350 h 523875"/>
                <a:gd name="connsiteX3" fmla="*/ 371475 w 495300"/>
                <a:gd name="connsiteY3" fmla="*/ 161925 h 523875"/>
                <a:gd name="connsiteX4" fmla="*/ 257175 w 495300"/>
                <a:gd name="connsiteY4" fmla="*/ 161925 h 523875"/>
                <a:gd name="connsiteX5" fmla="*/ 257175 w 495300"/>
                <a:gd name="connsiteY5" fmla="*/ 285750 h 523875"/>
                <a:gd name="connsiteX6" fmla="*/ 419100 w 495300"/>
                <a:gd name="connsiteY6" fmla="*/ 285750 h 523875"/>
                <a:gd name="connsiteX7" fmla="*/ 457200 w 495300"/>
                <a:gd name="connsiteY7" fmla="*/ 321945 h 523875"/>
                <a:gd name="connsiteX8" fmla="*/ 457200 w 495300"/>
                <a:gd name="connsiteY8" fmla="*/ 323850 h 523875"/>
                <a:gd name="connsiteX9" fmla="*/ 457200 w 495300"/>
                <a:gd name="connsiteY9" fmla="*/ 428625 h 523875"/>
                <a:gd name="connsiteX10" fmla="*/ 476250 w 495300"/>
                <a:gd name="connsiteY10" fmla="*/ 428625 h 523875"/>
                <a:gd name="connsiteX11" fmla="*/ 495300 w 495300"/>
                <a:gd name="connsiteY11" fmla="*/ 447675 h 523875"/>
                <a:gd name="connsiteX12" fmla="*/ 495300 w 495300"/>
                <a:gd name="connsiteY12" fmla="*/ 504825 h 523875"/>
                <a:gd name="connsiteX13" fmla="*/ 476250 w 495300"/>
                <a:gd name="connsiteY13" fmla="*/ 523875 h 523875"/>
                <a:gd name="connsiteX14" fmla="*/ 419100 w 495300"/>
                <a:gd name="connsiteY14" fmla="*/ 523875 h 523875"/>
                <a:gd name="connsiteX15" fmla="*/ 400050 w 495300"/>
                <a:gd name="connsiteY15" fmla="*/ 504825 h 523875"/>
                <a:gd name="connsiteX16" fmla="*/ 400050 w 495300"/>
                <a:gd name="connsiteY16" fmla="*/ 447675 h 523875"/>
                <a:gd name="connsiteX17" fmla="*/ 419100 w 495300"/>
                <a:gd name="connsiteY17" fmla="*/ 428625 h 523875"/>
                <a:gd name="connsiteX18" fmla="*/ 438150 w 495300"/>
                <a:gd name="connsiteY18" fmla="*/ 428625 h 523875"/>
                <a:gd name="connsiteX19" fmla="*/ 438150 w 495300"/>
                <a:gd name="connsiteY19" fmla="*/ 323850 h 523875"/>
                <a:gd name="connsiteX20" fmla="*/ 420529 w 495300"/>
                <a:gd name="connsiteY20" fmla="*/ 304895 h 523875"/>
                <a:gd name="connsiteX21" fmla="*/ 419100 w 495300"/>
                <a:gd name="connsiteY21" fmla="*/ 304800 h 523875"/>
                <a:gd name="connsiteX22" fmla="*/ 257175 w 495300"/>
                <a:gd name="connsiteY22" fmla="*/ 304800 h 523875"/>
                <a:gd name="connsiteX23" fmla="*/ 257175 w 495300"/>
                <a:gd name="connsiteY23" fmla="*/ 428625 h 523875"/>
                <a:gd name="connsiteX24" fmla="*/ 276225 w 495300"/>
                <a:gd name="connsiteY24" fmla="*/ 428625 h 523875"/>
                <a:gd name="connsiteX25" fmla="*/ 295275 w 495300"/>
                <a:gd name="connsiteY25" fmla="*/ 447675 h 523875"/>
                <a:gd name="connsiteX26" fmla="*/ 295275 w 495300"/>
                <a:gd name="connsiteY26" fmla="*/ 504825 h 523875"/>
                <a:gd name="connsiteX27" fmla="*/ 276225 w 495300"/>
                <a:gd name="connsiteY27" fmla="*/ 523875 h 523875"/>
                <a:gd name="connsiteX28" fmla="*/ 219075 w 495300"/>
                <a:gd name="connsiteY28" fmla="*/ 523875 h 523875"/>
                <a:gd name="connsiteX29" fmla="*/ 200025 w 495300"/>
                <a:gd name="connsiteY29" fmla="*/ 504825 h 523875"/>
                <a:gd name="connsiteX30" fmla="*/ 200025 w 495300"/>
                <a:gd name="connsiteY30" fmla="*/ 447675 h 523875"/>
                <a:gd name="connsiteX31" fmla="*/ 219075 w 495300"/>
                <a:gd name="connsiteY31" fmla="*/ 428625 h 523875"/>
                <a:gd name="connsiteX32" fmla="*/ 238125 w 495300"/>
                <a:gd name="connsiteY32" fmla="*/ 428625 h 523875"/>
                <a:gd name="connsiteX33" fmla="*/ 238125 w 495300"/>
                <a:gd name="connsiteY33" fmla="*/ 304800 h 523875"/>
                <a:gd name="connsiteX34" fmla="*/ 76200 w 495300"/>
                <a:gd name="connsiteY34" fmla="*/ 304800 h 523875"/>
                <a:gd name="connsiteX35" fmla="*/ 57245 w 495300"/>
                <a:gd name="connsiteY35" fmla="*/ 322421 h 523875"/>
                <a:gd name="connsiteX36" fmla="*/ 57150 w 495300"/>
                <a:gd name="connsiteY36" fmla="*/ 323850 h 523875"/>
                <a:gd name="connsiteX37" fmla="*/ 57150 w 495300"/>
                <a:gd name="connsiteY37" fmla="*/ 428625 h 523875"/>
                <a:gd name="connsiteX38" fmla="*/ 76200 w 495300"/>
                <a:gd name="connsiteY38" fmla="*/ 428625 h 523875"/>
                <a:gd name="connsiteX39" fmla="*/ 95250 w 495300"/>
                <a:gd name="connsiteY39" fmla="*/ 447675 h 523875"/>
                <a:gd name="connsiteX40" fmla="*/ 95250 w 495300"/>
                <a:gd name="connsiteY40" fmla="*/ 504825 h 523875"/>
                <a:gd name="connsiteX41" fmla="*/ 76200 w 495300"/>
                <a:gd name="connsiteY41" fmla="*/ 523875 h 523875"/>
                <a:gd name="connsiteX42" fmla="*/ 19050 w 495300"/>
                <a:gd name="connsiteY42" fmla="*/ 523875 h 523875"/>
                <a:gd name="connsiteX43" fmla="*/ 0 w 495300"/>
                <a:gd name="connsiteY43" fmla="*/ 504825 h 523875"/>
                <a:gd name="connsiteX44" fmla="*/ 0 w 495300"/>
                <a:gd name="connsiteY44" fmla="*/ 447675 h 523875"/>
                <a:gd name="connsiteX45" fmla="*/ 19050 w 495300"/>
                <a:gd name="connsiteY45" fmla="*/ 428625 h 523875"/>
                <a:gd name="connsiteX46" fmla="*/ 38100 w 495300"/>
                <a:gd name="connsiteY46" fmla="*/ 428625 h 523875"/>
                <a:gd name="connsiteX47" fmla="*/ 38100 w 495300"/>
                <a:gd name="connsiteY47" fmla="*/ 323850 h 523875"/>
                <a:gd name="connsiteX48" fmla="*/ 74295 w 495300"/>
                <a:gd name="connsiteY48" fmla="*/ 285750 h 523875"/>
                <a:gd name="connsiteX49" fmla="*/ 76200 w 495300"/>
                <a:gd name="connsiteY49" fmla="*/ 285750 h 523875"/>
                <a:gd name="connsiteX50" fmla="*/ 238125 w 495300"/>
                <a:gd name="connsiteY50" fmla="*/ 285750 h 523875"/>
                <a:gd name="connsiteX51" fmla="*/ 238125 w 495300"/>
                <a:gd name="connsiteY51" fmla="*/ 161925 h 523875"/>
                <a:gd name="connsiteX52" fmla="*/ 123825 w 495300"/>
                <a:gd name="connsiteY52" fmla="*/ 161925 h 523875"/>
                <a:gd name="connsiteX53" fmla="*/ 95250 w 495300"/>
                <a:gd name="connsiteY53" fmla="*/ 133350 h 523875"/>
                <a:gd name="connsiteX54" fmla="*/ 95250 w 495300"/>
                <a:gd name="connsiteY54" fmla="*/ 28575 h 523875"/>
                <a:gd name="connsiteX55" fmla="*/ 123825 w 495300"/>
                <a:gd name="connsiteY55" fmla="*/ 0 h 523875"/>
                <a:gd name="connsiteX56" fmla="*/ 371475 w 495300"/>
                <a:gd name="connsiteY56" fmla="*/ 0 h 523875"/>
                <a:gd name="connsiteX57" fmla="*/ 147638 w 495300"/>
                <a:gd name="connsiteY57" fmla="*/ 95250 h 523875"/>
                <a:gd name="connsiteX58" fmla="*/ 133350 w 495300"/>
                <a:gd name="connsiteY58" fmla="*/ 109538 h 523875"/>
                <a:gd name="connsiteX59" fmla="*/ 147638 w 495300"/>
                <a:gd name="connsiteY59" fmla="*/ 123825 h 523875"/>
                <a:gd name="connsiteX60" fmla="*/ 161925 w 495300"/>
                <a:gd name="connsiteY60" fmla="*/ 109538 h 523875"/>
                <a:gd name="connsiteX61" fmla="*/ 147638 w 495300"/>
                <a:gd name="connsiteY61" fmla="*/ 9525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95300" h="523875">
                  <a:moveTo>
                    <a:pt x="371475" y="0"/>
                  </a:moveTo>
                  <a:cubicBezTo>
                    <a:pt x="387287" y="0"/>
                    <a:pt x="400050" y="12763"/>
                    <a:pt x="400050" y="28575"/>
                  </a:cubicBezTo>
                  <a:lnTo>
                    <a:pt x="400050" y="133350"/>
                  </a:lnTo>
                  <a:cubicBezTo>
                    <a:pt x="400050" y="149162"/>
                    <a:pt x="387287" y="161925"/>
                    <a:pt x="371475" y="161925"/>
                  </a:cubicBezTo>
                  <a:lnTo>
                    <a:pt x="257175" y="161925"/>
                  </a:lnTo>
                  <a:lnTo>
                    <a:pt x="257175" y="285750"/>
                  </a:lnTo>
                  <a:lnTo>
                    <a:pt x="419100" y="285750"/>
                  </a:lnTo>
                  <a:cubicBezTo>
                    <a:pt x="439484" y="285750"/>
                    <a:pt x="456152" y="301752"/>
                    <a:pt x="457200" y="321945"/>
                  </a:cubicBezTo>
                  <a:lnTo>
                    <a:pt x="457200" y="323850"/>
                  </a:lnTo>
                  <a:lnTo>
                    <a:pt x="457200" y="428625"/>
                  </a:lnTo>
                  <a:lnTo>
                    <a:pt x="476250" y="428625"/>
                  </a:lnTo>
                  <a:cubicBezTo>
                    <a:pt x="486728" y="428625"/>
                    <a:pt x="495300" y="437198"/>
                    <a:pt x="495300" y="447675"/>
                  </a:cubicBezTo>
                  <a:lnTo>
                    <a:pt x="495300" y="504825"/>
                  </a:lnTo>
                  <a:cubicBezTo>
                    <a:pt x="495300" y="515303"/>
                    <a:pt x="486728" y="523875"/>
                    <a:pt x="476250" y="523875"/>
                  </a:cubicBezTo>
                  <a:lnTo>
                    <a:pt x="419100" y="523875"/>
                  </a:lnTo>
                  <a:cubicBezTo>
                    <a:pt x="408622" y="523875"/>
                    <a:pt x="400050" y="515303"/>
                    <a:pt x="400050" y="504825"/>
                  </a:cubicBezTo>
                  <a:lnTo>
                    <a:pt x="400050" y="447675"/>
                  </a:lnTo>
                  <a:cubicBezTo>
                    <a:pt x="400050" y="437198"/>
                    <a:pt x="408622" y="428625"/>
                    <a:pt x="419100" y="428625"/>
                  </a:cubicBezTo>
                  <a:lnTo>
                    <a:pt x="438150" y="428625"/>
                  </a:lnTo>
                  <a:lnTo>
                    <a:pt x="438150" y="323850"/>
                  </a:lnTo>
                  <a:cubicBezTo>
                    <a:pt x="438150" y="313849"/>
                    <a:pt x="430339" y="305562"/>
                    <a:pt x="420529" y="304895"/>
                  </a:cubicBezTo>
                  <a:lnTo>
                    <a:pt x="419100" y="304800"/>
                  </a:lnTo>
                  <a:lnTo>
                    <a:pt x="257175" y="304800"/>
                  </a:lnTo>
                  <a:lnTo>
                    <a:pt x="257175" y="428625"/>
                  </a:lnTo>
                  <a:lnTo>
                    <a:pt x="276225" y="428625"/>
                  </a:lnTo>
                  <a:cubicBezTo>
                    <a:pt x="286703" y="428625"/>
                    <a:pt x="295275" y="437198"/>
                    <a:pt x="295275" y="447675"/>
                  </a:cubicBezTo>
                  <a:lnTo>
                    <a:pt x="295275" y="504825"/>
                  </a:lnTo>
                  <a:cubicBezTo>
                    <a:pt x="295275" y="515303"/>
                    <a:pt x="286703" y="523875"/>
                    <a:pt x="276225" y="523875"/>
                  </a:cubicBezTo>
                  <a:lnTo>
                    <a:pt x="219075" y="523875"/>
                  </a:lnTo>
                  <a:cubicBezTo>
                    <a:pt x="208597" y="523875"/>
                    <a:pt x="200025" y="515303"/>
                    <a:pt x="200025" y="504825"/>
                  </a:cubicBezTo>
                  <a:lnTo>
                    <a:pt x="200025" y="447675"/>
                  </a:lnTo>
                  <a:cubicBezTo>
                    <a:pt x="200025" y="437198"/>
                    <a:pt x="208597" y="428625"/>
                    <a:pt x="219075" y="428625"/>
                  </a:cubicBezTo>
                  <a:lnTo>
                    <a:pt x="238125" y="428625"/>
                  </a:lnTo>
                  <a:lnTo>
                    <a:pt x="238125" y="304800"/>
                  </a:lnTo>
                  <a:lnTo>
                    <a:pt x="76200" y="304800"/>
                  </a:lnTo>
                  <a:cubicBezTo>
                    <a:pt x="66199" y="304800"/>
                    <a:pt x="57912" y="312611"/>
                    <a:pt x="57245" y="322421"/>
                  </a:cubicBezTo>
                  <a:lnTo>
                    <a:pt x="57150" y="323850"/>
                  </a:lnTo>
                  <a:lnTo>
                    <a:pt x="57150" y="428625"/>
                  </a:lnTo>
                  <a:lnTo>
                    <a:pt x="76200" y="428625"/>
                  </a:lnTo>
                  <a:cubicBezTo>
                    <a:pt x="86678" y="428625"/>
                    <a:pt x="95250" y="437198"/>
                    <a:pt x="95250" y="447675"/>
                  </a:cubicBezTo>
                  <a:lnTo>
                    <a:pt x="95250" y="504825"/>
                  </a:lnTo>
                  <a:cubicBezTo>
                    <a:pt x="95250" y="515303"/>
                    <a:pt x="86678" y="523875"/>
                    <a:pt x="76200" y="523875"/>
                  </a:cubicBezTo>
                  <a:lnTo>
                    <a:pt x="19050" y="523875"/>
                  </a:lnTo>
                  <a:cubicBezTo>
                    <a:pt x="8573" y="523875"/>
                    <a:pt x="0" y="515303"/>
                    <a:pt x="0" y="504825"/>
                  </a:cubicBezTo>
                  <a:lnTo>
                    <a:pt x="0" y="447675"/>
                  </a:lnTo>
                  <a:cubicBezTo>
                    <a:pt x="0" y="437198"/>
                    <a:pt x="8573" y="428625"/>
                    <a:pt x="19050" y="428625"/>
                  </a:cubicBezTo>
                  <a:lnTo>
                    <a:pt x="38100" y="428625"/>
                  </a:lnTo>
                  <a:lnTo>
                    <a:pt x="38100" y="323850"/>
                  </a:lnTo>
                  <a:cubicBezTo>
                    <a:pt x="38100" y="303467"/>
                    <a:pt x="54102" y="286798"/>
                    <a:pt x="74295" y="285750"/>
                  </a:cubicBezTo>
                  <a:lnTo>
                    <a:pt x="76200" y="285750"/>
                  </a:lnTo>
                  <a:lnTo>
                    <a:pt x="238125" y="285750"/>
                  </a:lnTo>
                  <a:lnTo>
                    <a:pt x="238125" y="161925"/>
                  </a:lnTo>
                  <a:lnTo>
                    <a:pt x="123825" y="161925"/>
                  </a:lnTo>
                  <a:cubicBezTo>
                    <a:pt x="108013" y="161925"/>
                    <a:pt x="95250" y="149162"/>
                    <a:pt x="95250" y="133350"/>
                  </a:cubicBezTo>
                  <a:lnTo>
                    <a:pt x="95250" y="28575"/>
                  </a:lnTo>
                  <a:cubicBezTo>
                    <a:pt x="95250" y="12763"/>
                    <a:pt x="108013" y="0"/>
                    <a:pt x="123825" y="0"/>
                  </a:cubicBezTo>
                  <a:lnTo>
                    <a:pt x="371475" y="0"/>
                  </a:lnTo>
                  <a:close/>
                  <a:moveTo>
                    <a:pt x="147638" y="95250"/>
                  </a:moveTo>
                  <a:cubicBezTo>
                    <a:pt x="139732" y="95250"/>
                    <a:pt x="133350" y="101632"/>
                    <a:pt x="133350" y="109538"/>
                  </a:cubicBezTo>
                  <a:cubicBezTo>
                    <a:pt x="133350" y="117443"/>
                    <a:pt x="139732" y="123825"/>
                    <a:pt x="147638" y="123825"/>
                  </a:cubicBezTo>
                  <a:cubicBezTo>
                    <a:pt x="155543" y="123825"/>
                    <a:pt x="161925" y="117443"/>
                    <a:pt x="161925" y="109538"/>
                  </a:cubicBezTo>
                  <a:cubicBezTo>
                    <a:pt x="161925" y="101632"/>
                    <a:pt x="155543" y="95250"/>
                    <a:pt x="147638" y="9525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735950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ļíḋe">
            <a:extLst>
              <a:ext uri="{FF2B5EF4-FFF2-40B4-BE49-F238E27FC236}">
                <a16:creationId xmlns:a16="http://schemas.microsoft.com/office/drawing/2014/main" id="{F64DE655-F935-4863-A17D-D79D7092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$ľïḑê">
            <a:extLst>
              <a:ext uri="{FF2B5EF4-FFF2-40B4-BE49-F238E27FC236}">
                <a16:creationId xmlns:a16="http://schemas.microsoft.com/office/drawing/2014/main" id="{84968F1F-6FC5-459B-8339-0E8FAA491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ṥḷîḓè">
            <a:extLst>
              <a:ext uri="{FF2B5EF4-FFF2-40B4-BE49-F238E27FC236}">
                <a16:creationId xmlns:a16="http://schemas.microsoft.com/office/drawing/2014/main" id="{7BD8E3E8-A528-41D8-BC38-3206BFB39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117" name="ïsḷî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767E217-EF67-4237-A4F7-659739F5FE2E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4938"/>
            <a:ext cx="10854087" cy="5027224"/>
            <a:chOff x="669925" y="1124938"/>
            <a:chExt cx="10854087" cy="5027224"/>
          </a:xfrm>
        </p:grpSpPr>
        <p:sp>
          <p:nvSpPr>
            <p:cNvPr id="118" name="iṥľiḓè">
              <a:extLst>
                <a:ext uri="{FF2B5EF4-FFF2-40B4-BE49-F238E27FC236}">
                  <a16:creationId xmlns:a16="http://schemas.microsoft.com/office/drawing/2014/main" id="{0F4811F5-410F-4701-B90C-320E5B977427}"/>
                </a:ext>
              </a:extLst>
            </p:cNvPr>
            <p:cNvSpPr/>
            <p:nvPr/>
          </p:nvSpPr>
          <p:spPr>
            <a:xfrm rot="16200000">
              <a:off x="4390527" y="1286718"/>
              <a:ext cx="1867253" cy="154369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19" name="îŝḷiḍe">
              <a:extLst>
                <a:ext uri="{FF2B5EF4-FFF2-40B4-BE49-F238E27FC236}">
                  <a16:creationId xmlns:a16="http://schemas.microsoft.com/office/drawing/2014/main" id="{70CCC1BF-E2A8-4F3A-A09C-181639DECE34}"/>
                </a:ext>
              </a:extLst>
            </p:cNvPr>
            <p:cNvSpPr/>
            <p:nvPr/>
          </p:nvSpPr>
          <p:spPr>
            <a:xfrm rot="16200000">
              <a:off x="4390527" y="3514052"/>
              <a:ext cx="1867253" cy="154369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120" name="íṧḻîdê">
              <a:extLst>
                <a:ext uri="{FF2B5EF4-FFF2-40B4-BE49-F238E27FC236}">
                  <a16:creationId xmlns:a16="http://schemas.microsoft.com/office/drawing/2014/main" id="{56D755B7-6947-472E-BE09-2A36BAB01F1E}"/>
                </a:ext>
              </a:extLst>
            </p:cNvPr>
            <p:cNvGrpSpPr/>
            <p:nvPr/>
          </p:nvGrpSpPr>
          <p:grpSpPr>
            <a:xfrm>
              <a:off x="6096000" y="2059555"/>
              <a:ext cx="1543693" cy="4092607"/>
              <a:chOff x="6096000" y="2059555"/>
              <a:chExt cx="1543693" cy="4092607"/>
            </a:xfrm>
          </p:grpSpPr>
          <p:sp>
            <p:nvSpPr>
              <p:cNvPr id="143" name="îṣlïḓe">
                <a:extLst>
                  <a:ext uri="{FF2B5EF4-FFF2-40B4-BE49-F238E27FC236}">
                    <a16:creationId xmlns:a16="http://schemas.microsoft.com/office/drawing/2014/main" id="{1129F0CB-0CA6-4875-A892-21324CDB0A10}"/>
                  </a:ext>
                </a:extLst>
              </p:cNvPr>
              <p:cNvSpPr/>
              <p:nvPr/>
            </p:nvSpPr>
            <p:spPr>
              <a:xfrm rot="5400000" flipH="1">
                <a:off x="5934220" y="2221335"/>
                <a:ext cx="1867253" cy="1543693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44" name="iṡḷíḓe">
                <a:extLst>
                  <a:ext uri="{FF2B5EF4-FFF2-40B4-BE49-F238E27FC236}">
                    <a16:creationId xmlns:a16="http://schemas.microsoft.com/office/drawing/2014/main" id="{543BD8C9-AAB8-4E64-8E14-2F589C6CFA63}"/>
                  </a:ext>
                </a:extLst>
              </p:cNvPr>
              <p:cNvSpPr/>
              <p:nvPr/>
            </p:nvSpPr>
            <p:spPr>
              <a:xfrm rot="5400000" flipH="1">
                <a:off x="5934220" y="4446689"/>
                <a:ext cx="1867253" cy="1543693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125" name="išľíḍé">
              <a:extLst>
                <a:ext uri="{FF2B5EF4-FFF2-40B4-BE49-F238E27FC236}">
                  <a16:creationId xmlns:a16="http://schemas.microsoft.com/office/drawing/2014/main" id="{4B491B76-4B57-4FC7-A314-C88853844C49}"/>
                </a:ext>
              </a:extLst>
            </p:cNvPr>
            <p:cNvGrpSpPr/>
            <p:nvPr/>
          </p:nvGrpSpPr>
          <p:grpSpPr>
            <a:xfrm>
              <a:off x="669925" y="3729954"/>
              <a:ext cx="3285153" cy="1111889"/>
              <a:chOff x="669926" y="4886849"/>
              <a:chExt cx="3131158" cy="1111889"/>
            </a:xfrm>
          </p:grpSpPr>
          <p:sp>
            <p:nvSpPr>
              <p:cNvPr id="141" name="îṧļidê">
                <a:extLst>
                  <a:ext uri="{FF2B5EF4-FFF2-40B4-BE49-F238E27FC236}">
                    <a16:creationId xmlns:a16="http://schemas.microsoft.com/office/drawing/2014/main" id="{E25C91AB-C644-4D4B-A820-E061CB4FCE82}"/>
                  </a:ext>
                </a:extLst>
              </p:cNvPr>
              <p:cNvSpPr/>
              <p:nvPr/>
            </p:nvSpPr>
            <p:spPr bwMode="auto">
              <a:xfrm>
                <a:off x="669926" y="5274447"/>
                <a:ext cx="3131158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2" name="işlïḋê">
                <a:extLst>
                  <a:ext uri="{FF2B5EF4-FFF2-40B4-BE49-F238E27FC236}">
                    <a16:creationId xmlns:a16="http://schemas.microsoft.com/office/drawing/2014/main" id="{67949EBC-5366-46A9-B090-AFA8A6A1B589}"/>
                  </a:ext>
                </a:extLst>
              </p:cNvPr>
              <p:cNvSpPr txBox="1"/>
              <p:nvPr/>
            </p:nvSpPr>
            <p:spPr bwMode="auto">
              <a:xfrm>
                <a:off x="669926" y="4886849"/>
                <a:ext cx="3131158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26" name="îṡ1ïḓe">
              <a:extLst>
                <a:ext uri="{FF2B5EF4-FFF2-40B4-BE49-F238E27FC236}">
                  <a16:creationId xmlns:a16="http://schemas.microsoft.com/office/drawing/2014/main" id="{699651D3-893E-4E96-B6BF-D89F03FC83A5}"/>
                </a:ext>
              </a:extLst>
            </p:cNvPr>
            <p:cNvGrpSpPr/>
            <p:nvPr/>
          </p:nvGrpSpPr>
          <p:grpSpPr>
            <a:xfrm>
              <a:off x="673571" y="1502620"/>
              <a:ext cx="3285153" cy="1111889"/>
              <a:chOff x="669926" y="4886849"/>
              <a:chExt cx="3131158" cy="1111889"/>
            </a:xfrm>
          </p:grpSpPr>
          <p:sp>
            <p:nvSpPr>
              <p:cNvPr id="139" name="ïsḷídè">
                <a:extLst>
                  <a:ext uri="{FF2B5EF4-FFF2-40B4-BE49-F238E27FC236}">
                    <a16:creationId xmlns:a16="http://schemas.microsoft.com/office/drawing/2014/main" id="{AAE32FE0-9DE4-4F55-A251-C93580932578}"/>
                  </a:ext>
                </a:extLst>
              </p:cNvPr>
              <p:cNvSpPr/>
              <p:nvPr/>
            </p:nvSpPr>
            <p:spPr bwMode="auto">
              <a:xfrm>
                <a:off x="669926" y="5274447"/>
                <a:ext cx="3131158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0" name="îṡḻîdè">
                <a:extLst>
                  <a:ext uri="{FF2B5EF4-FFF2-40B4-BE49-F238E27FC236}">
                    <a16:creationId xmlns:a16="http://schemas.microsoft.com/office/drawing/2014/main" id="{0471D6D2-8C0F-4BED-ADF1-CD8210D79BDB}"/>
                  </a:ext>
                </a:extLst>
              </p:cNvPr>
              <p:cNvSpPr txBox="1"/>
              <p:nvPr/>
            </p:nvSpPr>
            <p:spPr bwMode="auto">
              <a:xfrm>
                <a:off x="669926" y="4886849"/>
                <a:ext cx="3131158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127" name="îsľíďè">
              <a:extLst>
                <a:ext uri="{FF2B5EF4-FFF2-40B4-BE49-F238E27FC236}">
                  <a16:creationId xmlns:a16="http://schemas.microsoft.com/office/drawing/2014/main" id="{EA1D2DE2-08BC-4788-9F22-02FC60B1EF3B}"/>
                </a:ext>
              </a:extLst>
            </p:cNvPr>
            <p:cNvCxnSpPr/>
            <p:nvPr/>
          </p:nvCxnSpPr>
          <p:spPr>
            <a:xfrm>
              <a:off x="669925" y="3193734"/>
              <a:ext cx="342306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íŝļîḓé">
              <a:extLst>
                <a:ext uri="{FF2B5EF4-FFF2-40B4-BE49-F238E27FC236}">
                  <a16:creationId xmlns:a16="http://schemas.microsoft.com/office/drawing/2014/main" id="{52CD3FF3-A996-4FE1-8858-EED16858EAB0}"/>
                </a:ext>
              </a:extLst>
            </p:cNvPr>
            <p:cNvGrpSpPr/>
            <p:nvPr/>
          </p:nvGrpSpPr>
          <p:grpSpPr>
            <a:xfrm>
              <a:off x="8210606" y="4663581"/>
              <a:ext cx="3309878" cy="1111889"/>
              <a:chOff x="669925" y="4886849"/>
              <a:chExt cx="3262606" cy="1111889"/>
            </a:xfrm>
          </p:grpSpPr>
          <p:sp>
            <p:nvSpPr>
              <p:cNvPr id="137" name="ïślïďè">
                <a:extLst>
                  <a:ext uri="{FF2B5EF4-FFF2-40B4-BE49-F238E27FC236}">
                    <a16:creationId xmlns:a16="http://schemas.microsoft.com/office/drawing/2014/main" id="{17EBA93E-E542-4309-9958-FBF6D7FC256C}"/>
                  </a:ext>
                </a:extLst>
              </p:cNvPr>
              <p:cNvSpPr/>
              <p:nvPr/>
            </p:nvSpPr>
            <p:spPr bwMode="auto">
              <a:xfrm>
                <a:off x="669925" y="5274447"/>
                <a:ext cx="3262606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8" name="iś1íḍè">
                <a:extLst>
                  <a:ext uri="{FF2B5EF4-FFF2-40B4-BE49-F238E27FC236}">
                    <a16:creationId xmlns:a16="http://schemas.microsoft.com/office/drawing/2014/main" id="{05CDA673-DDB4-458A-BD85-3349C75D1D0D}"/>
                  </a:ext>
                </a:extLst>
              </p:cNvPr>
              <p:cNvSpPr txBox="1"/>
              <p:nvPr/>
            </p:nvSpPr>
            <p:spPr bwMode="auto">
              <a:xfrm>
                <a:off x="669925" y="4886849"/>
                <a:ext cx="3262606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29" name="ïṡḷiḍê">
              <a:extLst>
                <a:ext uri="{FF2B5EF4-FFF2-40B4-BE49-F238E27FC236}">
                  <a16:creationId xmlns:a16="http://schemas.microsoft.com/office/drawing/2014/main" id="{C7BC37CE-1795-4295-8775-9217A84B7E29}"/>
                </a:ext>
              </a:extLst>
            </p:cNvPr>
            <p:cNvGrpSpPr/>
            <p:nvPr/>
          </p:nvGrpSpPr>
          <p:grpSpPr>
            <a:xfrm>
              <a:off x="8214132" y="2436247"/>
              <a:ext cx="3309880" cy="1111889"/>
              <a:chOff x="669925" y="4886849"/>
              <a:chExt cx="3262608" cy="1111889"/>
            </a:xfrm>
          </p:grpSpPr>
          <p:sp>
            <p:nvSpPr>
              <p:cNvPr id="135" name="ïṥḻîde">
                <a:extLst>
                  <a:ext uri="{FF2B5EF4-FFF2-40B4-BE49-F238E27FC236}">
                    <a16:creationId xmlns:a16="http://schemas.microsoft.com/office/drawing/2014/main" id="{AE46CD39-268F-4172-8F30-FDC7CAF663DE}"/>
                  </a:ext>
                </a:extLst>
              </p:cNvPr>
              <p:cNvSpPr/>
              <p:nvPr/>
            </p:nvSpPr>
            <p:spPr bwMode="auto">
              <a:xfrm>
                <a:off x="669925" y="5274447"/>
                <a:ext cx="3262606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6" name="îśľîḑe">
                <a:extLst>
                  <a:ext uri="{FF2B5EF4-FFF2-40B4-BE49-F238E27FC236}">
                    <a16:creationId xmlns:a16="http://schemas.microsoft.com/office/drawing/2014/main" id="{93201E58-003B-471D-AAA9-60699DE281CF}"/>
                  </a:ext>
                </a:extLst>
              </p:cNvPr>
              <p:cNvSpPr txBox="1"/>
              <p:nvPr/>
            </p:nvSpPr>
            <p:spPr bwMode="auto">
              <a:xfrm>
                <a:off x="669926" y="4886849"/>
                <a:ext cx="326260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130" name="îṡliḑê">
              <a:extLst>
                <a:ext uri="{FF2B5EF4-FFF2-40B4-BE49-F238E27FC236}">
                  <a16:creationId xmlns:a16="http://schemas.microsoft.com/office/drawing/2014/main" id="{5FC17EDD-8E45-4A6F-9C07-4DAD7310250D}"/>
                </a:ext>
              </a:extLst>
            </p:cNvPr>
            <p:cNvCxnSpPr/>
            <p:nvPr/>
          </p:nvCxnSpPr>
          <p:spPr>
            <a:xfrm>
              <a:off x="8210607" y="4127361"/>
              <a:ext cx="3309879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iṣľíḍé">
              <a:extLst>
                <a:ext uri="{FF2B5EF4-FFF2-40B4-BE49-F238E27FC236}">
                  <a16:creationId xmlns:a16="http://schemas.microsoft.com/office/drawing/2014/main" id="{F2B2328D-2DB9-4ED2-A074-D574F256079F}"/>
                </a:ext>
              </a:extLst>
            </p:cNvPr>
            <p:cNvSpPr/>
            <p:nvPr/>
          </p:nvSpPr>
          <p:spPr>
            <a:xfrm>
              <a:off x="4040289" y="1742899"/>
              <a:ext cx="631332" cy="63133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800" b="1" dirty="0">
                  <a:solidFill>
                    <a:schemeClr val="tx1"/>
                  </a:solidFill>
                </a:rPr>
                <a:t>1</a:t>
              </a:r>
              <a:endParaRPr sz="2800" b="1" dirty="0">
                <a:solidFill>
                  <a:schemeClr val="tx1"/>
                </a:solidFill>
              </a:endParaRPr>
            </a:p>
          </p:txBody>
        </p:sp>
        <p:sp>
          <p:nvSpPr>
            <p:cNvPr id="132" name="íṡļiḍé">
              <a:extLst>
                <a:ext uri="{FF2B5EF4-FFF2-40B4-BE49-F238E27FC236}">
                  <a16:creationId xmlns:a16="http://schemas.microsoft.com/office/drawing/2014/main" id="{829F984C-12DA-4FB9-B1DA-66DB952543CC}"/>
                </a:ext>
              </a:extLst>
            </p:cNvPr>
            <p:cNvSpPr/>
            <p:nvPr/>
          </p:nvSpPr>
          <p:spPr>
            <a:xfrm>
              <a:off x="4040289" y="3970232"/>
              <a:ext cx="631332" cy="63133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8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33" name="î$lîḑe">
              <a:extLst>
                <a:ext uri="{FF2B5EF4-FFF2-40B4-BE49-F238E27FC236}">
                  <a16:creationId xmlns:a16="http://schemas.microsoft.com/office/drawing/2014/main" id="{0D4BB045-BED0-4C92-8A4F-70E465DC34A3}"/>
                </a:ext>
              </a:extLst>
            </p:cNvPr>
            <p:cNvSpPr/>
            <p:nvPr/>
          </p:nvSpPr>
          <p:spPr>
            <a:xfrm>
              <a:off x="7528090" y="2676525"/>
              <a:ext cx="631332" cy="63133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800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34" name="ïs1iḍé">
              <a:extLst>
                <a:ext uri="{FF2B5EF4-FFF2-40B4-BE49-F238E27FC236}">
                  <a16:creationId xmlns:a16="http://schemas.microsoft.com/office/drawing/2014/main" id="{3A1EA82F-DC21-41FC-97EC-E1838513C60B}"/>
                </a:ext>
              </a:extLst>
            </p:cNvPr>
            <p:cNvSpPr/>
            <p:nvPr/>
          </p:nvSpPr>
          <p:spPr>
            <a:xfrm>
              <a:off x="7528090" y="4902869"/>
              <a:ext cx="631332" cy="63133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800" b="1" dirty="0">
                  <a:solidFill>
                    <a:schemeClr val="tx1"/>
                  </a:solidFill>
                </a:rPr>
                <a:t>4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35460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ḷï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ḷïdê">
            <a:extLst>
              <a:ext uri="{FF2B5EF4-FFF2-40B4-BE49-F238E27FC236}">
                <a16:creationId xmlns:a16="http://schemas.microsoft.com/office/drawing/2014/main" id="{E117ECD5-55A2-4735-8576-8B2C6ADD6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ṩ1iḋê">
            <a:extLst>
              <a:ext uri="{FF2B5EF4-FFF2-40B4-BE49-F238E27FC236}">
                <a16:creationId xmlns:a16="http://schemas.microsoft.com/office/drawing/2014/main" id="{1AF86E5F-05EA-4C73-9885-7D5C87412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ṩḻïdè">
            <a:extLst>
              <a:ext uri="{FF2B5EF4-FFF2-40B4-BE49-F238E27FC236}">
                <a16:creationId xmlns:a16="http://schemas.microsoft.com/office/drawing/2014/main" id="{C8009FEB-8F6B-471C-987B-140AD91C2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138" name="ïšḷiḍè">
            <a:extLst>
              <a:ext uri="{FF2B5EF4-FFF2-40B4-BE49-F238E27FC236}">
                <a16:creationId xmlns:a16="http://schemas.microsoft.com/office/drawing/2014/main" id="{AE0CB65C-B08E-46A3-B6F8-470A4C649B83}"/>
              </a:ext>
            </a:extLst>
          </p:cNvPr>
          <p:cNvSpPr txBox="1"/>
          <p:nvPr/>
        </p:nvSpPr>
        <p:spPr>
          <a:xfrm>
            <a:off x="1813331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/>
              <a:t>01.Text</a:t>
            </a:r>
            <a:endParaRPr lang="zh-CN" altLang="en-US" u="sng" dirty="0"/>
          </a:p>
        </p:txBody>
      </p:sp>
      <p:sp>
        <p:nvSpPr>
          <p:cNvPr id="139" name="îSlïḍe">
            <a:extLst>
              <a:ext uri="{FF2B5EF4-FFF2-40B4-BE49-F238E27FC236}">
                <a16:creationId xmlns:a16="http://schemas.microsoft.com/office/drawing/2014/main" id="{AE0CB65C-B08E-46A3-B6F8-470A4C649B83}"/>
              </a:ext>
            </a:extLst>
          </p:cNvPr>
          <p:cNvSpPr txBox="1"/>
          <p:nvPr/>
        </p:nvSpPr>
        <p:spPr>
          <a:xfrm>
            <a:off x="5601106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/>
              <a:t>02.Text</a:t>
            </a:r>
            <a:endParaRPr lang="zh-CN" altLang="en-US" u="sng" dirty="0"/>
          </a:p>
        </p:txBody>
      </p:sp>
      <p:sp>
        <p:nvSpPr>
          <p:cNvPr id="140" name="ïṥļîdé">
            <a:extLst>
              <a:ext uri="{FF2B5EF4-FFF2-40B4-BE49-F238E27FC236}">
                <a16:creationId xmlns:a16="http://schemas.microsoft.com/office/drawing/2014/main" id="{AE0CB65C-B08E-46A3-B6F8-470A4C649B83}"/>
              </a:ext>
            </a:extLst>
          </p:cNvPr>
          <p:cNvSpPr txBox="1"/>
          <p:nvPr/>
        </p:nvSpPr>
        <p:spPr>
          <a:xfrm>
            <a:off x="9388881" y="1687831"/>
            <a:ext cx="977088" cy="44767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u="sng" dirty="0"/>
              <a:t>03.Text</a:t>
            </a:r>
            <a:endParaRPr lang="zh-CN" altLang="en-US" u="sng" dirty="0"/>
          </a:p>
        </p:txBody>
      </p:sp>
      <p:sp>
        <p:nvSpPr>
          <p:cNvPr id="165" name="îŝ1íḍe">
            <a:extLst>
              <a:ext uri="{FF2B5EF4-FFF2-40B4-BE49-F238E27FC236}">
                <a16:creationId xmlns:a16="http://schemas.microsoft.com/office/drawing/2014/main" id="{D7F0859E-C5D3-4274-8F75-F619A65EF7B6}"/>
              </a:ext>
            </a:extLst>
          </p:cNvPr>
          <p:cNvSpPr/>
          <p:nvPr/>
        </p:nvSpPr>
        <p:spPr>
          <a:xfrm>
            <a:off x="1737638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1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/>
          </a:p>
        </p:txBody>
      </p:sp>
      <p:sp>
        <p:nvSpPr>
          <p:cNvPr id="166" name="iṥḷíḓe">
            <a:extLst>
              <a:ext uri="{FF2B5EF4-FFF2-40B4-BE49-F238E27FC236}">
                <a16:creationId xmlns:a16="http://schemas.microsoft.com/office/drawing/2014/main" id="{BFFBA8CA-CC0C-4A7F-875E-C5DE8F82A5D3}"/>
              </a:ext>
            </a:extLst>
          </p:cNvPr>
          <p:cNvSpPr/>
          <p:nvPr/>
        </p:nvSpPr>
        <p:spPr bwMode="auto">
          <a:xfrm>
            <a:off x="948813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67" name="îslíďê">
            <a:extLst>
              <a:ext uri="{FF2B5EF4-FFF2-40B4-BE49-F238E27FC236}">
                <a16:creationId xmlns:a16="http://schemas.microsoft.com/office/drawing/2014/main" id="{93652044-2678-49EF-901C-FC0866E8149D}"/>
              </a:ext>
            </a:extLst>
          </p:cNvPr>
          <p:cNvSpPr/>
          <p:nvPr/>
        </p:nvSpPr>
        <p:spPr bwMode="auto">
          <a:xfrm>
            <a:off x="2667400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68" name="íšľíḋe">
            <a:extLst>
              <a:ext uri="{FF2B5EF4-FFF2-40B4-BE49-F238E27FC236}">
                <a16:creationId xmlns:a16="http://schemas.microsoft.com/office/drawing/2014/main" id="{5E79F8FD-0366-4887-B948-2D3CF8BD34E9}"/>
              </a:ext>
            </a:extLst>
          </p:cNvPr>
          <p:cNvSpPr/>
          <p:nvPr/>
        </p:nvSpPr>
        <p:spPr>
          <a:xfrm>
            <a:off x="1264447" y="3093856"/>
            <a:ext cx="356268" cy="390524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69" name="îṩḻiḋé">
            <a:extLst>
              <a:ext uri="{FF2B5EF4-FFF2-40B4-BE49-F238E27FC236}">
                <a16:creationId xmlns:a16="http://schemas.microsoft.com/office/drawing/2014/main" id="{29FF4E12-59D7-4A71-8097-0EBAF63FF2CF}"/>
              </a:ext>
            </a:extLst>
          </p:cNvPr>
          <p:cNvSpPr/>
          <p:nvPr/>
        </p:nvSpPr>
        <p:spPr>
          <a:xfrm>
            <a:off x="2965906" y="3126559"/>
            <a:ext cx="390524" cy="325117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60" name="išlidè">
            <a:extLst>
              <a:ext uri="{FF2B5EF4-FFF2-40B4-BE49-F238E27FC236}">
                <a16:creationId xmlns:a16="http://schemas.microsoft.com/office/drawing/2014/main" id="{D7F0859E-C5D3-4274-8F75-F619A65EF7B6}"/>
              </a:ext>
            </a:extLst>
          </p:cNvPr>
          <p:cNvSpPr/>
          <p:nvPr/>
        </p:nvSpPr>
        <p:spPr>
          <a:xfrm>
            <a:off x="5525413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2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/>
          </a:p>
        </p:txBody>
      </p:sp>
      <p:sp>
        <p:nvSpPr>
          <p:cNvPr id="161" name="iŝļîdê">
            <a:extLst>
              <a:ext uri="{FF2B5EF4-FFF2-40B4-BE49-F238E27FC236}">
                <a16:creationId xmlns:a16="http://schemas.microsoft.com/office/drawing/2014/main" id="{B644E740-4B9E-4894-84AA-8EF73A098DAF}"/>
              </a:ext>
            </a:extLst>
          </p:cNvPr>
          <p:cNvSpPr/>
          <p:nvPr/>
        </p:nvSpPr>
        <p:spPr bwMode="auto">
          <a:xfrm>
            <a:off x="4736588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62" name="îśľidè">
            <a:extLst>
              <a:ext uri="{FF2B5EF4-FFF2-40B4-BE49-F238E27FC236}">
                <a16:creationId xmlns:a16="http://schemas.microsoft.com/office/drawing/2014/main" id="{CD51657F-92EC-481B-BC13-526D5C6EA9CC}"/>
              </a:ext>
            </a:extLst>
          </p:cNvPr>
          <p:cNvSpPr/>
          <p:nvPr/>
        </p:nvSpPr>
        <p:spPr bwMode="auto">
          <a:xfrm>
            <a:off x="6455175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63" name="ïṥļïḋè">
            <a:extLst>
              <a:ext uri="{FF2B5EF4-FFF2-40B4-BE49-F238E27FC236}">
                <a16:creationId xmlns:a16="http://schemas.microsoft.com/office/drawing/2014/main" id="{BC727162-C5D1-465B-A05F-8663F357AC4E}"/>
              </a:ext>
            </a:extLst>
          </p:cNvPr>
          <p:cNvSpPr/>
          <p:nvPr/>
        </p:nvSpPr>
        <p:spPr>
          <a:xfrm>
            <a:off x="5048777" y="3093856"/>
            <a:ext cx="363157" cy="390524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64" name="iṡľiḑê">
            <a:extLst>
              <a:ext uri="{FF2B5EF4-FFF2-40B4-BE49-F238E27FC236}">
                <a16:creationId xmlns:a16="http://schemas.microsoft.com/office/drawing/2014/main" id="{587767CA-FED7-4C5E-96D6-9504872D2606}"/>
              </a:ext>
            </a:extLst>
          </p:cNvPr>
          <p:cNvSpPr/>
          <p:nvPr/>
        </p:nvSpPr>
        <p:spPr>
          <a:xfrm>
            <a:off x="6804303" y="3093856"/>
            <a:ext cx="289277" cy="390524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55" name="işliḋê">
            <a:extLst>
              <a:ext uri="{FF2B5EF4-FFF2-40B4-BE49-F238E27FC236}">
                <a16:creationId xmlns:a16="http://schemas.microsoft.com/office/drawing/2014/main" id="{D7F0859E-C5D3-4274-8F75-F619A65EF7B6}"/>
              </a:ext>
            </a:extLst>
          </p:cNvPr>
          <p:cNvSpPr/>
          <p:nvPr/>
        </p:nvSpPr>
        <p:spPr>
          <a:xfrm>
            <a:off x="9313188" y="2355756"/>
            <a:ext cx="1128474" cy="3623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3175">
            <a:solidFill>
              <a:schemeClr val="accent3"/>
            </a:solidFill>
            <a:prstDash val="dash"/>
            <a:miter lim="400000"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600"/>
            </a:pPr>
            <a:endParaRPr sz="1800"/>
          </a:p>
        </p:txBody>
      </p:sp>
      <p:sp>
        <p:nvSpPr>
          <p:cNvPr id="156" name="îṥḻîḋè">
            <a:extLst>
              <a:ext uri="{FF2B5EF4-FFF2-40B4-BE49-F238E27FC236}">
                <a16:creationId xmlns:a16="http://schemas.microsoft.com/office/drawing/2014/main" id="{05703CB8-E05E-486E-907B-90F6C4703CA0}"/>
              </a:ext>
            </a:extLst>
          </p:cNvPr>
          <p:cNvSpPr/>
          <p:nvPr/>
        </p:nvSpPr>
        <p:spPr bwMode="auto">
          <a:xfrm>
            <a:off x="8524363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8100000" algn="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57" name="íṧḻîḓê">
            <a:extLst>
              <a:ext uri="{FF2B5EF4-FFF2-40B4-BE49-F238E27FC236}">
                <a16:creationId xmlns:a16="http://schemas.microsoft.com/office/drawing/2014/main" id="{712B8AFE-D9FB-4B76-8097-9E7110FD8A39}"/>
              </a:ext>
            </a:extLst>
          </p:cNvPr>
          <p:cNvSpPr/>
          <p:nvPr/>
        </p:nvSpPr>
        <p:spPr bwMode="auto">
          <a:xfrm>
            <a:off x="10242950" y="2795349"/>
            <a:ext cx="987538" cy="987538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58" name="îṥlîḋé">
            <a:extLst>
              <a:ext uri="{FF2B5EF4-FFF2-40B4-BE49-F238E27FC236}">
                <a16:creationId xmlns:a16="http://schemas.microsoft.com/office/drawing/2014/main" id="{C058FFA1-C1C9-4D50-ACC8-576C55717A18}"/>
              </a:ext>
            </a:extLst>
          </p:cNvPr>
          <p:cNvSpPr/>
          <p:nvPr/>
        </p:nvSpPr>
        <p:spPr>
          <a:xfrm>
            <a:off x="8822869" y="3111289"/>
            <a:ext cx="390524" cy="355656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accent3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59" name="iśļidê">
            <a:extLst>
              <a:ext uri="{FF2B5EF4-FFF2-40B4-BE49-F238E27FC236}">
                <a16:creationId xmlns:a16="http://schemas.microsoft.com/office/drawing/2014/main" id="{C31E71E4-7FE3-451B-B08F-3CB22207548E}"/>
              </a:ext>
            </a:extLst>
          </p:cNvPr>
          <p:cNvSpPr/>
          <p:nvPr/>
        </p:nvSpPr>
        <p:spPr>
          <a:xfrm>
            <a:off x="10541456" y="3133630"/>
            <a:ext cx="390524" cy="31097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accent3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53" name="ïS1îḍe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710464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sp>
        <p:nvSpPr>
          <p:cNvPr id="154" name="íṥ1îḍé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2429051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sp>
        <p:nvSpPr>
          <p:cNvPr id="151" name="íslíḑè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4498238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sp>
        <p:nvSpPr>
          <p:cNvPr id="152" name="íṥļîḍe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6216825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sp>
        <p:nvSpPr>
          <p:cNvPr id="149" name="îṣḷîďê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8286014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sp>
        <p:nvSpPr>
          <p:cNvPr id="150" name="iṣļiḓè">
            <a:extLst>
              <a:ext uri="{FF2B5EF4-FFF2-40B4-BE49-F238E27FC236}">
                <a16:creationId xmlns:a16="http://schemas.microsoft.com/office/drawing/2014/main" id="{BD7C3AA6-EC85-44CE-AA92-EFD8B554DA01}"/>
              </a:ext>
            </a:extLst>
          </p:cNvPr>
          <p:cNvSpPr/>
          <p:nvPr/>
        </p:nvSpPr>
        <p:spPr bwMode="auto">
          <a:xfrm>
            <a:off x="10004601" y="4062651"/>
            <a:ext cx="1464235" cy="187678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endParaRPr lang="en-US" altLang="zh-CN" sz="1100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…</a:t>
            </a:r>
          </a:p>
        </p:txBody>
      </p:sp>
      <p:cxnSp>
        <p:nvCxnSpPr>
          <p:cNvPr id="147" name="iŝľïḋè">
            <a:extLst>
              <a:ext uri="{FF2B5EF4-FFF2-40B4-BE49-F238E27FC236}">
                <a16:creationId xmlns:a16="http://schemas.microsoft.com/office/drawing/2014/main" id="{12EC4408-030E-47D5-8726-E49F84F73496}"/>
              </a:ext>
            </a:extLst>
          </p:cNvPr>
          <p:cNvCxnSpPr/>
          <p:nvPr/>
        </p:nvCxnSpPr>
        <p:spPr>
          <a:xfrm>
            <a:off x="4195762" y="1358527"/>
            <a:ext cx="0" cy="454734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ïs1îḋe">
            <a:extLst>
              <a:ext uri="{FF2B5EF4-FFF2-40B4-BE49-F238E27FC236}">
                <a16:creationId xmlns:a16="http://schemas.microsoft.com/office/drawing/2014/main" id="{3AC393FF-DE30-484D-8702-62B7EC346479}"/>
              </a:ext>
            </a:extLst>
          </p:cNvPr>
          <p:cNvCxnSpPr/>
          <p:nvPr/>
        </p:nvCxnSpPr>
        <p:spPr>
          <a:xfrm>
            <a:off x="7983536" y="1358527"/>
            <a:ext cx="0" cy="454734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9586438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ḷi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ṡļiďê">
            <a:extLst>
              <a:ext uri="{FF2B5EF4-FFF2-40B4-BE49-F238E27FC236}">
                <a16:creationId xmlns:a16="http://schemas.microsoft.com/office/drawing/2014/main" id="{73C50A0F-D9A0-4C3D-A7BC-B670DAD61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šļiḍê">
            <a:extLst>
              <a:ext uri="{FF2B5EF4-FFF2-40B4-BE49-F238E27FC236}">
                <a16:creationId xmlns:a16="http://schemas.microsoft.com/office/drawing/2014/main" id="{CA8A8B44-2D5B-4A39-9339-11B25D9C4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śľïḋê">
            <a:extLst>
              <a:ext uri="{FF2B5EF4-FFF2-40B4-BE49-F238E27FC236}">
                <a16:creationId xmlns:a16="http://schemas.microsoft.com/office/drawing/2014/main" id="{E33D5B1E-A185-42CD-962E-B18D3AE3D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35" name="iṣľíďè">
            <a:extLst>
              <a:ext uri="{FF2B5EF4-FFF2-40B4-BE49-F238E27FC236}">
                <a16:creationId xmlns:a16="http://schemas.microsoft.com/office/drawing/2014/main" id="{63CD9B97-135D-4CFA-BE6D-EDDAC3300CD9}"/>
              </a:ext>
            </a:extLst>
          </p:cNvPr>
          <p:cNvSpPr/>
          <p:nvPr/>
        </p:nvSpPr>
        <p:spPr bwMode="auto">
          <a:xfrm>
            <a:off x="3271489" y="1885215"/>
            <a:ext cx="3144886" cy="2090051"/>
          </a:xfrm>
          <a:custGeom>
            <a:avLst/>
            <a:gdLst>
              <a:gd name="T0" fmla="*/ 1443 w 1443"/>
              <a:gd name="T1" fmla="*/ 959 h 959"/>
              <a:gd name="T2" fmla="*/ 1397 w 1443"/>
              <a:gd name="T3" fmla="*/ 560 h 959"/>
              <a:gd name="T4" fmla="*/ 1300 w 1443"/>
              <a:gd name="T5" fmla="*/ 663 h 959"/>
              <a:gd name="T6" fmla="*/ 677 w 1443"/>
              <a:gd name="T7" fmla="*/ 0 h 959"/>
              <a:gd name="T8" fmla="*/ 0 w 1443"/>
              <a:gd name="T9" fmla="*/ 0 h 959"/>
              <a:gd name="T10" fmla="*/ 118 w 1443"/>
              <a:gd name="T11" fmla="*/ 99 h 959"/>
              <a:gd name="T12" fmla="*/ 4 w 1443"/>
              <a:gd name="T13" fmla="*/ 196 h 959"/>
              <a:gd name="T14" fmla="*/ 593 w 1443"/>
              <a:gd name="T15" fmla="*/ 196 h 959"/>
              <a:gd name="T16" fmla="*/ 1165 w 1443"/>
              <a:gd name="T17" fmla="*/ 804 h 959"/>
              <a:gd name="T18" fmla="*/ 1045 w 1443"/>
              <a:gd name="T19" fmla="*/ 930 h 959"/>
              <a:gd name="T20" fmla="*/ 1443 w 1443"/>
              <a:gd name="T21" fmla="*/ 959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43" h="959">
                <a:moveTo>
                  <a:pt x="1443" y="959"/>
                </a:moveTo>
                <a:lnTo>
                  <a:pt x="1397" y="560"/>
                </a:lnTo>
                <a:lnTo>
                  <a:pt x="1300" y="663"/>
                </a:lnTo>
                <a:lnTo>
                  <a:pt x="677" y="0"/>
                </a:lnTo>
                <a:lnTo>
                  <a:pt x="0" y="0"/>
                </a:lnTo>
                <a:lnTo>
                  <a:pt x="118" y="99"/>
                </a:lnTo>
                <a:lnTo>
                  <a:pt x="4" y="196"/>
                </a:lnTo>
                <a:lnTo>
                  <a:pt x="593" y="196"/>
                </a:lnTo>
                <a:lnTo>
                  <a:pt x="1165" y="804"/>
                </a:lnTo>
                <a:lnTo>
                  <a:pt x="1045" y="930"/>
                </a:lnTo>
                <a:lnTo>
                  <a:pt x="1443" y="9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36" name="ïşľîde">
            <a:extLst>
              <a:ext uri="{FF2B5EF4-FFF2-40B4-BE49-F238E27FC236}">
                <a16:creationId xmlns:a16="http://schemas.microsoft.com/office/drawing/2014/main" id="{1AF74B40-28AA-4786-9655-FC14A97A8831}"/>
              </a:ext>
            </a:extLst>
          </p:cNvPr>
          <p:cNvSpPr/>
          <p:nvPr/>
        </p:nvSpPr>
        <p:spPr bwMode="auto">
          <a:xfrm>
            <a:off x="994008" y="1543050"/>
            <a:ext cx="2443116" cy="1826344"/>
          </a:xfrm>
          <a:custGeom>
            <a:avLst/>
            <a:gdLst>
              <a:gd name="T0" fmla="*/ 1121 w 1121"/>
              <a:gd name="T1" fmla="*/ 256 h 838"/>
              <a:gd name="T2" fmla="*/ 812 w 1121"/>
              <a:gd name="T3" fmla="*/ 0 h 838"/>
              <a:gd name="T4" fmla="*/ 812 w 1121"/>
              <a:gd name="T5" fmla="*/ 157 h 838"/>
              <a:gd name="T6" fmla="*/ 0 w 1121"/>
              <a:gd name="T7" fmla="*/ 157 h 838"/>
              <a:gd name="T8" fmla="*/ 0 w 1121"/>
              <a:gd name="T9" fmla="*/ 838 h 838"/>
              <a:gd name="T10" fmla="*/ 100 w 1121"/>
              <a:gd name="T11" fmla="*/ 715 h 838"/>
              <a:gd name="T12" fmla="*/ 195 w 1121"/>
              <a:gd name="T13" fmla="*/ 830 h 838"/>
              <a:gd name="T14" fmla="*/ 195 w 1121"/>
              <a:gd name="T15" fmla="*/ 353 h 838"/>
              <a:gd name="T16" fmla="*/ 812 w 1121"/>
              <a:gd name="T17" fmla="*/ 353 h 838"/>
              <a:gd name="T18" fmla="*/ 812 w 1121"/>
              <a:gd name="T19" fmla="*/ 512 h 838"/>
              <a:gd name="T20" fmla="*/ 1121 w 1121"/>
              <a:gd name="T21" fmla="*/ 256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21" h="838">
                <a:moveTo>
                  <a:pt x="1121" y="256"/>
                </a:moveTo>
                <a:lnTo>
                  <a:pt x="812" y="0"/>
                </a:lnTo>
                <a:lnTo>
                  <a:pt x="812" y="157"/>
                </a:lnTo>
                <a:lnTo>
                  <a:pt x="0" y="157"/>
                </a:lnTo>
                <a:lnTo>
                  <a:pt x="0" y="838"/>
                </a:lnTo>
                <a:lnTo>
                  <a:pt x="100" y="715"/>
                </a:lnTo>
                <a:lnTo>
                  <a:pt x="195" y="830"/>
                </a:lnTo>
                <a:lnTo>
                  <a:pt x="195" y="353"/>
                </a:lnTo>
                <a:lnTo>
                  <a:pt x="812" y="353"/>
                </a:lnTo>
                <a:lnTo>
                  <a:pt x="812" y="512"/>
                </a:lnTo>
                <a:lnTo>
                  <a:pt x="1121" y="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37" name="iş1iďè">
            <a:extLst>
              <a:ext uri="{FF2B5EF4-FFF2-40B4-BE49-F238E27FC236}">
                <a16:creationId xmlns:a16="http://schemas.microsoft.com/office/drawing/2014/main" id="{1C91B1AC-A0DF-490C-A50E-A69F0B191000}"/>
              </a:ext>
            </a:extLst>
          </p:cNvPr>
          <p:cNvSpPr/>
          <p:nvPr/>
        </p:nvSpPr>
        <p:spPr bwMode="auto">
          <a:xfrm>
            <a:off x="656200" y="3197219"/>
            <a:ext cx="2277481" cy="2185945"/>
          </a:xfrm>
          <a:custGeom>
            <a:avLst/>
            <a:gdLst>
              <a:gd name="T0" fmla="*/ 1045 w 1045"/>
              <a:gd name="T1" fmla="*/ 808 h 1003"/>
              <a:gd name="T2" fmla="*/ 350 w 1045"/>
              <a:gd name="T3" fmla="*/ 808 h 1003"/>
              <a:gd name="T4" fmla="*/ 350 w 1045"/>
              <a:gd name="T5" fmla="*/ 308 h 1003"/>
              <a:gd name="T6" fmla="*/ 511 w 1045"/>
              <a:gd name="T7" fmla="*/ 308 h 1003"/>
              <a:gd name="T8" fmla="*/ 255 w 1045"/>
              <a:gd name="T9" fmla="*/ 0 h 1003"/>
              <a:gd name="T10" fmla="*/ 0 w 1045"/>
              <a:gd name="T11" fmla="*/ 308 h 1003"/>
              <a:gd name="T12" fmla="*/ 155 w 1045"/>
              <a:gd name="T13" fmla="*/ 308 h 1003"/>
              <a:gd name="T14" fmla="*/ 155 w 1045"/>
              <a:gd name="T15" fmla="*/ 1003 h 1003"/>
              <a:gd name="T16" fmla="*/ 253 w 1045"/>
              <a:gd name="T17" fmla="*/ 1003 h 1003"/>
              <a:gd name="T18" fmla="*/ 1039 w 1045"/>
              <a:gd name="T19" fmla="*/ 1003 h 1003"/>
              <a:gd name="T20" fmla="*/ 923 w 1045"/>
              <a:gd name="T21" fmla="*/ 908 h 1003"/>
              <a:gd name="T22" fmla="*/ 1045 w 1045"/>
              <a:gd name="T23" fmla="*/ 8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45" h="1003">
                <a:moveTo>
                  <a:pt x="1045" y="808"/>
                </a:moveTo>
                <a:lnTo>
                  <a:pt x="350" y="808"/>
                </a:lnTo>
                <a:lnTo>
                  <a:pt x="350" y="308"/>
                </a:lnTo>
                <a:lnTo>
                  <a:pt x="511" y="308"/>
                </a:lnTo>
                <a:lnTo>
                  <a:pt x="255" y="0"/>
                </a:lnTo>
                <a:lnTo>
                  <a:pt x="0" y="308"/>
                </a:lnTo>
                <a:lnTo>
                  <a:pt x="155" y="308"/>
                </a:lnTo>
                <a:lnTo>
                  <a:pt x="155" y="1003"/>
                </a:lnTo>
                <a:lnTo>
                  <a:pt x="253" y="1003"/>
                </a:lnTo>
                <a:lnTo>
                  <a:pt x="1039" y="1003"/>
                </a:lnTo>
                <a:lnTo>
                  <a:pt x="923" y="908"/>
                </a:lnTo>
                <a:lnTo>
                  <a:pt x="1045" y="8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38" name="îSḷîḍè">
            <a:extLst>
              <a:ext uri="{FF2B5EF4-FFF2-40B4-BE49-F238E27FC236}">
                <a16:creationId xmlns:a16="http://schemas.microsoft.com/office/drawing/2014/main" id="{41961184-C535-4E99-A57B-A3FEDAB0EB7E}"/>
              </a:ext>
            </a:extLst>
          </p:cNvPr>
          <p:cNvSpPr/>
          <p:nvPr/>
        </p:nvSpPr>
        <p:spPr bwMode="auto">
          <a:xfrm>
            <a:off x="2763687" y="3970910"/>
            <a:ext cx="3275650" cy="1763140"/>
          </a:xfrm>
          <a:custGeom>
            <a:avLst/>
            <a:gdLst>
              <a:gd name="T0" fmla="*/ 1252 w 1503"/>
              <a:gd name="T1" fmla="*/ 0 h 809"/>
              <a:gd name="T2" fmla="*/ 826 w 1503"/>
              <a:gd name="T3" fmla="*/ 453 h 809"/>
              <a:gd name="T4" fmla="*/ 309 w 1503"/>
              <a:gd name="T5" fmla="*/ 453 h 809"/>
              <a:gd name="T6" fmla="*/ 309 w 1503"/>
              <a:gd name="T7" fmla="*/ 298 h 809"/>
              <a:gd name="T8" fmla="*/ 0 w 1503"/>
              <a:gd name="T9" fmla="*/ 553 h 809"/>
              <a:gd name="T10" fmla="*/ 309 w 1503"/>
              <a:gd name="T11" fmla="*/ 809 h 809"/>
              <a:gd name="T12" fmla="*/ 309 w 1503"/>
              <a:gd name="T13" fmla="*/ 648 h 809"/>
              <a:gd name="T14" fmla="*/ 868 w 1503"/>
              <a:gd name="T15" fmla="*/ 648 h 809"/>
              <a:gd name="T16" fmla="*/ 910 w 1503"/>
              <a:gd name="T17" fmla="*/ 648 h 809"/>
              <a:gd name="T18" fmla="*/ 1503 w 1503"/>
              <a:gd name="T19" fmla="*/ 18 h 809"/>
              <a:gd name="T20" fmla="*/ 1252 w 1503"/>
              <a:gd name="T21" fmla="*/ 0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03" h="809">
                <a:moveTo>
                  <a:pt x="1252" y="0"/>
                </a:moveTo>
                <a:lnTo>
                  <a:pt x="826" y="453"/>
                </a:lnTo>
                <a:lnTo>
                  <a:pt x="309" y="453"/>
                </a:lnTo>
                <a:lnTo>
                  <a:pt x="309" y="298"/>
                </a:lnTo>
                <a:lnTo>
                  <a:pt x="0" y="553"/>
                </a:lnTo>
                <a:lnTo>
                  <a:pt x="309" y="809"/>
                </a:lnTo>
                <a:lnTo>
                  <a:pt x="309" y="648"/>
                </a:lnTo>
                <a:lnTo>
                  <a:pt x="868" y="648"/>
                </a:lnTo>
                <a:lnTo>
                  <a:pt x="910" y="648"/>
                </a:lnTo>
                <a:lnTo>
                  <a:pt x="1503" y="18"/>
                </a:lnTo>
                <a:lnTo>
                  <a:pt x="125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39" name="îṣḷiḑê">
            <a:extLst>
              <a:ext uri="{FF2B5EF4-FFF2-40B4-BE49-F238E27FC236}">
                <a16:creationId xmlns:a16="http://schemas.microsoft.com/office/drawing/2014/main" id="{FA68298D-3EBE-4B38-BC30-6AF8C666E594}"/>
              </a:ext>
            </a:extLst>
          </p:cNvPr>
          <p:cNvSpPr/>
          <p:nvPr/>
        </p:nvSpPr>
        <p:spPr bwMode="auto">
          <a:xfrm>
            <a:off x="6368426" y="1885216"/>
            <a:ext cx="2530293" cy="1702116"/>
          </a:xfrm>
          <a:custGeom>
            <a:avLst/>
            <a:gdLst>
              <a:gd name="T0" fmla="*/ 578 w 1161"/>
              <a:gd name="T1" fmla="*/ 196 h 781"/>
              <a:gd name="T2" fmla="*/ 1155 w 1161"/>
              <a:gd name="T3" fmla="*/ 196 h 781"/>
              <a:gd name="T4" fmla="*/ 1041 w 1161"/>
              <a:gd name="T5" fmla="*/ 99 h 781"/>
              <a:gd name="T6" fmla="*/ 1161 w 1161"/>
              <a:gd name="T7" fmla="*/ 0 h 781"/>
              <a:gd name="T8" fmla="*/ 494 w 1161"/>
              <a:gd name="T9" fmla="*/ 0 h 781"/>
              <a:gd name="T10" fmla="*/ 0 w 1161"/>
              <a:gd name="T11" fmla="*/ 526 h 781"/>
              <a:gd name="T12" fmla="*/ 30 w 1161"/>
              <a:gd name="T13" fmla="*/ 781 h 781"/>
              <a:gd name="T14" fmla="*/ 578 w 1161"/>
              <a:gd name="T15" fmla="*/ 196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61" h="781">
                <a:moveTo>
                  <a:pt x="578" y="196"/>
                </a:moveTo>
                <a:lnTo>
                  <a:pt x="1155" y="196"/>
                </a:lnTo>
                <a:lnTo>
                  <a:pt x="1041" y="99"/>
                </a:lnTo>
                <a:lnTo>
                  <a:pt x="1161" y="0"/>
                </a:lnTo>
                <a:lnTo>
                  <a:pt x="494" y="0"/>
                </a:lnTo>
                <a:lnTo>
                  <a:pt x="0" y="526"/>
                </a:lnTo>
                <a:lnTo>
                  <a:pt x="30" y="781"/>
                </a:lnTo>
                <a:lnTo>
                  <a:pt x="578" y="19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40" name="ïṥļïdê">
            <a:extLst>
              <a:ext uri="{FF2B5EF4-FFF2-40B4-BE49-F238E27FC236}">
                <a16:creationId xmlns:a16="http://schemas.microsoft.com/office/drawing/2014/main" id="{89979EB0-2619-4076-8521-B08EEF71BBCC}"/>
              </a:ext>
            </a:extLst>
          </p:cNvPr>
          <p:cNvSpPr/>
          <p:nvPr/>
        </p:nvSpPr>
        <p:spPr bwMode="auto">
          <a:xfrm>
            <a:off x="9232168" y="3197219"/>
            <a:ext cx="2303634" cy="2185945"/>
          </a:xfrm>
          <a:custGeom>
            <a:avLst/>
            <a:gdLst>
              <a:gd name="T0" fmla="*/ 1057 w 1057"/>
              <a:gd name="T1" fmla="*/ 308 h 1003"/>
              <a:gd name="T2" fmla="*/ 802 w 1057"/>
              <a:gd name="T3" fmla="*/ 0 h 1003"/>
              <a:gd name="T4" fmla="*/ 547 w 1057"/>
              <a:gd name="T5" fmla="*/ 308 h 1003"/>
              <a:gd name="T6" fmla="*/ 707 w 1057"/>
              <a:gd name="T7" fmla="*/ 308 h 1003"/>
              <a:gd name="T8" fmla="*/ 707 w 1057"/>
              <a:gd name="T9" fmla="*/ 808 h 1003"/>
              <a:gd name="T10" fmla="*/ 0 w 1057"/>
              <a:gd name="T11" fmla="*/ 808 h 1003"/>
              <a:gd name="T12" fmla="*/ 123 w 1057"/>
              <a:gd name="T13" fmla="*/ 908 h 1003"/>
              <a:gd name="T14" fmla="*/ 6 w 1057"/>
              <a:gd name="T15" fmla="*/ 1003 h 1003"/>
              <a:gd name="T16" fmla="*/ 902 w 1057"/>
              <a:gd name="T17" fmla="*/ 1003 h 1003"/>
              <a:gd name="T18" fmla="*/ 902 w 1057"/>
              <a:gd name="T19" fmla="*/ 308 h 1003"/>
              <a:gd name="T20" fmla="*/ 1057 w 1057"/>
              <a:gd name="T21" fmla="*/ 3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7" h="1003">
                <a:moveTo>
                  <a:pt x="1057" y="308"/>
                </a:moveTo>
                <a:lnTo>
                  <a:pt x="802" y="0"/>
                </a:lnTo>
                <a:lnTo>
                  <a:pt x="547" y="308"/>
                </a:lnTo>
                <a:lnTo>
                  <a:pt x="707" y="308"/>
                </a:lnTo>
                <a:lnTo>
                  <a:pt x="707" y="808"/>
                </a:lnTo>
                <a:lnTo>
                  <a:pt x="0" y="808"/>
                </a:lnTo>
                <a:lnTo>
                  <a:pt x="123" y="908"/>
                </a:lnTo>
                <a:lnTo>
                  <a:pt x="6" y="1003"/>
                </a:lnTo>
                <a:lnTo>
                  <a:pt x="902" y="1003"/>
                </a:lnTo>
                <a:lnTo>
                  <a:pt x="902" y="308"/>
                </a:lnTo>
                <a:lnTo>
                  <a:pt x="1057" y="3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41" name="iṧľíde">
            <a:extLst>
              <a:ext uri="{FF2B5EF4-FFF2-40B4-BE49-F238E27FC236}">
                <a16:creationId xmlns:a16="http://schemas.microsoft.com/office/drawing/2014/main" id="{009EAEDE-A06F-4D1F-8CC4-347CCD6CA019}"/>
              </a:ext>
            </a:extLst>
          </p:cNvPr>
          <p:cNvSpPr/>
          <p:nvPr/>
        </p:nvSpPr>
        <p:spPr bwMode="auto">
          <a:xfrm>
            <a:off x="8728723" y="1543050"/>
            <a:ext cx="2469269" cy="1826344"/>
          </a:xfrm>
          <a:custGeom>
            <a:avLst/>
            <a:gdLst>
              <a:gd name="T0" fmla="*/ 1037 w 1133"/>
              <a:gd name="T1" fmla="*/ 157 h 838"/>
              <a:gd name="T2" fmla="*/ 1037 w 1133"/>
              <a:gd name="T3" fmla="*/ 157 h 838"/>
              <a:gd name="T4" fmla="*/ 309 w 1133"/>
              <a:gd name="T5" fmla="*/ 157 h 838"/>
              <a:gd name="T6" fmla="*/ 309 w 1133"/>
              <a:gd name="T7" fmla="*/ 0 h 838"/>
              <a:gd name="T8" fmla="*/ 0 w 1133"/>
              <a:gd name="T9" fmla="*/ 256 h 838"/>
              <a:gd name="T10" fmla="*/ 309 w 1133"/>
              <a:gd name="T11" fmla="*/ 512 h 838"/>
              <a:gd name="T12" fmla="*/ 309 w 1133"/>
              <a:gd name="T13" fmla="*/ 353 h 838"/>
              <a:gd name="T14" fmla="*/ 938 w 1133"/>
              <a:gd name="T15" fmla="*/ 353 h 838"/>
              <a:gd name="T16" fmla="*/ 938 w 1133"/>
              <a:gd name="T17" fmla="*/ 830 h 838"/>
              <a:gd name="T18" fmla="*/ 1033 w 1133"/>
              <a:gd name="T19" fmla="*/ 715 h 838"/>
              <a:gd name="T20" fmla="*/ 1133 w 1133"/>
              <a:gd name="T21" fmla="*/ 838 h 838"/>
              <a:gd name="T22" fmla="*/ 1133 w 1133"/>
              <a:gd name="T23" fmla="*/ 157 h 838"/>
              <a:gd name="T24" fmla="*/ 1037 w 1133"/>
              <a:gd name="T25" fmla="*/ 157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33" h="838">
                <a:moveTo>
                  <a:pt x="1037" y="157"/>
                </a:moveTo>
                <a:lnTo>
                  <a:pt x="1037" y="157"/>
                </a:lnTo>
                <a:lnTo>
                  <a:pt x="309" y="157"/>
                </a:lnTo>
                <a:lnTo>
                  <a:pt x="309" y="0"/>
                </a:lnTo>
                <a:lnTo>
                  <a:pt x="0" y="256"/>
                </a:lnTo>
                <a:lnTo>
                  <a:pt x="309" y="512"/>
                </a:lnTo>
                <a:lnTo>
                  <a:pt x="309" y="353"/>
                </a:lnTo>
                <a:lnTo>
                  <a:pt x="938" y="353"/>
                </a:lnTo>
                <a:lnTo>
                  <a:pt x="938" y="830"/>
                </a:lnTo>
                <a:lnTo>
                  <a:pt x="1033" y="715"/>
                </a:lnTo>
                <a:lnTo>
                  <a:pt x="1133" y="838"/>
                </a:lnTo>
                <a:lnTo>
                  <a:pt x="1133" y="157"/>
                </a:lnTo>
                <a:lnTo>
                  <a:pt x="1037" y="1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sp>
        <p:nvSpPr>
          <p:cNvPr id="42" name="íṧḷíďè">
            <a:extLst>
              <a:ext uri="{FF2B5EF4-FFF2-40B4-BE49-F238E27FC236}">
                <a16:creationId xmlns:a16="http://schemas.microsoft.com/office/drawing/2014/main" id="{230C1D4B-C920-4647-B2C8-D4C75F4DA7D0}"/>
              </a:ext>
            </a:extLst>
          </p:cNvPr>
          <p:cNvSpPr/>
          <p:nvPr/>
        </p:nvSpPr>
        <p:spPr bwMode="auto">
          <a:xfrm>
            <a:off x="6165741" y="3694124"/>
            <a:ext cx="3236421" cy="2039925"/>
          </a:xfrm>
          <a:custGeom>
            <a:avLst/>
            <a:gdLst>
              <a:gd name="T0" fmla="*/ 1485 w 1485"/>
              <a:gd name="T1" fmla="*/ 680 h 936"/>
              <a:gd name="T2" fmla="*/ 1176 w 1485"/>
              <a:gd name="T3" fmla="*/ 425 h 936"/>
              <a:gd name="T4" fmla="*/ 1176 w 1485"/>
              <a:gd name="T5" fmla="*/ 580 h 936"/>
              <a:gd name="T6" fmla="*/ 671 w 1485"/>
              <a:gd name="T7" fmla="*/ 580 h 936"/>
              <a:gd name="T8" fmla="*/ 129 w 1485"/>
              <a:gd name="T9" fmla="*/ 0 h 936"/>
              <a:gd name="T10" fmla="*/ 147 w 1485"/>
              <a:gd name="T11" fmla="*/ 159 h 936"/>
              <a:gd name="T12" fmla="*/ 0 w 1485"/>
              <a:gd name="T13" fmla="*/ 149 h 936"/>
              <a:gd name="T14" fmla="*/ 587 w 1485"/>
              <a:gd name="T15" fmla="*/ 775 h 936"/>
              <a:gd name="T16" fmla="*/ 1176 w 1485"/>
              <a:gd name="T17" fmla="*/ 775 h 936"/>
              <a:gd name="T18" fmla="*/ 1176 w 1485"/>
              <a:gd name="T19" fmla="*/ 936 h 936"/>
              <a:gd name="T20" fmla="*/ 1485 w 1485"/>
              <a:gd name="T21" fmla="*/ 680 h 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85" h="936">
                <a:moveTo>
                  <a:pt x="1485" y="680"/>
                </a:moveTo>
                <a:lnTo>
                  <a:pt x="1176" y="425"/>
                </a:lnTo>
                <a:lnTo>
                  <a:pt x="1176" y="580"/>
                </a:lnTo>
                <a:lnTo>
                  <a:pt x="671" y="580"/>
                </a:lnTo>
                <a:lnTo>
                  <a:pt x="129" y="0"/>
                </a:lnTo>
                <a:lnTo>
                  <a:pt x="147" y="159"/>
                </a:lnTo>
                <a:lnTo>
                  <a:pt x="0" y="149"/>
                </a:lnTo>
                <a:lnTo>
                  <a:pt x="587" y="775"/>
                </a:lnTo>
                <a:lnTo>
                  <a:pt x="1176" y="775"/>
                </a:lnTo>
                <a:lnTo>
                  <a:pt x="1176" y="936"/>
                </a:lnTo>
                <a:lnTo>
                  <a:pt x="1485" y="6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/>
          </a:p>
        </p:txBody>
      </p:sp>
      <p:grpSp>
        <p:nvGrpSpPr>
          <p:cNvPr id="59" name="ïSlïḋe">
            <a:extLst>
              <a:ext uri="{FF2B5EF4-FFF2-40B4-BE49-F238E27FC236}">
                <a16:creationId xmlns:a16="http://schemas.microsoft.com/office/drawing/2014/main" id="{08ABFC87-C1A0-4D1B-B03F-2EC3F35F533E}"/>
              </a:ext>
            </a:extLst>
          </p:cNvPr>
          <p:cNvGrpSpPr/>
          <p:nvPr/>
        </p:nvGrpSpPr>
        <p:grpSpPr>
          <a:xfrm>
            <a:off x="1993639" y="3076294"/>
            <a:ext cx="2928736" cy="1124513"/>
            <a:chOff x="2982537" y="2663714"/>
            <a:chExt cx="2928736" cy="1124513"/>
          </a:xfrm>
        </p:grpSpPr>
        <p:sp>
          <p:nvSpPr>
            <p:cNvPr id="61" name="iṡlï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2982537" y="3085429"/>
              <a:ext cx="2928736" cy="702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62" name="îŝľîḓé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 flipH="1">
              <a:off x="2982537" y="2663714"/>
              <a:ext cx="2928736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</p:grpSp>
      <p:grpSp>
        <p:nvGrpSpPr>
          <p:cNvPr id="55" name="î$ḷiďe">
            <a:extLst>
              <a:ext uri="{FF2B5EF4-FFF2-40B4-BE49-F238E27FC236}">
                <a16:creationId xmlns:a16="http://schemas.microsoft.com/office/drawing/2014/main" id="{B6A6566E-42EE-4013-84B0-56C1C9447A19}"/>
              </a:ext>
            </a:extLst>
          </p:cNvPr>
          <p:cNvGrpSpPr/>
          <p:nvPr/>
        </p:nvGrpSpPr>
        <p:grpSpPr>
          <a:xfrm>
            <a:off x="7308123" y="3076293"/>
            <a:ext cx="2928736" cy="1124513"/>
            <a:chOff x="2982537" y="2663714"/>
            <a:chExt cx="2928736" cy="1124513"/>
          </a:xfrm>
        </p:grpSpPr>
        <p:sp>
          <p:nvSpPr>
            <p:cNvPr id="57" name="ïśḻïḋ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2982537" y="3085429"/>
              <a:ext cx="2928736" cy="702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58" name="îṡḷíḍè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 flipH="1">
              <a:off x="2982537" y="2663714"/>
              <a:ext cx="2928736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45" name="îšlîďé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3458007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1</a:t>
            </a:r>
          </a:p>
        </p:txBody>
      </p:sp>
      <p:sp>
        <p:nvSpPr>
          <p:cNvPr id="46" name="îslíḓè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1552915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2</a:t>
            </a:r>
          </a:p>
        </p:txBody>
      </p:sp>
      <p:sp>
        <p:nvSpPr>
          <p:cNvPr id="47" name="îṧ1iďé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1552915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3</a:t>
            </a:r>
          </a:p>
        </p:txBody>
      </p:sp>
      <p:sp>
        <p:nvSpPr>
          <p:cNvPr id="48" name="îŝ1iďê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3458007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4</a:t>
            </a:r>
          </a:p>
        </p:txBody>
      </p:sp>
      <p:sp>
        <p:nvSpPr>
          <p:cNvPr id="49" name="iś1îḍè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rot="2820000" flipH="1">
            <a:off x="4880419" y="267972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5</a:t>
            </a:r>
          </a:p>
        </p:txBody>
      </p:sp>
      <p:sp>
        <p:nvSpPr>
          <p:cNvPr id="50" name="í$lïďê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rot="2820000" flipH="1">
            <a:off x="6391932" y="430183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6</a:t>
            </a:r>
          </a:p>
        </p:txBody>
      </p:sp>
      <p:sp>
        <p:nvSpPr>
          <p:cNvPr id="51" name="íşliḍê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9585001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8</a:t>
            </a:r>
          </a:p>
        </p:txBody>
      </p:sp>
      <p:sp>
        <p:nvSpPr>
          <p:cNvPr id="52" name="ïṣļîḋè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7679909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7</a:t>
            </a:r>
          </a:p>
        </p:txBody>
      </p:sp>
      <p:sp>
        <p:nvSpPr>
          <p:cNvPr id="53" name="íṩľiḓé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7679909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</a:p>
        </p:txBody>
      </p:sp>
      <p:sp>
        <p:nvSpPr>
          <p:cNvPr id="54" name="íṩḻiḋé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9585001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9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94702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ṣḻiḓê">
            <a:extLst>
              <a:ext uri="{FF2B5EF4-FFF2-40B4-BE49-F238E27FC236}">
                <a16:creationId xmlns:a16="http://schemas.microsoft.com/office/drawing/2014/main" id="{B0E753C8-72F7-41D1-95F1-3435A06922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ṥľiḋè">
            <a:extLst>
              <a:ext uri="{FF2B5EF4-FFF2-40B4-BE49-F238E27FC236}">
                <a16:creationId xmlns:a16="http://schemas.microsoft.com/office/drawing/2014/main" id="{67DB25B2-0AB3-4C78-B36A-B43D47EF5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ŝ1îḋê">
            <a:extLst>
              <a:ext uri="{FF2B5EF4-FFF2-40B4-BE49-F238E27FC236}">
                <a16:creationId xmlns:a16="http://schemas.microsoft.com/office/drawing/2014/main" id="{0BCE65B2-6B58-4EF9-9F82-266D2C2E3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01" name="ïṩľîḑé">
            <a:extLst>
              <a:ext uri="{FF2B5EF4-FFF2-40B4-BE49-F238E27FC236}">
                <a16:creationId xmlns:a16="http://schemas.microsoft.com/office/drawing/2014/main" id="{794D3B86-62F7-4D68-851C-CA467B1BC6F4}"/>
              </a:ext>
            </a:extLst>
          </p:cNvPr>
          <p:cNvSpPr/>
          <p:nvPr/>
        </p:nvSpPr>
        <p:spPr>
          <a:xfrm>
            <a:off x="1206093" y="4964046"/>
            <a:ext cx="2191192" cy="18939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</a:endParaRPr>
          </a:p>
        </p:txBody>
      </p:sp>
      <p:sp>
        <p:nvSpPr>
          <p:cNvPr id="202" name="isļîḍè">
            <a:extLst>
              <a:ext uri="{FF2B5EF4-FFF2-40B4-BE49-F238E27FC236}">
                <a16:creationId xmlns:a16="http://schemas.microsoft.com/office/drawing/2014/main" id="{05C49414-230E-4CBE-87FB-ED9404EF9028}"/>
              </a:ext>
            </a:extLst>
          </p:cNvPr>
          <p:cNvSpPr/>
          <p:nvPr/>
        </p:nvSpPr>
        <p:spPr>
          <a:xfrm>
            <a:off x="3750667" y="3307600"/>
            <a:ext cx="2191192" cy="3550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</a:endParaRPr>
          </a:p>
        </p:txBody>
      </p:sp>
      <p:sp>
        <p:nvSpPr>
          <p:cNvPr id="203" name="iSḷïḍé">
            <a:extLst>
              <a:ext uri="{FF2B5EF4-FFF2-40B4-BE49-F238E27FC236}">
                <a16:creationId xmlns:a16="http://schemas.microsoft.com/office/drawing/2014/main" id="{931660D1-0C1C-4493-8E25-D790DD7B2110}"/>
              </a:ext>
            </a:extLst>
          </p:cNvPr>
          <p:cNvSpPr/>
          <p:nvPr/>
        </p:nvSpPr>
        <p:spPr>
          <a:xfrm>
            <a:off x="6279643" y="4331764"/>
            <a:ext cx="2191192" cy="25262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</a:endParaRPr>
          </a:p>
        </p:txBody>
      </p:sp>
      <p:sp>
        <p:nvSpPr>
          <p:cNvPr id="204" name="îśļîḑè">
            <a:extLst>
              <a:ext uri="{FF2B5EF4-FFF2-40B4-BE49-F238E27FC236}">
                <a16:creationId xmlns:a16="http://schemas.microsoft.com/office/drawing/2014/main" id="{B11F1DB9-BCA7-4027-B7D1-AEC5E82C0C8E}"/>
              </a:ext>
            </a:extLst>
          </p:cNvPr>
          <p:cNvSpPr/>
          <p:nvPr/>
        </p:nvSpPr>
        <p:spPr>
          <a:xfrm>
            <a:off x="8794715" y="3625441"/>
            <a:ext cx="2191192" cy="3232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</a:endParaRPr>
          </a:p>
        </p:txBody>
      </p:sp>
      <p:grpSp>
        <p:nvGrpSpPr>
          <p:cNvPr id="214" name="íslîḓé">
            <a:extLst>
              <a:ext uri="{FF2B5EF4-FFF2-40B4-BE49-F238E27FC236}">
                <a16:creationId xmlns:a16="http://schemas.microsoft.com/office/drawing/2014/main" id="{B1A60E94-AE6E-431F-A01B-1E9D1FA374CC}"/>
              </a:ext>
            </a:extLst>
          </p:cNvPr>
          <p:cNvGrpSpPr/>
          <p:nvPr/>
        </p:nvGrpSpPr>
        <p:grpSpPr>
          <a:xfrm>
            <a:off x="2040726" y="3355393"/>
            <a:ext cx="521926" cy="1440617"/>
            <a:chOff x="2040726" y="3436183"/>
            <a:chExt cx="521926" cy="1440617"/>
          </a:xfrm>
        </p:grpSpPr>
        <p:sp>
          <p:nvSpPr>
            <p:cNvPr id="236" name="îSḷïdè">
              <a:extLst>
                <a:ext uri="{FF2B5EF4-FFF2-40B4-BE49-F238E27FC236}">
                  <a16:creationId xmlns:a16="http://schemas.microsoft.com/office/drawing/2014/main" id="{7F899C08-FAA4-463C-A909-743BC4E24DF1}"/>
                </a:ext>
              </a:extLst>
            </p:cNvPr>
            <p:cNvSpPr/>
            <p:nvPr/>
          </p:nvSpPr>
          <p:spPr>
            <a:xfrm rot="8100000">
              <a:off x="2040726" y="3436183"/>
              <a:ext cx="521926" cy="521926"/>
            </a:xfrm>
            <a:prstGeom prst="teardrop">
              <a:avLst>
                <a:gd name="adj" fmla="val 10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A5A5A5"/>
                </a:solidFill>
              </a:endParaRPr>
            </a:p>
          </p:txBody>
        </p:sp>
        <p:cxnSp>
          <p:nvCxnSpPr>
            <p:cNvPr id="237" name="iṣ1ídé">
              <a:extLst>
                <a:ext uri="{FF2B5EF4-FFF2-40B4-BE49-F238E27FC236}">
                  <a16:creationId xmlns:a16="http://schemas.microsoft.com/office/drawing/2014/main" id="{FDF5073C-F7C0-4B8B-8276-DF5C5C1E8756}"/>
                </a:ext>
              </a:extLst>
            </p:cNvPr>
            <p:cNvCxnSpPr>
              <a:cxnSpLocks/>
              <a:stCxn id="236" idx="7"/>
            </p:cNvCxnSpPr>
            <p:nvPr/>
          </p:nvCxnSpPr>
          <p:spPr>
            <a:xfrm>
              <a:off x="2301689" y="4066203"/>
              <a:ext cx="0" cy="8105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iṧ1ïde">
              <a:extLst>
                <a:ext uri="{FF2B5EF4-FFF2-40B4-BE49-F238E27FC236}">
                  <a16:creationId xmlns:a16="http://schemas.microsoft.com/office/drawing/2014/main" id="{3E533B70-ED90-467F-B993-7E35F5E33C13}"/>
                </a:ext>
              </a:extLst>
            </p:cNvPr>
            <p:cNvSpPr/>
            <p:nvPr/>
          </p:nvSpPr>
          <p:spPr bwMode="auto">
            <a:xfrm>
              <a:off x="2157888" y="3611212"/>
              <a:ext cx="287602" cy="229016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215" name="îṣlîdê">
            <a:extLst>
              <a:ext uri="{FF2B5EF4-FFF2-40B4-BE49-F238E27FC236}">
                <a16:creationId xmlns:a16="http://schemas.microsoft.com/office/drawing/2014/main" id="{10A5051F-504A-46C8-A04E-85B5ABB7AE07}"/>
              </a:ext>
            </a:extLst>
          </p:cNvPr>
          <p:cNvGrpSpPr/>
          <p:nvPr/>
        </p:nvGrpSpPr>
        <p:grpSpPr>
          <a:xfrm>
            <a:off x="4585300" y="1563523"/>
            <a:ext cx="521926" cy="1440617"/>
            <a:chOff x="2040726" y="3436183"/>
            <a:chExt cx="521926" cy="1440617"/>
          </a:xfrm>
        </p:grpSpPr>
        <p:sp>
          <p:nvSpPr>
            <p:cNvPr id="233" name="í$ḷidè">
              <a:extLst>
                <a:ext uri="{FF2B5EF4-FFF2-40B4-BE49-F238E27FC236}">
                  <a16:creationId xmlns:a16="http://schemas.microsoft.com/office/drawing/2014/main" id="{D202333E-D483-450B-9E75-FD58130EC08D}"/>
                </a:ext>
              </a:extLst>
            </p:cNvPr>
            <p:cNvSpPr/>
            <p:nvPr/>
          </p:nvSpPr>
          <p:spPr>
            <a:xfrm rot="8100000">
              <a:off x="2040726" y="3436183"/>
              <a:ext cx="521926" cy="521926"/>
            </a:xfrm>
            <a:prstGeom prst="teardrop">
              <a:avLst>
                <a:gd name="adj" fmla="val 100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A5A5A5"/>
                </a:solidFill>
              </a:endParaRPr>
            </a:p>
          </p:txBody>
        </p:sp>
        <p:cxnSp>
          <p:nvCxnSpPr>
            <p:cNvPr id="234" name="íṥľidè">
              <a:extLst>
                <a:ext uri="{FF2B5EF4-FFF2-40B4-BE49-F238E27FC236}">
                  <a16:creationId xmlns:a16="http://schemas.microsoft.com/office/drawing/2014/main" id="{58E83BE0-B0B5-4D75-A408-9BAA3FB6BD47}"/>
                </a:ext>
              </a:extLst>
            </p:cNvPr>
            <p:cNvCxnSpPr>
              <a:cxnSpLocks/>
              <a:stCxn id="233" idx="7"/>
            </p:cNvCxnSpPr>
            <p:nvPr/>
          </p:nvCxnSpPr>
          <p:spPr>
            <a:xfrm>
              <a:off x="2301689" y="4066203"/>
              <a:ext cx="0" cy="8105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5" name="î$ḻíḑé">
              <a:extLst>
                <a:ext uri="{FF2B5EF4-FFF2-40B4-BE49-F238E27FC236}">
                  <a16:creationId xmlns:a16="http://schemas.microsoft.com/office/drawing/2014/main" id="{78B6D632-B049-42E6-8172-35DC46C3B4E2}"/>
                </a:ext>
              </a:extLst>
            </p:cNvPr>
            <p:cNvSpPr/>
            <p:nvPr/>
          </p:nvSpPr>
          <p:spPr bwMode="auto">
            <a:xfrm>
              <a:off x="2157888" y="3606003"/>
              <a:ext cx="287602" cy="239433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216" name="íślïḍê">
            <a:extLst>
              <a:ext uri="{FF2B5EF4-FFF2-40B4-BE49-F238E27FC236}">
                <a16:creationId xmlns:a16="http://schemas.microsoft.com/office/drawing/2014/main" id="{9599C752-C17E-47B2-A281-EA07E6AAC688}"/>
              </a:ext>
            </a:extLst>
          </p:cNvPr>
          <p:cNvGrpSpPr/>
          <p:nvPr/>
        </p:nvGrpSpPr>
        <p:grpSpPr>
          <a:xfrm>
            <a:off x="7101862" y="2627901"/>
            <a:ext cx="521926" cy="1440617"/>
            <a:chOff x="2040726" y="3436183"/>
            <a:chExt cx="521926" cy="1440617"/>
          </a:xfrm>
        </p:grpSpPr>
        <p:sp>
          <p:nvSpPr>
            <p:cNvPr id="230" name="iṩḻiďe">
              <a:extLst>
                <a:ext uri="{FF2B5EF4-FFF2-40B4-BE49-F238E27FC236}">
                  <a16:creationId xmlns:a16="http://schemas.microsoft.com/office/drawing/2014/main" id="{F4DEDDF2-114D-4ABA-B341-FA62CF3ED598}"/>
                </a:ext>
              </a:extLst>
            </p:cNvPr>
            <p:cNvSpPr/>
            <p:nvPr/>
          </p:nvSpPr>
          <p:spPr>
            <a:xfrm rot="8100000">
              <a:off x="2040726" y="3436183"/>
              <a:ext cx="521926" cy="521926"/>
            </a:xfrm>
            <a:prstGeom prst="teardrop">
              <a:avLst>
                <a:gd name="adj" fmla="val 10000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A5A5A5"/>
                </a:solidFill>
              </a:endParaRPr>
            </a:p>
          </p:txBody>
        </p:sp>
        <p:cxnSp>
          <p:nvCxnSpPr>
            <p:cNvPr id="231" name="íşḻïḑê">
              <a:extLst>
                <a:ext uri="{FF2B5EF4-FFF2-40B4-BE49-F238E27FC236}">
                  <a16:creationId xmlns:a16="http://schemas.microsoft.com/office/drawing/2014/main" id="{E36F731F-331B-49B8-A901-9E806BE45B8E}"/>
                </a:ext>
              </a:extLst>
            </p:cNvPr>
            <p:cNvCxnSpPr>
              <a:cxnSpLocks/>
              <a:stCxn id="230" idx="7"/>
            </p:cNvCxnSpPr>
            <p:nvPr/>
          </p:nvCxnSpPr>
          <p:spPr>
            <a:xfrm>
              <a:off x="2301689" y="4066203"/>
              <a:ext cx="0" cy="8105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îsļîdé">
              <a:extLst>
                <a:ext uri="{FF2B5EF4-FFF2-40B4-BE49-F238E27FC236}">
                  <a16:creationId xmlns:a16="http://schemas.microsoft.com/office/drawing/2014/main" id="{62D231CA-C24F-4F2A-B7F0-50FBF96632A7}"/>
                </a:ext>
              </a:extLst>
            </p:cNvPr>
            <p:cNvSpPr/>
            <p:nvPr/>
          </p:nvSpPr>
          <p:spPr bwMode="auto">
            <a:xfrm>
              <a:off x="2157888" y="3594759"/>
              <a:ext cx="287602" cy="261923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217" name="í$ḷîḋê">
            <a:extLst>
              <a:ext uri="{FF2B5EF4-FFF2-40B4-BE49-F238E27FC236}">
                <a16:creationId xmlns:a16="http://schemas.microsoft.com/office/drawing/2014/main" id="{CC7C251F-7F7A-4C5D-BCC7-C051857CAFF2}"/>
              </a:ext>
            </a:extLst>
          </p:cNvPr>
          <p:cNvGrpSpPr/>
          <p:nvPr/>
        </p:nvGrpSpPr>
        <p:grpSpPr>
          <a:xfrm>
            <a:off x="9629348" y="1892486"/>
            <a:ext cx="521926" cy="1440617"/>
            <a:chOff x="2040726" y="3436183"/>
            <a:chExt cx="521926" cy="1440617"/>
          </a:xfrm>
        </p:grpSpPr>
        <p:sp>
          <p:nvSpPr>
            <p:cNvPr id="227" name="isḻîḋé">
              <a:extLst>
                <a:ext uri="{FF2B5EF4-FFF2-40B4-BE49-F238E27FC236}">
                  <a16:creationId xmlns:a16="http://schemas.microsoft.com/office/drawing/2014/main" id="{8095F06E-189E-4259-A21D-08212B92D387}"/>
                </a:ext>
              </a:extLst>
            </p:cNvPr>
            <p:cNvSpPr/>
            <p:nvPr/>
          </p:nvSpPr>
          <p:spPr>
            <a:xfrm rot="8100000">
              <a:off x="2040726" y="3436183"/>
              <a:ext cx="521926" cy="521926"/>
            </a:xfrm>
            <a:prstGeom prst="teardrop">
              <a:avLst>
                <a:gd name="adj" fmla="val 10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A5A5A5"/>
                </a:solidFill>
              </a:endParaRPr>
            </a:p>
          </p:txBody>
        </p:sp>
        <p:cxnSp>
          <p:nvCxnSpPr>
            <p:cNvPr id="228" name="îṡḻïďé">
              <a:extLst>
                <a:ext uri="{FF2B5EF4-FFF2-40B4-BE49-F238E27FC236}">
                  <a16:creationId xmlns:a16="http://schemas.microsoft.com/office/drawing/2014/main" id="{7338661A-1614-41CB-8407-EC73AF2A7139}"/>
                </a:ext>
              </a:extLst>
            </p:cNvPr>
            <p:cNvCxnSpPr>
              <a:cxnSpLocks/>
              <a:stCxn id="227" idx="7"/>
            </p:cNvCxnSpPr>
            <p:nvPr/>
          </p:nvCxnSpPr>
          <p:spPr>
            <a:xfrm>
              <a:off x="2301689" y="4066203"/>
              <a:ext cx="0" cy="8105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9" name="íśļíḓe">
              <a:extLst>
                <a:ext uri="{FF2B5EF4-FFF2-40B4-BE49-F238E27FC236}">
                  <a16:creationId xmlns:a16="http://schemas.microsoft.com/office/drawing/2014/main" id="{455BD7D7-EC1F-4839-99E3-484D7BDFAFAA}"/>
                </a:ext>
              </a:extLst>
            </p:cNvPr>
            <p:cNvSpPr/>
            <p:nvPr/>
          </p:nvSpPr>
          <p:spPr bwMode="auto">
            <a:xfrm>
              <a:off x="2195169" y="3581920"/>
              <a:ext cx="213038" cy="287602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218" name="íṧļiḓé">
            <a:extLst>
              <a:ext uri="{FF2B5EF4-FFF2-40B4-BE49-F238E27FC236}">
                <a16:creationId xmlns:a16="http://schemas.microsoft.com/office/drawing/2014/main" id="{092940F2-F26E-4FDD-923B-12B0FEA1DD1F}"/>
              </a:ext>
            </a:extLst>
          </p:cNvPr>
          <p:cNvSpPr/>
          <p:nvPr/>
        </p:nvSpPr>
        <p:spPr bwMode="auto">
          <a:xfrm>
            <a:off x="1206093" y="5444374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19" name="iŝlîḑe">
            <a:extLst>
              <a:ext uri="{FF2B5EF4-FFF2-40B4-BE49-F238E27FC236}">
                <a16:creationId xmlns:a16="http://schemas.microsoft.com/office/drawing/2014/main" id="{1E119314-5205-4775-A6A5-B9788CF9C779}"/>
              </a:ext>
            </a:extLst>
          </p:cNvPr>
          <p:cNvSpPr txBox="1"/>
          <p:nvPr/>
        </p:nvSpPr>
        <p:spPr bwMode="auto">
          <a:xfrm>
            <a:off x="1206093" y="5002568"/>
            <a:ext cx="219433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</a:p>
        </p:txBody>
      </p:sp>
      <p:sp>
        <p:nvSpPr>
          <p:cNvPr id="220" name="iṥ1iḓê">
            <a:extLst>
              <a:ext uri="{FF2B5EF4-FFF2-40B4-BE49-F238E27FC236}">
                <a16:creationId xmlns:a16="http://schemas.microsoft.com/office/drawing/2014/main" id="{3197A623-961B-481C-A0DF-B868B7E221FB}"/>
              </a:ext>
            </a:extLst>
          </p:cNvPr>
          <p:cNvSpPr/>
          <p:nvPr/>
        </p:nvSpPr>
        <p:spPr bwMode="auto">
          <a:xfrm>
            <a:off x="3749097" y="3771354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21" name="iŝḷide">
            <a:extLst>
              <a:ext uri="{FF2B5EF4-FFF2-40B4-BE49-F238E27FC236}">
                <a16:creationId xmlns:a16="http://schemas.microsoft.com/office/drawing/2014/main" id="{9EF6897E-C363-4524-8D9D-CA5A52C25447}"/>
              </a:ext>
            </a:extLst>
          </p:cNvPr>
          <p:cNvSpPr txBox="1"/>
          <p:nvPr/>
        </p:nvSpPr>
        <p:spPr bwMode="auto">
          <a:xfrm>
            <a:off x="3749097" y="3329548"/>
            <a:ext cx="219433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</a:p>
        </p:txBody>
      </p:sp>
      <p:sp>
        <p:nvSpPr>
          <p:cNvPr id="222" name="ïṣ1ïḋé">
            <a:extLst>
              <a:ext uri="{FF2B5EF4-FFF2-40B4-BE49-F238E27FC236}">
                <a16:creationId xmlns:a16="http://schemas.microsoft.com/office/drawing/2014/main" id="{D811BE53-F8DA-4B19-818A-142334076497}"/>
              </a:ext>
            </a:extLst>
          </p:cNvPr>
          <p:cNvSpPr/>
          <p:nvPr/>
        </p:nvSpPr>
        <p:spPr bwMode="auto">
          <a:xfrm>
            <a:off x="3749097" y="4389816"/>
            <a:ext cx="2194332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23" name="iSľîḋè">
            <a:extLst>
              <a:ext uri="{FF2B5EF4-FFF2-40B4-BE49-F238E27FC236}">
                <a16:creationId xmlns:a16="http://schemas.microsoft.com/office/drawing/2014/main" id="{47CF7688-9FAA-4880-8D18-0EC30CCA35B2}"/>
              </a:ext>
            </a:extLst>
          </p:cNvPr>
          <p:cNvSpPr/>
          <p:nvPr/>
        </p:nvSpPr>
        <p:spPr bwMode="auto">
          <a:xfrm>
            <a:off x="8782050" y="4082508"/>
            <a:ext cx="2194503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24" name="íslíḍè">
            <a:extLst>
              <a:ext uri="{FF2B5EF4-FFF2-40B4-BE49-F238E27FC236}">
                <a16:creationId xmlns:a16="http://schemas.microsoft.com/office/drawing/2014/main" id="{83DCDC84-FAB2-4BB0-861C-0943DF69E494}"/>
              </a:ext>
            </a:extLst>
          </p:cNvPr>
          <p:cNvSpPr txBox="1"/>
          <p:nvPr/>
        </p:nvSpPr>
        <p:spPr bwMode="auto">
          <a:xfrm>
            <a:off x="8782050" y="3640702"/>
            <a:ext cx="219450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</a:p>
        </p:txBody>
      </p:sp>
      <p:sp>
        <p:nvSpPr>
          <p:cNvPr id="225" name="íSḷîḓè">
            <a:extLst>
              <a:ext uri="{FF2B5EF4-FFF2-40B4-BE49-F238E27FC236}">
                <a16:creationId xmlns:a16="http://schemas.microsoft.com/office/drawing/2014/main" id="{2D4FDAE5-BB15-4F8B-B5E3-BA48E15E9F2C}"/>
              </a:ext>
            </a:extLst>
          </p:cNvPr>
          <p:cNvSpPr/>
          <p:nvPr/>
        </p:nvSpPr>
        <p:spPr bwMode="auto">
          <a:xfrm>
            <a:off x="6278073" y="4860409"/>
            <a:ext cx="2181918" cy="61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26" name="îṩľîḋe">
            <a:extLst>
              <a:ext uri="{FF2B5EF4-FFF2-40B4-BE49-F238E27FC236}">
                <a16:creationId xmlns:a16="http://schemas.microsoft.com/office/drawing/2014/main" id="{169CE4EA-9B21-4427-97E0-CB82EC169C64}"/>
              </a:ext>
            </a:extLst>
          </p:cNvPr>
          <p:cNvSpPr txBox="1"/>
          <p:nvPr/>
        </p:nvSpPr>
        <p:spPr bwMode="auto">
          <a:xfrm>
            <a:off x="6278073" y="4418603"/>
            <a:ext cx="218191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603676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$ḷ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śļîḑé">
            <a:extLst>
              <a:ext uri="{FF2B5EF4-FFF2-40B4-BE49-F238E27FC236}">
                <a16:creationId xmlns:a16="http://schemas.microsoft.com/office/drawing/2014/main" id="{AF8C712B-25DE-4AE9-AD15-D8048EDFE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ṥlîḓé">
            <a:extLst>
              <a:ext uri="{FF2B5EF4-FFF2-40B4-BE49-F238E27FC236}">
                <a16:creationId xmlns:a16="http://schemas.microsoft.com/office/drawing/2014/main" id="{572F12F4-A056-44A4-BB24-78AF1DD75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ṣlíḓe">
            <a:extLst>
              <a:ext uri="{FF2B5EF4-FFF2-40B4-BE49-F238E27FC236}">
                <a16:creationId xmlns:a16="http://schemas.microsoft.com/office/drawing/2014/main" id="{FC3E21D3-025B-46F3-A4F6-D9D7189B7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406" name="í$ḻîḋê">
            <a:extLst>
              <a:ext uri="{FF2B5EF4-FFF2-40B4-BE49-F238E27FC236}">
                <a16:creationId xmlns:a16="http://schemas.microsoft.com/office/drawing/2014/main" id="{336B8C70-7155-41DA-9271-372F09928CE0}"/>
              </a:ext>
            </a:extLst>
          </p:cNvPr>
          <p:cNvGrpSpPr/>
          <p:nvPr/>
        </p:nvGrpSpPr>
        <p:grpSpPr>
          <a:xfrm>
            <a:off x="1038116" y="1482903"/>
            <a:ext cx="3373457" cy="4663907"/>
            <a:chOff x="1145941" y="1082785"/>
            <a:chExt cx="3697262" cy="5111529"/>
          </a:xfrm>
          <a:solidFill>
            <a:schemeClr val="bg1">
              <a:lumMod val="85000"/>
            </a:schemeClr>
          </a:solidFill>
        </p:grpSpPr>
        <p:sp>
          <p:nvSpPr>
            <p:cNvPr id="1425" name="íśḻíḋe">
              <a:extLst>
                <a:ext uri="{FF2B5EF4-FFF2-40B4-BE49-F238E27FC236}">
                  <a16:creationId xmlns:a16="http://schemas.microsoft.com/office/drawing/2014/main" id="{7D2FD20E-94AC-4D5A-B8C5-3E130C2BF6C7}"/>
                </a:ext>
              </a:extLst>
            </p:cNvPr>
            <p:cNvSpPr/>
            <p:nvPr/>
          </p:nvSpPr>
          <p:spPr bwMode="auto">
            <a:xfrm flipH="1">
              <a:off x="3382534" y="5589115"/>
              <a:ext cx="272622" cy="219213"/>
            </a:xfrm>
            <a:custGeom>
              <a:avLst/>
              <a:gdLst>
                <a:gd name="T0" fmla="*/ 31 w 299"/>
                <a:gd name="T1" fmla="*/ 255 h 255"/>
                <a:gd name="T2" fmla="*/ 83 w 299"/>
                <a:gd name="T3" fmla="*/ 198 h 255"/>
                <a:gd name="T4" fmla="*/ 299 w 299"/>
                <a:gd name="T5" fmla="*/ 198 h 255"/>
                <a:gd name="T6" fmla="*/ 299 w 299"/>
                <a:gd name="T7" fmla="*/ 139 h 255"/>
                <a:gd name="T8" fmla="*/ 105 w 299"/>
                <a:gd name="T9" fmla="*/ 139 h 255"/>
                <a:gd name="T10" fmla="*/ 93 w 299"/>
                <a:gd name="T11" fmla="*/ 139 h 255"/>
                <a:gd name="T12" fmla="*/ 93 w 299"/>
                <a:gd name="T13" fmla="*/ 130 h 255"/>
                <a:gd name="T14" fmla="*/ 93 w 299"/>
                <a:gd name="T15" fmla="*/ 0 h 255"/>
                <a:gd name="T16" fmla="*/ 0 w 299"/>
                <a:gd name="T17" fmla="*/ 0 h 255"/>
                <a:gd name="T18" fmla="*/ 0 w 299"/>
                <a:gd name="T19" fmla="*/ 198 h 255"/>
                <a:gd name="T20" fmla="*/ 31 w 299"/>
                <a:gd name="T21" fmla="*/ 198 h 255"/>
                <a:gd name="T22" fmla="*/ 31 w 299"/>
                <a:gd name="T2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9" h="255">
                  <a:moveTo>
                    <a:pt x="31" y="255"/>
                  </a:moveTo>
                  <a:lnTo>
                    <a:pt x="83" y="198"/>
                  </a:lnTo>
                  <a:lnTo>
                    <a:pt x="299" y="198"/>
                  </a:lnTo>
                  <a:lnTo>
                    <a:pt x="299" y="139"/>
                  </a:lnTo>
                  <a:lnTo>
                    <a:pt x="105" y="139"/>
                  </a:lnTo>
                  <a:lnTo>
                    <a:pt x="93" y="139"/>
                  </a:lnTo>
                  <a:lnTo>
                    <a:pt x="93" y="130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198"/>
                  </a:lnTo>
                  <a:lnTo>
                    <a:pt x="31" y="198"/>
                  </a:lnTo>
                  <a:lnTo>
                    <a:pt x="31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26" name="ïşḻide">
              <a:extLst>
                <a:ext uri="{FF2B5EF4-FFF2-40B4-BE49-F238E27FC236}">
                  <a16:creationId xmlns:a16="http://schemas.microsoft.com/office/drawing/2014/main" id="{0199B59D-BCE6-4148-9BA8-9681B0DDBD8D}"/>
                </a:ext>
              </a:extLst>
            </p:cNvPr>
            <p:cNvSpPr/>
            <p:nvPr/>
          </p:nvSpPr>
          <p:spPr bwMode="auto">
            <a:xfrm flipH="1">
              <a:off x="3276768" y="5521201"/>
              <a:ext cx="282651" cy="230388"/>
            </a:xfrm>
            <a:custGeom>
              <a:avLst/>
              <a:gdLst>
                <a:gd name="T0" fmla="*/ 310 w 310"/>
                <a:gd name="T1" fmla="*/ 0 h 268"/>
                <a:gd name="T2" fmla="*/ 0 w 310"/>
                <a:gd name="T3" fmla="*/ 0 h 268"/>
                <a:gd name="T4" fmla="*/ 0 w 310"/>
                <a:gd name="T5" fmla="*/ 79 h 268"/>
                <a:gd name="T6" fmla="*/ 0 w 310"/>
                <a:gd name="T7" fmla="*/ 209 h 268"/>
                <a:gd name="T8" fmla="*/ 194 w 310"/>
                <a:gd name="T9" fmla="*/ 209 h 268"/>
                <a:gd name="T10" fmla="*/ 222 w 310"/>
                <a:gd name="T11" fmla="*/ 209 h 268"/>
                <a:gd name="T12" fmla="*/ 277 w 310"/>
                <a:gd name="T13" fmla="*/ 268 h 268"/>
                <a:gd name="T14" fmla="*/ 277 w 310"/>
                <a:gd name="T15" fmla="*/ 209 h 268"/>
                <a:gd name="T16" fmla="*/ 310 w 310"/>
                <a:gd name="T17" fmla="*/ 209 h 268"/>
                <a:gd name="T18" fmla="*/ 310 w 310"/>
                <a:gd name="T1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0" h="268">
                  <a:moveTo>
                    <a:pt x="310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0" y="209"/>
                  </a:lnTo>
                  <a:lnTo>
                    <a:pt x="194" y="209"/>
                  </a:lnTo>
                  <a:lnTo>
                    <a:pt x="222" y="209"/>
                  </a:lnTo>
                  <a:lnTo>
                    <a:pt x="277" y="268"/>
                  </a:lnTo>
                  <a:lnTo>
                    <a:pt x="277" y="209"/>
                  </a:lnTo>
                  <a:lnTo>
                    <a:pt x="310" y="209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27" name="ïşľide">
              <a:extLst>
                <a:ext uri="{FF2B5EF4-FFF2-40B4-BE49-F238E27FC236}">
                  <a16:creationId xmlns:a16="http://schemas.microsoft.com/office/drawing/2014/main" id="{3A843FA7-4775-446F-89D7-DE17D291F891}"/>
                </a:ext>
              </a:extLst>
            </p:cNvPr>
            <p:cNvSpPr/>
            <p:nvPr/>
          </p:nvSpPr>
          <p:spPr bwMode="auto">
            <a:xfrm flipH="1">
              <a:off x="3961515" y="3079772"/>
              <a:ext cx="331888" cy="311196"/>
            </a:xfrm>
            <a:custGeom>
              <a:avLst/>
              <a:gdLst>
                <a:gd name="T0" fmla="*/ 151 w 154"/>
                <a:gd name="T1" fmla="*/ 59 h 153"/>
                <a:gd name="T2" fmla="*/ 120 w 154"/>
                <a:gd name="T3" fmla="*/ 72 h 153"/>
                <a:gd name="T4" fmla="*/ 108 w 154"/>
                <a:gd name="T5" fmla="*/ 72 h 153"/>
                <a:gd name="T6" fmla="*/ 102 w 154"/>
                <a:gd name="T7" fmla="*/ 57 h 153"/>
                <a:gd name="T8" fmla="*/ 111 w 154"/>
                <a:gd name="T9" fmla="*/ 49 h 153"/>
                <a:gd name="T10" fmla="*/ 142 w 154"/>
                <a:gd name="T11" fmla="*/ 36 h 153"/>
                <a:gd name="T12" fmla="*/ 128 w 154"/>
                <a:gd name="T13" fmla="*/ 19 h 153"/>
                <a:gd name="T14" fmla="*/ 108 w 154"/>
                <a:gd name="T15" fmla="*/ 11 h 153"/>
                <a:gd name="T16" fmla="*/ 105 w 154"/>
                <a:gd name="T17" fmla="*/ 35 h 153"/>
                <a:gd name="T18" fmla="*/ 90 w 154"/>
                <a:gd name="T19" fmla="*/ 57 h 153"/>
                <a:gd name="T20" fmla="*/ 92 w 154"/>
                <a:gd name="T21" fmla="*/ 34 h 153"/>
                <a:gd name="T22" fmla="*/ 81 w 154"/>
                <a:gd name="T23" fmla="*/ 27 h 153"/>
                <a:gd name="T24" fmla="*/ 81 w 154"/>
                <a:gd name="T25" fmla="*/ 15 h 153"/>
                <a:gd name="T26" fmla="*/ 73 w 154"/>
                <a:gd name="T27" fmla="*/ 15 h 153"/>
                <a:gd name="T28" fmla="*/ 73 w 154"/>
                <a:gd name="T29" fmla="*/ 27 h 153"/>
                <a:gd name="T30" fmla="*/ 62 w 154"/>
                <a:gd name="T31" fmla="*/ 34 h 153"/>
                <a:gd name="T32" fmla="*/ 63 w 154"/>
                <a:gd name="T33" fmla="*/ 57 h 153"/>
                <a:gd name="T34" fmla="*/ 49 w 154"/>
                <a:gd name="T35" fmla="*/ 35 h 153"/>
                <a:gd name="T36" fmla="*/ 45 w 154"/>
                <a:gd name="T37" fmla="*/ 11 h 153"/>
                <a:gd name="T38" fmla="*/ 25 w 154"/>
                <a:gd name="T39" fmla="*/ 19 h 153"/>
                <a:gd name="T40" fmla="*/ 12 w 154"/>
                <a:gd name="T41" fmla="*/ 36 h 153"/>
                <a:gd name="T42" fmla="*/ 43 w 154"/>
                <a:gd name="T43" fmla="*/ 49 h 153"/>
                <a:gd name="T44" fmla="*/ 51 w 154"/>
                <a:gd name="T45" fmla="*/ 57 h 153"/>
                <a:gd name="T46" fmla="*/ 45 w 154"/>
                <a:gd name="T47" fmla="*/ 72 h 153"/>
                <a:gd name="T48" fmla="*/ 33 w 154"/>
                <a:gd name="T49" fmla="*/ 72 h 153"/>
                <a:gd name="T50" fmla="*/ 2 w 154"/>
                <a:gd name="T51" fmla="*/ 59 h 153"/>
                <a:gd name="T52" fmla="*/ 0 w 154"/>
                <a:gd name="T53" fmla="*/ 81 h 153"/>
                <a:gd name="T54" fmla="*/ 8 w 154"/>
                <a:gd name="T55" fmla="*/ 100 h 153"/>
                <a:gd name="T56" fmla="*/ 28 w 154"/>
                <a:gd name="T57" fmla="*/ 86 h 153"/>
                <a:gd name="T58" fmla="*/ 54 w 154"/>
                <a:gd name="T59" fmla="*/ 81 h 153"/>
                <a:gd name="T60" fmla="*/ 36 w 154"/>
                <a:gd name="T61" fmla="*/ 96 h 153"/>
                <a:gd name="T62" fmla="*/ 39 w 154"/>
                <a:gd name="T63" fmla="*/ 108 h 153"/>
                <a:gd name="T64" fmla="*/ 31 w 154"/>
                <a:gd name="T65" fmla="*/ 116 h 153"/>
                <a:gd name="T66" fmla="*/ 37 w 154"/>
                <a:gd name="T67" fmla="*/ 122 h 153"/>
                <a:gd name="T68" fmla="*/ 45 w 154"/>
                <a:gd name="T69" fmla="*/ 114 h 153"/>
                <a:gd name="T70" fmla="*/ 57 w 154"/>
                <a:gd name="T71" fmla="*/ 117 h 153"/>
                <a:gd name="T72" fmla="*/ 73 w 154"/>
                <a:gd name="T73" fmla="*/ 100 h 153"/>
                <a:gd name="T74" fmla="*/ 68 w 154"/>
                <a:gd name="T75" fmla="*/ 125 h 153"/>
                <a:gd name="T76" fmla="*/ 53 w 154"/>
                <a:gd name="T77" fmla="*/ 145 h 153"/>
                <a:gd name="T78" fmla="*/ 73 w 154"/>
                <a:gd name="T79" fmla="*/ 153 h 153"/>
                <a:gd name="T80" fmla="*/ 94 w 154"/>
                <a:gd name="T81" fmla="*/ 151 h 153"/>
                <a:gd name="T82" fmla="*/ 81 w 154"/>
                <a:gd name="T83" fmla="*/ 120 h 153"/>
                <a:gd name="T84" fmla="*/ 81 w 154"/>
                <a:gd name="T85" fmla="*/ 108 h 153"/>
                <a:gd name="T86" fmla="*/ 96 w 154"/>
                <a:gd name="T87" fmla="*/ 102 h 153"/>
                <a:gd name="T88" fmla="*/ 105 w 154"/>
                <a:gd name="T89" fmla="*/ 110 h 153"/>
                <a:gd name="T90" fmla="*/ 117 w 154"/>
                <a:gd name="T91" fmla="*/ 141 h 153"/>
                <a:gd name="T92" fmla="*/ 134 w 154"/>
                <a:gd name="T93" fmla="*/ 128 h 153"/>
                <a:gd name="T94" fmla="*/ 142 w 154"/>
                <a:gd name="T95" fmla="*/ 108 h 153"/>
                <a:gd name="T96" fmla="*/ 118 w 154"/>
                <a:gd name="T97" fmla="*/ 104 h 153"/>
                <a:gd name="T98" fmla="*/ 96 w 154"/>
                <a:gd name="T99" fmla="*/ 90 h 153"/>
                <a:gd name="T100" fmla="*/ 119 w 154"/>
                <a:gd name="T101" fmla="*/ 92 h 153"/>
                <a:gd name="T102" fmla="*/ 126 w 154"/>
                <a:gd name="T103" fmla="*/ 81 h 153"/>
                <a:gd name="T104" fmla="*/ 138 w 154"/>
                <a:gd name="T105" fmla="*/ 8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4" h="153">
                  <a:moveTo>
                    <a:pt x="154" y="72"/>
                  </a:moveTo>
                  <a:cubicBezTo>
                    <a:pt x="138" y="72"/>
                    <a:pt x="138" y="72"/>
                    <a:pt x="138" y="72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0" y="72"/>
                    <a:pt x="120" y="72"/>
                    <a:pt x="120" y="72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99" y="69"/>
                    <a:pt x="98" y="66"/>
                    <a:pt x="96" y="63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87" y="55"/>
                    <a:pt x="84" y="54"/>
                    <a:pt x="81" y="5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69" y="54"/>
                    <a:pt x="66" y="55"/>
                    <a:pt x="63" y="57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7" y="63"/>
                    <a:pt x="57" y="63"/>
                    <a:pt x="57" y="63"/>
                  </a:cubicBezTo>
                  <a:cubicBezTo>
                    <a:pt x="55" y="66"/>
                    <a:pt x="54" y="69"/>
                    <a:pt x="5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4"/>
                    <a:pt x="55" y="87"/>
                    <a:pt x="57" y="90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39" y="108"/>
                    <a:pt x="39" y="108"/>
                    <a:pt x="39" y="108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25" y="134"/>
                    <a:pt x="25" y="134"/>
                    <a:pt x="25" y="134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6" y="98"/>
                    <a:pt x="69" y="99"/>
                    <a:pt x="73" y="100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62" y="119"/>
                    <a:pt x="62" y="119"/>
                    <a:pt x="62" y="119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53" y="145"/>
                    <a:pt x="53" y="145"/>
                    <a:pt x="53" y="145"/>
                  </a:cubicBezTo>
                  <a:cubicBezTo>
                    <a:pt x="59" y="151"/>
                    <a:pt x="59" y="151"/>
                    <a:pt x="59" y="151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53"/>
                    <a:pt x="73" y="153"/>
                    <a:pt x="73" y="153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37"/>
                    <a:pt x="81" y="137"/>
                    <a:pt x="81" y="137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81" y="125"/>
                    <a:pt x="81" y="125"/>
                    <a:pt x="81" y="125"/>
                  </a:cubicBezTo>
                  <a:cubicBezTo>
                    <a:pt x="81" y="120"/>
                    <a:pt x="81" y="120"/>
                    <a:pt x="81" y="120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2" y="119"/>
                    <a:pt x="92" y="119"/>
                    <a:pt x="92" y="119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4" y="99"/>
                    <a:pt x="87" y="98"/>
                    <a:pt x="90" y="9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17"/>
                    <a:pt x="96" y="117"/>
                    <a:pt x="96" y="117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22"/>
                    <a:pt x="117" y="122"/>
                    <a:pt x="117" y="122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4" y="128"/>
                    <a:pt x="134" y="128"/>
                    <a:pt x="134" y="128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42" y="116"/>
                    <a:pt x="142" y="116"/>
                    <a:pt x="142" y="116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96" y="90"/>
                    <a:pt x="96" y="90"/>
                    <a:pt x="96" y="90"/>
                  </a:cubicBezTo>
                  <a:cubicBezTo>
                    <a:pt x="98" y="87"/>
                    <a:pt x="99" y="84"/>
                    <a:pt x="100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19" y="92"/>
                    <a:pt x="119" y="92"/>
                    <a:pt x="119" y="92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38" y="81"/>
                    <a:pt x="138" y="81"/>
                    <a:pt x="138" y="81"/>
                  </a:cubicBezTo>
                  <a:cubicBezTo>
                    <a:pt x="154" y="81"/>
                    <a:pt x="154" y="81"/>
                    <a:pt x="154" y="81"/>
                  </a:cubicBezTo>
                  <a:lnTo>
                    <a:pt x="154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28" name="išḷïdé">
              <a:extLst>
                <a:ext uri="{FF2B5EF4-FFF2-40B4-BE49-F238E27FC236}">
                  <a16:creationId xmlns:a16="http://schemas.microsoft.com/office/drawing/2014/main" id="{03E824EE-C19C-4CE4-95DF-1DC301F761F7}"/>
                </a:ext>
              </a:extLst>
            </p:cNvPr>
            <p:cNvSpPr/>
            <p:nvPr/>
          </p:nvSpPr>
          <p:spPr bwMode="auto">
            <a:xfrm flipH="1">
              <a:off x="2131574" y="5130916"/>
              <a:ext cx="249828" cy="23640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29" name="ïşľîďê">
              <a:extLst>
                <a:ext uri="{FF2B5EF4-FFF2-40B4-BE49-F238E27FC236}">
                  <a16:creationId xmlns:a16="http://schemas.microsoft.com/office/drawing/2014/main" id="{93B8EE8A-11C3-46E9-BD00-74C3BEEE25BC}"/>
                </a:ext>
              </a:extLst>
            </p:cNvPr>
            <p:cNvSpPr/>
            <p:nvPr/>
          </p:nvSpPr>
          <p:spPr bwMode="auto">
            <a:xfrm flipH="1">
              <a:off x="2240987" y="5072460"/>
              <a:ext cx="30089" cy="404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0" name="íŝḻîḋè">
              <a:extLst>
                <a:ext uri="{FF2B5EF4-FFF2-40B4-BE49-F238E27FC236}">
                  <a16:creationId xmlns:a16="http://schemas.microsoft.com/office/drawing/2014/main" id="{38FF8263-AAAA-440B-9393-26C509164516}"/>
                </a:ext>
              </a:extLst>
            </p:cNvPr>
            <p:cNvSpPr/>
            <p:nvPr/>
          </p:nvSpPr>
          <p:spPr bwMode="auto">
            <a:xfrm flipH="1">
              <a:off x="2068661" y="5233216"/>
              <a:ext cx="45589" cy="300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1" name="îslíďê">
              <a:extLst>
                <a:ext uri="{FF2B5EF4-FFF2-40B4-BE49-F238E27FC236}">
                  <a16:creationId xmlns:a16="http://schemas.microsoft.com/office/drawing/2014/main" id="{93915320-001B-463B-9B44-546BFCFF3558}"/>
                </a:ext>
              </a:extLst>
            </p:cNvPr>
            <p:cNvSpPr/>
            <p:nvPr/>
          </p:nvSpPr>
          <p:spPr bwMode="auto">
            <a:xfrm flipH="1">
              <a:off x="2240987" y="5383656"/>
              <a:ext cx="30089" cy="421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2" name="îṩļiḍê">
              <a:extLst>
                <a:ext uri="{FF2B5EF4-FFF2-40B4-BE49-F238E27FC236}">
                  <a16:creationId xmlns:a16="http://schemas.microsoft.com/office/drawing/2014/main" id="{7913D4B5-2F9B-400E-B583-AB47D5889B54}"/>
                </a:ext>
              </a:extLst>
            </p:cNvPr>
            <p:cNvSpPr/>
            <p:nvPr/>
          </p:nvSpPr>
          <p:spPr bwMode="auto">
            <a:xfrm flipH="1">
              <a:off x="2398725" y="5233216"/>
              <a:ext cx="45589" cy="300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3" name="îś1îḑè">
              <a:extLst>
                <a:ext uri="{FF2B5EF4-FFF2-40B4-BE49-F238E27FC236}">
                  <a16:creationId xmlns:a16="http://schemas.microsoft.com/office/drawing/2014/main" id="{7498484F-0EE3-4837-81F8-7A57D6B9CA5B}"/>
                </a:ext>
              </a:extLst>
            </p:cNvPr>
            <p:cNvSpPr/>
            <p:nvPr/>
          </p:nvSpPr>
          <p:spPr bwMode="auto">
            <a:xfrm flipH="1">
              <a:off x="2111514" y="5112864"/>
              <a:ext cx="53795" cy="50720"/>
            </a:xfrm>
            <a:custGeom>
              <a:avLst/>
              <a:gdLst>
                <a:gd name="T0" fmla="*/ 59 w 59"/>
                <a:gd name="T1" fmla="*/ 24 h 59"/>
                <a:gd name="T2" fmla="*/ 23 w 59"/>
                <a:gd name="T3" fmla="*/ 59 h 59"/>
                <a:gd name="T4" fmla="*/ 0 w 59"/>
                <a:gd name="T5" fmla="*/ 33 h 59"/>
                <a:gd name="T6" fmla="*/ 33 w 59"/>
                <a:gd name="T7" fmla="*/ 0 h 59"/>
                <a:gd name="T8" fmla="*/ 59 w 59"/>
                <a:gd name="T9" fmla="*/ 2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59" y="24"/>
                  </a:moveTo>
                  <a:lnTo>
                    <a:pt x="23" y="59"/>
                  </a:lnTo>
                  <a:lnTo>
                    <a:pt x="0" y="33"/>
                  </a:lnTo>
                  <a:lnTo>
                    <a:pt x="33" y="0"/>
                  </a:lnTo>
                  <a:lnTo>
                    <a:pt x="5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4" name="iṩlíḓè">
              <a:extLst>
                <a:ext uri="{FF2B5EF4-FFF2-40B4-BE49-F238E27FC236}">
                  <a16:creationId xmlns:a16="http://schemas.microsoft.com/office/drawing/2014/main" id="{6703CBA0-BD7B-4F54-8D05-89DC99FF2265}"/>
                </a:ext>
              </a:extLst>
            </p:cNvPr>
            <p:cNvSpPr/>
            <p:nvPr/>
          </p:nvSpPr>
          <p:spPr bwMode="auto">
            <a:xfrm flipH="1">
              <a:off x="2111514" y="5332936"/>
              <a:ext cx="53795" cy="50720"/>
            </a:xfrm>
            <a:custGeom>
              <a:avLst/>
              <a:gdLst>
                <a:gd name="T0" fmla="*/ 23 w 59"/>
                <a:gd name="T1" fmla="*/ 0 h 59"/>
                <a:gd name="T2" fmla="*/ 59 w 59"/>
                <a:gd name="T3" fmla="*/ 35 h 59"/>
                <a:gd name="T4" fmla="*/ 33 w 59"/>
                <a:gd name="T5" fmla="*/ 59 h 59"/>
                <a:gd name="T6" fmla="*/ 0 w 59"/>
                <a:gd name="T7" fmla="*/ 26 h 59"/>
                <a:gd name="T8" fmla="*/ 23 w 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23" y="0"/>
                  </a:moveTo>
                  <a:lnTo>
                    <a:pt x="59" y="35"/>
                  </a:lnTo>
                  <a:lnTo>
                    <a:pt x="33" y="59"/>
                  </a:lnTo>
                  <a:lnTo>
                    <a:pt x="0" y="26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5" name="î$1iḓè">
              <a:extLst>
                <a:ext uri="{FF2B5EF4-FFF2-40B4-BE49-F238E27FC236}">
                  <a16:creationId xmlns:a16="http://schemas.microsoft.com/office/drawing/2014/main" id="{833527CC-BABA-480E-9E95-B8F258648966}"/>
                </a:ext>
              </a:extLst>
            </p:cNvPr>
            <p:cNvSpPr/>
            <p:nvPr/>
          </p:nvSpPr>
          <p:spPr bwMode="auto">
            <a:xfrm flipH="1">
              <a:off x="2346753" y="5332936"/>
              <a:ext cx="53795" cy="50720"/>
            </a:xfrm>
            <a:custGeom>
              <a:avLst/>
              <a:gdLst>
                <a:gd name="T0" fmla="*/ 35 w 59"/>
                <a:gd name="T1" fmla="*/ 0 h 59"/>
                <a:gd name="T2" fmla="*/ 59 w 59"/>
                <a:gd name="T3" fmla="*/ 26 h 59"/>
                <a:gd name="T4" fmla="*/ 26 w 59"/>
                <a:gd name="T5" fmla="*/ 59 h 59"/>
                <a:gd name="T6" fmla="*/ 0 w 59"/>
                <a:gd name="T7" fmla="*/ 35 h 59"/>
                <a:gd name="T8" fmla="*/ 35 w 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35" y="0"/>
                  </a:moveTo>
                  <a:lnTo>
                    <a:pt x="59" y="26"/>
                  </a:lnTo>
                  <a:lnTo>
                    <a:pt x="26" y="59"/>
                  </a:lnTo>
                  <a:lnTo>
                    <a:pt x="0" y="35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6" name="i$ļiḍê">
              <a:extLst>
                <a:ext uri="{FF2B5EF4-FFF2-40B4-BE49-F238E27FC236}">
                  <a16:creationId xmlns:a16="http://schemas.microsoft.com/office/drawing/2014/main" id="{66FB682D-8D10-41B2-8191-A920E0AB4767}"/>
                </a:ext>
              </a:extLst>
            </p:cNvPr>
            <p:cNvSpPr/>
            <p:nvPr/>
          </p:nvSpPr>
          <p:spPr bwMode="auto">
            <a:xfrm flipH="1">
              <a:off x="2346753" y="5112864"/>
              <a:ext cx="53795" cy="50720"/>
            </a:xfrm>
            <a:custGeom>
              <a:avLst/>
              <a:gdLst>
                <a:gd name="T0" fmla="*/ 59 w 59"/>
                <a:gd name="T1" fmla="*/ 33 h 59"/>
                <a:gd name="T2" fmla="*/ 35 w 59"/>
                <a:gd name="T3" fmla="*/ 59 h 59"/>
                <a:gd name="T4" fmla="*/ 0 w 59"/>
                <a:gd name="T5" fmla="*/ 24 h 59"/>
                <a:gd name="T6" fmla="*/ 26 w 59"/>
                <a:gd name="T7" fmla="*/ 0 h 59"/>
                <a:gd name="T8" fmla="*/ 59 w 59"/>
                <a:gd name="T9" fmla="*/ 3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9">
                  <a:moveTo>
                    <a:pt x="59" y="33"/>
                  </a:moveTo>
                  <a:lnTo>
                    <a:pt x="35" y="59"/>
                  </a:lnTo>
                  <a:lnTo>
                    <a:pt x="0" y="24"/>
                  </a:lnTo>
                  <a:lnTo>
                    <a:pt x="26" y="0"/>
                  </a:lnTo>
                  <a:lnTo>
                    <a:pt x="5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7" name="ïṧḻïdé">
              <a:extLst>
                <a:ext uri="{FF2B5EF4-FFF2-40B4-BE49-F238E27FC236}">
                  <a16:creationId xmlns:a16="http://schemas.microsoft.com/office/drawing/2014/main" id="{05428024-73AA-4752-9EC6-E6A597761DC8}"/>
                </a:ext>
              </a:extLst>
            </p:cNvPr>
            <p:cNvSpPr/>
            <p:nvPr/>
          </p:nvSpPr>
          <p:spPr bwMode="auto">
            <a:xfrm flipH="1">
              <a:off x="2169868" y="5078478"/>
              <a:ext cx="47413" cy="50720"/>
            </a:xfrm>
            <a:custGeom>
              <a:avLst/>
              <a:gdLst>
                <a:gd name="T0" fmla="*/ 52 w 52"/>
                <a:gd name="T1" fmla="*/ 14 h 59"/>
                <a:gd name="T2" fmla="*/ 33 w 52"/>
                <a:gd name="T3" fmla="*/ 59 h 59"/>
                <a:gd name="T4" fmla="*/ 0 w 52"/>
                <a:gd name="T5" fmla="*/ 45 h 59"/>
                <a:gd name="T6" fmla="*/ 19 w 52"/>
                <a:gd name="T7" fmla="*/ 0 h 59"/>
                <a:gd name="T8" fmla="*/ 52 w 52"/>
                <a:gd name="T9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9">
                  <a:moveTo>
                    <a:pt x="52" y="14"/>
                  </a:moveTo>
                  <a:lnTo>
                    <a:pt x="33" y="59"/>
                  </a:lnTo>
                  <a:lnTo>
                    <a:pt x="0" y="45"/>
                  </a:lnTo>
                  <a:lnTo>
                    <a:pt x="19" y="0"/>
                  </a:lnTo>
                  <a:lnTo>
                    <a:pt x="5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8" name="ïṣļîďé">
              <a:extLst>
                <a:ext uri="{FF2B5EF4-FFF2-40B4-BE49-F238E27FC236}">
                  <a16:creationId xmlns:a16="http://schemas.microsoft.com/office/drawing/2014/main" id="{CE1E448D-ACF1-427B-BE12-24C650D3AA72}"/>
                </a:ext>
              </a:extLst>
            </p:cNvPr>
            <p:cNvSpPr/>
            <p:nvPr/>
          </p:nvSpPr>
          <p:spPr bwMode="auto">
            <a:xfrm flipH="1">
              <a:off x="2076866" y="5285655"/>
              <a:ext cx="51972" cy="42983"/>
            </a:xfrm>
            <a:custGeom>
              <a:avLst/>
              <a:gdLst>
                <a:gd name="T0" fmla="*/ 12 w 57"/>
                <a:gd name="T1" fmla="*/ 0 h 50"/>
                <a:gd name="T2" fmla="*/ 57 w 57"/>
                <a:gd name="T3" fmla="*/ 19 h 50"/>
                <a:gd name="T4" fmla="*/ 45 w 57"/>
                <a:gd name="T5" fmla="*/ 50 h 50"/>
                <a:gd name="T6" fmla="*/ 0 w 57"/>
                <a:gd name="T7" fmla="*/ 33 h 50"/>
                <a:gd name="T8" fmla="*/ 12 w 5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0">
                  <a:moveTo>
                    <a:pt x="12" y="0"/>
                  </a:moveTo>
                  <a:lnTo>
                    <a:pt x="57" y="19"/>
                  </a:lnTo>
                  <a:lnTo>
                    <a:pt x="45" y="50"/>
                  </a:lnTo>
                  <a:lnTo>
                    <a:pt x="0" y="33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9" name="ïŝ1îḓê">
              <a:extLst>
                <a:ext uri="{FF2B5EF4-FFF2-40B4-BE49-F238E27FC236}">
                  <a16:creationId xmlns:a16="http://schemas.microsoft.com/office/drawing/2014/main" id="{DFDFDE89-D28E-486F-A8E4-91B11574BF95}"/>
                </a:ext>
              </a:extLst>
            </p:cNvPr>
            <p:cNvSpPr/>
            <p:nvPr/>
          </p:nvSpPr>
          <p:spPr bwMode="auto">
            <a:xfrm flipH="1">
              <a:off x="2294782" y="5367323"/>
              <a:ext cx="47413" cy="50720"/>
            </a:xfrm>
            <a:custGeom>
              <a:avLst/>
              <a:gdLst>
                <a:gd name="T0" fmla="*/ 52 w 52"/>
                <a:gd name="T1" fmla="*/ 14 h 59"/>
                <a:gd name="T2" fmla="*/ 33 w 52"/>
                <a:gd name="T3" fmla="*/ 59 h 59"/>
                <a:gd name="T4" fmla="*/ 0 w 52"/>
                <a:gd name="T5" fmla="*/ 45 h 59"/>
                <a:gd name="T6" fmla="*/ 18 w 52"/>
                <a:gd name="T7" fmla="*/ 0 h 59"/>
                <a:gd name="T8" fmla="*/ 52 w 52"/>
                <a:gd name="T9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9">
                  <a:moveTo>
                    <a:pt x="52" y="14"/>
                  </a:moveTo>
                  <a:lnTo>
                    <a:pt x="33" y="59"/>
                  </a:lnTo>
                  <a:lnTo>
                    <a:pt x="0" y="45"/>
                  </a:lnTo>
                  <a:lnTo>
                    <a:pt x="18" y="0"/>
                  </a:lnTo>
                  <a:lnTo>
                    <a:pt x="5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0" name="iṡľïḓé">
              <a:extLst>
                <a:ext uri="{FF2B5EF4-FFF2-40B4-BE49-F238E27FC236}">
                  <a16:creationId xmlns:a16="http://schemas.microsoft.com/office/drawing/2014/main" id="{36877404-5273-4E9C-92B5-8AD506AF4697}"/>
                </a:ext>
              </a:extLst>
            </p:cNvPr>
            <p:cNvSpPr/>
            <p:nvPr/>
          </p:nvSpPr>
          <p:spPr bwMode="auto">
            <a:xfrm flipH="1">
              <a:off x="2383225" y="5167882"/>
              <a:ext cx="51972" cy="42983"/>
            </a:xfrm>
            <a:custGeom>
              <a:avLst/>
              <a:gdLst>
                <a:gd name="T0" fmla="*/ 45 w 57"/>
                <a:gd name="T1" fmla="*/ 50 h 50"/>
                <a:gd name="T2" fmla="*/ 0 w 57"/>
                <a:gd name="T3" fmla="*/ 31 h 50"/>
                <a:gd name="T4" fmla="*/ 12 w 57"/>
                <a:gd name="T5" fmla="*/ 0 h 50"/>
                <a:gd name="T6" fmla="*/ 57 w 57"/>
                <a:gd name="T7" fmla="*/ 19 h 50"/>
                <a:gd name="T8" fmla="*/ 45 w 57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0">
                  <a:moveTo>
                    <a:pt x="45" y="50"/>
                  </a:moveTo>
                  <a:lnTo>
                    <a:pt x="0" y="31"/>
                  </a:lnTo>
                  <a:lnTo>
                    <a:pt x="12" y="0"/>
                  </a:lnTo>
                  <a:lnTo>
                    <a:pt x="57" y="19"/>
                  </a:lnTo>
                  <a:lnTo>
                    <a:pt x="45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1" name="îṣḷíde">
              <a:extLst>
                <a:ext uri="{FF2B5EF4-FFF2-40B4-BE49-F238E27FC236}">
                  <a16:creationId xmlns:a16="http://schemas.microsoft.com/office/drawing/2014/main" id="{8F66AB6A-4AEB-41D0-BDB0-29AB38C226A2}"/>
                </a:ext>
              </a:extLst>
            </p:cNvPr>
            <p:cNvSpPr/>
            <p:nvPr/>
          </p:nvSpPr>
          <p:spPr bwMode="auto">
            <a:xfrm flipH="1">
              <a:off x="2076867" y="5166163"/>
              <a:ext cx="54707" cy="44702"/>
            </a:xfrm>
            <a:custGeom>
              <a:avLst/>
              <a:gdLst>
                <a:gd name="T0" fmla="*/ 0 w 60"/>
                <a:gd name="T1" fmla="*/ 18 h 52"/>
                <a:gd name="T2" fmla="*/ 45 w 60"/>
                <a:gd name="T3" fmla="*/ 0 h 52"/>
                <a:gd name="T4" fmla="*/ 60 w 60"/>
                <a:gd name="T5" fmla="*/ 33 h 52"/>
                <a:gd name="T6" fmla="*/ 15 w 60"/>
                <a:gd name="T7" fmla="*/ 52 h 52"/>
                <a:gd name="T8" fmla="*/ 0 w 60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2">
                  <a:moveTo>
                    <a:pt x="0" y="18"/>
                  </a:moveTo>
                  <a:lnTo>
                    <a:pt x="45" y="0"/>
                  </a:lnTo>
                  <a:lnTo>
                    <a:pt x="60" y="33"/>
                  </a:lnTo>
                  <a:lnTo>
                    <a:pt x="15" y="52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2" name="iṥḷiḑé">
              <a:extLst>
                <a:ext uri="{FF2B5EF4-FFF2-40B4-BE49-F238E27FC236}">
                  <a16:creationId xmlns:a16="http://schemas.microsoft.com/office/drawing/2014/main" id="{707C4150-0309-41DE-AA8C-DE007111EA3C}"/>
                </a:ext>
              </a:extLst>
            </p:cNvPr>
            <p:cNvSpPr/>
            <p:nvPr/>
          </p:nvSpPr>
          <p:spPr bwMode="auto">
            <a:xfrm flipH="1">
              <a:off x="2169868" y="5367323"/>
              <a:ext cx="45589" cy="50720"/>
            </a:xfrm>
            <a:custGeom>
              <a:avLst/>
              <a:gdLst>
                <a:gd name="T0" fmla="*/ 50 w 50"/>
                <a:gd name="T1" fmla="*/ 45 h 59"/>
                <a:gd name="T2" fmla="*/ 19 w 50"/>
                <a:gd name="T3" fmla="*/ 59 h 59"/>
                <a:gd name="T4" fmla="*/ 0 w 50"/>
                <a:gd name="T5" fmla="*/ 14 h 59"/>
                <a:gd name="T6" fmla="*/ 31 w 50"/>
                <a:gd name="T7" fmla="*/ 0 h 59"/>
                <a:gd name="T8" fmla="*/ 50 w 50"/>
                <a:gd name="T9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9">
                  <a:moveTo>
                    <a:pt x="50" y="45"/>
                  </a:moveTo>
                  <a:lnTo>
                    <a:pt x="19" y="59"/>
                  </a:lnTo>
                  <a:lnTo>
                    <a:pt x="0" y="14"/>
                  </a:lnTo>
                  <a:lnTo>
                    <a:pt x="31" y="0"/>
                  </a:lnTo>
                  <a:lnTo>
                    <a:pt x="5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3" name="îSľîḍe">
              <a:extLst>
                <a:ext uri="{FF2B5EF4-FFF2-40B4-BE49-F238E27FC236}">
                  <a16:creationId xmlns:a16="http://schemas.microsoft.com/office/drawing/2014/main" id="{5FFF4645-F7EA-458F-B7A6-C4EFA812D546}"/>
                </a:ext>
              </a:extLst>
            </p:cNvPr>
            <p:cNvSpPr/>
            <p:nvPr/>
          </p:nvSpPr>
          <p:spPr bwMode="auto">
            <a:xfrm flipH="1">
              <a:off x="2381401" y="5285655"/>
              <a:ext cx="53795" cy="44702"/>
            </a:xfrm>
            <a:custGeom>
              <a:avLst/>
              <a:gdLst>
                <a:gd name="T0" fmla="*/ 59 w 59"/>
                <a:gd name="T1" fmla="*/ 33 h 52"/>
                <a:gd name="T2" fmla="*/ 14 w 59"/>
                <a:gd name="T3" fmla="*/ 52 h 52"/>
                <a:gd name="T4" fmla="*/ 0 w 59"/>
                <a:gd name="T5" fmla="*/ 19 h 52"/>
                <a:gd name="T6" fmla="*/ 45 w 59"/>
                <a:gd name="T7" fmla="*/ 0 h 52"/>
                <a:gd name="T8" fmla="*/ 59 w 59"/>
                <a:gd name="T9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2">
                  <a:moveTo>
                    <a:pt x="59" y="33"/>
                  </a:moveTo>
                  <a:lnTo>
                    <a:pt x="14" y="52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5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4" name="îşľíḋe">
              <a:extLst>
                <a:ext uri="{FF2B5EF4-FFF2-40B4-BE49-F238E27FC236}">
                  <a16:creationId xmlns:a16="http://schemas.microsoft.com/office/drawing/2014/main" id="{A1001402-020E-4D96-A548-E9A0B6B39869}"/>
                </a:ext>
              </a:extLst>
            </p:cNvPr>
            <p:cNvSpPr/>
            <p:nvPr/>
          </p:nvSpPr>
          <p:spPr bwMode="auto">
            <a:xfrm flipH="1">
              <a:off x="2297517" y="5078478"/>
              <a:ext cx="44677" cy="50720"/>
            </a:xfrm>
            <a:custGeom>
              <a:avLst/>
              <a:gdLst>
                <a:gd name="T0" fmla="*/ 49 w 49"/>
                <a:gd name="T1" fmla="*/ 45 h 59"/>
                <a:gd name="T2" fmla="*/ 18 w 49"/>
                <a:gd name="T3" fmla="*/ 59 h 59"/>
                <a:gd name="T4" fmla="*/ 0 w 49"/>
                <a:gd name="T5" fmla="*/ 14 h 59"/>
                <a:gd name="T6" fmla="*/ 30 w 49"/>
                <a:gd name="T7" fmla="*/ 0 h 59"/>
                <a:gd name="T8" fmla="*/ 49 w 49"/>
                <a:gd name="T9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9">
                  <a:moveTo>
                    <a:pt x="49" y="45"/>
                  </a:moveTo>
                  <a:lnTo>
                    <a:pt x="18" y="59"/>
                  </a:lnTo>
                  <a:lnTo>
                    <a:pt x="0" y="14"/>
                  </a:lnTo>
                  <a:lnTo>
                    <a:pt x="30" y="0"/>
                  </a:lnTo>
                  <a:lnTo>
                    <a:pt x="49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5" name="iṣļïde">
              <a:extLst>
                <a:ext uri="{FF2B5EF4-FFF2-40B4-BE49-F238E27FC236}">
                  <a16:creationId xmlns:a16="http://schemas.microsoft.com/office/drawing/2014/main" id="{D6935E85-40EF-47BB-9CF4-D61024D4BB1B}"/>
                </a:ext>
              </a:extLst>
            </p:cNvPr>
            <p:cNvSpPr/>
            <p:nvPr/>
          </p:nvSpPr>
          <p:spPr bwMode="auto">
            <a:xfrm flipH="1">
              <a:off x="1766862" y="3182931"/>
              <a:ext cx="267152" cy="226090"/>
            </a:xfrm>
            <a:custGeom>
              <a:avLst/>
              <a:gdLst>
                <a:gd name="T0" fmla="*/ 13 w 124"/>
                <a:gd name="T1" fmla="*/ 11 h 111"/>
                <a:gd name="T2" fmla="*/ 1 w 124"/>
                <a:gd name="T3" fmla="*/ 33 h 111"/>
                <a:gd name="T4" fmla="*/ 0 w 124"/>
                <a:gd name="T5" fmla="*/ 40 h 111"/>
                <a:gd name="T6" fmla="*/ 0 w 124"/>
                <a:gd name="T7" fmla="*/ 41 h 111"/>
                <a:gd name="T8" fmla="*/ 0 w 124"/>
                <a:gd name="T9" fmla="*/ 47 h 111"/>
                <a:gd name="T10" fmla="*/ 1 w 124"/>
                <a:gd name="T11" fmla="*/ 52 h 111"/>
                <a:gd name="T12" fmla="*/ 5 w 124"/>
                <a:gd name="T13" fmla="*/ 72 h 111"/>
                <a:gd name="T14" fmla="*/ 19 w 124"/>
                <a:gd name="T15" fmla="*/ 97 h 111"/>
                <a:gd name="T16" fmla="*/ 19 w 124"/>
                <a:gd name="T17" fmla="*/ 97 h 111"/>
                <a:gd name="T18" fmla="*/ 27 w 124"/>
                <a:gd name="T19" fmla="*/ 106 h 111"/>
                <a:gd name="T20" fmla="*/ 30 w 124"/>
                <a:gd name="T21" fmla="*/ 108 h 111"/>
                <a:gd name="T22" fmla="*/ 43 w 124"/>
                <a:gd name="T23" fmla="*/ 110 h 111"/>
                <a:gd name="T24" fmla="*/ 44 w 124"/>
                <a:gd name="T25" fmla="*/ 109 h 111"/>
                <a:gd name="T26" fmla="*/ 50 w 124"/>
                <a:gd name="T27" fmla="*/ 107 h 111"/>
                <a:gd name="T28" fmla="*/ 54 w 124"/>
                <a:gd name="T29" fmla="*/ 106 h 111"/>
                <a:gd name="T30" fmla="*/ 62 w 124"/>
                <a:gd name="T31" fmla="*/ 105 h 111"/>
                <a:gd name="T32" fmla="*/ 62 w 124"/>
                <a:gd name="T33" fmla="*/ 105 h 111"/>
                <a:gd name="T34" fmla="*/ 70 w 124"/>
                <a:gd name="T35" fmla="*/ 106 h 111"/>
                <a:gd name="T36" fmla="*/ 74 w 124"/>
                <a:gd name="T37" fmla="*/ 107 h 111"/>
                <a:gd name="T38" fmla="*/ 81 w 124"/>
                <a:gd name="T39" fmla="*/ 109 h 111"/>
                <a:gd name="T40" fmla="*/ 81 w 124"/>
                <a:gd name="T41" fmla="*/ 110 h 111"/>
                <a:gd name="T42" fmla="*/ 94 w 124"/>
                <a:gd name="T43" fmla="*/ 108 h 111"/>
                <a:gd name="T44" fmla="*/ 97 w 124"/>
                <a:gd name="T45" fmla="*/ 106 h 111"/>
                <a:gd name="T46" fmla="*/ 105 w 124"/>
                <a:gd name="T47" fmla="*/ 97 h 111"/>
                <a:gd name="T48" fmla="*/ 105 w 124"/>
                <a:gd name="T49" fmla="*/ 97 h 111"/>
                <a:gd name="T50" fmla="*/ 119 w 124"/>
                <a:gd name="T51" fmla="*/ 72 h 111"/>
                <a:gd name="T52" fmla="*/ 124 w 124"/>
                <a:gd name="T53" fmla="*/ 52 h 111"/>
                <a:gd name="T54" fmla="*/ 124 w 124"/>
                <a:gd name="T55" fmla="*/ 47 h 111"/>
                <a:gd name="T56" fmla="*/ 124 w 124"/>
                <a:gd name="T57" fmla="*/ 41 h 111"/>
                <a:gd name="T58" fmla="*/ 124 w 124"/>
                <a:gd name="T59" fmla="*/ 40 h 111"/>
                <a:gd name="T60" fmla="*/ 123 w 124"/>
                <a:gd name="T61" fmla="*/ 33 h 111"/>
                <a:gd name="T62" fmla="*/ 111 w 124"/>
                <a:gd name="T63" fmla="*/ 11 h 111"/>
                <a:gd name="T64" fmla="*/ 109 w 124"/>
                <a:gd name="T65" fmla="*/ 8 h 111"/>
                <a:gd name="T66" fmla="*/ 91 w 124"/>
                <a:gd name="T67" fmla="*/ 1 h 111"/>
                <a:gd name="T68" fmla="*/ 72 w 124"/>
                <a:gd name="T69" fmla="*/ 3 h 111"/>
                <a:gd name="T70" fmla="*/ 62 w 124"/>
                <a:gd name="T71" fmla="*/ 7 h 111"/>
                <a:gd name="T72" fmla="*/ 52 w 124"/>
                <a:gd name="T73" fmla="*/ 3 h 111"/>
                <a:gd name="T74" fmla="*/ 33 w 124"/>
                <a:gd name="T75" fmla="*/ 1 h 111"/>
                <a:gd name="T76" fmla="*/ 15 w 124"/>
                <a:gd name="T77" fmla="*/ 8 h 111"/>
                <a:gd name="T78" fmla="*/ 13 w 124"/>
                <a:gd name="T79" fmla="*/ 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4" h="111">
                  <a:moveTo>
                    <a:pt x="13" y="11"/>
                  </a:moveTo>
                  <a:cubicBezTo>
                    <a:pt x="6" y="17"/>
                    <a:pt x="3" y="25"/>
                    <a:pt x="1" y="33"/>
                  </a:cubicBezTo>
                  <a:cubicBezTo>
                    <a:pt x="1" y="36"/>
                    <a:pt x="1" y="38"/>
                    <a:pt x="0" y="40"/>
                  </a:cubicBezTo>
                  <a:cubicBezTo>
                    <a:pt x="0" y="40"/>
                    <a:pt x="0" y="41"/>
                    <a:pt x="0" y="41"/>
                  </a:cubicBezTo>
                  <a:cubicBezTo>
                    <a:pt x="0" y="43"/>
                    <a:pt x="0" y="45"/>
                    <a:pt x="0" y="47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1" y="59"/>
                    <a:pt x="3" y="65"/>
                    <a:pt x="5" y="72"/>
                  </a:cubicBezTo>
                  <a:cubicBezTo>
                    <a:pt x="8" y="81"/>
                    <a:pt x="13" y="89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2" y="101"/>
                    <a:pt x="24" y="104"/>
                    <a:pt x="27" y="106"/>
                  </a:cubicBezTo>
                  <a:cubicBezTo>
                    <a:pt x="28" y="107"/>
                    <a:pt x="29" y="107"/>
                    <a:pt x="30" y="108"/>
                  </a:cubicBezTo>
                  <a:cubicBezTo>
                    <a:pt x="34" y="111"/>
                    <a:pt x="38" y="111"/>
                    <a:pt x="43" y="110"/>
                  </a:cubicBezTo>
                  <a:cubicBezTo>
                    <a:pt x="43" y="110"/>
                    <a:pt x="43" y="110"/>
                    <a:pt x="44" y="109"/>
                  </a:cubicBezTo>
                  <a:cubicBezTo>
                    <a:pt x="46" y="109"/>
                    <a:pt x="48" y="108"/>
                    <a:pt x="50" y="107"/>
                  </a:cubicBezTo>
                  <a:cubicBezTo>
                    <a:pt x="51" y="107"/>
                    <a:pt x="53" y="106"/>
                    <a:pt x="54" y="106"/>
                  </a:cubicBezTo>
                  <a:cubicBezTo>
                    <a:pt x="57" y="105"/>
                    <a:pt x="62" y="105"/>
                    <a:pt x="62" y="105"/>
                  </a:cubicBezTo>
                  <a:cubicBezTo>
                    <a:pt x="62" y="105"/>
                    <a:pt x="62" y="105"/>
                    <a:pt x="62" y="105"/>
                  </a:cubicBezTo>
                  <a:cubicBezTo>
                    <a:pt x="65" y="105"/>
                    <a:pt x="67" y="105"/>
                    <a:pt x="70" y="106"/>
                  </a:cubicBezTo>
                  <a:cubicBezTo>
                    <a:pt x="71" y="106"/>
                    <a:pt x="73" y="107"/>
                    <a:pt x="74" y="107"/>
                  </a:cubicBezTo>
                  <a:cubicBezTo>
                    <a:pt x="76" y="108"/>
                    <a:pt x="78" y="109"/>
                    <a:pt x="81" y="109"/>
                  </a:cubicBezTo>
                  <a:cubicBezTo>
                    <a:pt x="81" y="110"/>
                    <a:pt x="81" y="110"/>
                    <a:pt x="81" y="110"/>
                  </a:cubicBezTo>
                  <a:cubicBezTo>
                    <a:pt x="86" y="111"/>
                    <a:pt x="90" y="111"/>
                    <a:pt x="94" y="108"/>
                  </a:cubicBezTo>
                  <a:cubicBezTo>
                    <a:pt x="95" y="107"/>
                    <a:pt x="96" y="107"/>
                    <a:pt x="97" y="106"/>
                  </a:cubicBezTo>
                  <a:cubicBezTo>
                    <a:pt x="100" y="104"/>
                    <a:pt x="102" y="101"/>
                    <a:pt x="105" y="97"/>
                  </a:cubicBezTo>
                  <a:cubicBezTo>
                    <a:pt x="105" y="97"/>
                    <a:pt x="105" y="97"/>
                    <a:pt x="105" y="97"/>
                  </a:cubicBezTo>
                  <a:cubicBezTo>
                    <a:pt x="111" y="89"/>
                    <a:pt x="116" y="81"/>
                    <a:pt x="119" y="72"/>
                  </a:cubicBezTo>
                  <a:cubicBezTo>
                    <a:pt x="121" y="65"/>
                    <a:pt x="123" y="59"/>
                    <a:pt x="124" y="52"/>
                  </a:cubicBezTo>
                  <a:cubicBezTo>
                    <a:pt x="124" y="50"/>
                    <a:pt x="124" y="49"/>
                    <a:pt x="124" y="47"/>
                  </a:cubicBezTo>
                  <a:cubicBezTo>
                    <a:pt x="124" y="45"/>
                    <a:pt x="124" y="43"/>
                    <a:pt x="124" y="41"/>
                  </a:cubicBezTo>
                  <a:cubicBezTo>
                    <a:pt x="124" y="41"/>
                    <a:pt x="124" y="40"/>
                    <a:pt x="124" y="40"/>
                  </a:cubicBezTo>
                  <a:cubicBezTo>
                    <a:pt x="124" y="38"/>
                    <a:pt x="123" y="36"/>
                    <a:pt x="123" y="33"/>
                  </a:cubicBezTo>
                  <a:cubicBezTo>
                    <a:pt x="121" y="25"/>
                    <a:pt x="118" y="17"/>
                    <a:pt x="111" y="11"/>
                  </a:cubicBezTo>
                  <a:cubicBezTo>
                    <a:pt x="110" y="10"/>
                    <a:pt x="110" y="9"/>
                    <a:pt x="109" y="8"/>
                  </a:cubicBezTo>
                  <a:cubicBezTo>
                    <a:pt x="104" y="4"/>
                    <a:pt x="98" y="2"/>
                    <a:pt x="91" y="1"/>
                  </a:cubicBezTo>
                  <a:cubicBezTo>
                    <a:pt x="84" y="0"/>
                    <a:pt x="78" y="1"/>
                    <a:pt x="72" y="3"/>
                  </a:cubicBezTo>
                  <a:cubicBezTo>
                    <a:pt x="69" y="4"/>
                    <a:pt x="62" y="7"/>
                    <a:pt x="62" y="7"/>
                  </a:cubicBezTo>
                  <a:cubicBezTo>
                    <a:pt x="62" y="7"/>
                    <a:pt x="55" y="4"/>
                    <a:pt x="52" y="3"/>
                  </a:cubicBezTo>
                  <a:cubicBezTo>
                    <a:pt x="46" y="1"/>
                    <a:pt x="40" y="0"/>
                    <a:pt x="33" y="1"/>
                  </a:cubicBezTo>
                  <a:cubicBezTo>
                    <a:pt x="26" y="2"/>
                    <a:pt x="20" y="4"/>
                    <a:pt x="15" y="8"/>
                  </a:cubicBezTo>
                  <a:cubicBezTo>
                    <a:pt x="14" y="9"/>
                    <a:pt x="14" y="10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6" name="íş1íḋè">
              <a:extLst>
                <a:ext uri="{FF2B5EF4-FFF2-40B4-BE49-F238E27FC236}">
                  <a16:creationId xmlns:a16="http://schemas.microsoft.com/office/drawing/2014/main" id="{73F1EBDA-103A-43E8-BFFE-DE273C954AB4}"/>
                </a:ext>
              </a:extLst>
            </p:cNvPr>
            <p:cNvSpPr/>
            <p:nvPr/>
          </p:nvSpPr>
          <p:spPr bwMode="auto">
            <a:xfrm flipH="1">
              <a:off x="1899981" y="3112439"/>
              <a:ext cx="62913" cy="68773"/>
            </a:xfrm>
            <a:custGeom>
              <a:avLst/>
              <a:gdLst>
                <a:gd name="T0" fmla="*/ 9 w 29"/>
                <a:gd name="T1" fmla="*/ 25 h 34"/>
                <a:gd name="T2" fmla="*/ 21 w 29"/>
                <a:gd name="T3" fmla="*/ 33 h 34"/>
                <a:gd name="T4" fmla="*/ 28 w 29"/>
                <a:gd name="T5" fmla="*/ 34 h 34"/>
                <a:gd name="T6" fmla="*/ 29 w 29"/>
                <a:gd name="T7" fmla="*/ 33 h 34"/>
                <a:gd name="T8" fmla="*/ 23 w 29"/>
                <a:gd name="T9" fmla="*/ 13 h 34"/>
                <a:gd name="T10" fmla="*/ 2 w 29"/>
                <a:gd name="T11" fmla="*/ 1 h 34"/>
                <a:gd name="T12" fmla="*/ 1 w 29"/>
                <a:gd name="T13" fmla="*/ 0 h 34"/>
                <a:gd name="T14" fmla="*/ 0 w 29"/>
                <a:gd name="T15" fmla="*/ 0 h 34"/>
                <a:gd name="T16" fmla="*/ 0 w 29"/>
                <a:gd name="T17" fmla="*/ 9 h 34"/>
                <a:gd name="T18" fmla="*/ 9 w 29"/>
                <a:gd name="T19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4">
                  <a:moveTo>
                    <a:pt x="9" y="25"/>
                  </a:moveTo>
                  <a:cubicBezTo>
                    <a:pt x="12" y="29"/>
                    <a:pt x="16" y="32"/>
                    <a:pt x="21" y="33"/>
                  </a:cubicBezTo>
                  <a:cubicBezTo>
                    <a:pt x="23" y="34"/>
                    <a:pt x="26" y="34"/>
                    <a:pt x="28" y="34"/>
                  </a:cubicBezTo>
                  <a:cubicBezTo>
                    <a:pt x="29" y="34"/>
                    <a:pt x="29" y="34"/>
                    <a:pt x="29" y="33"/>
                  </a:cubicBezTo>
                  <a:cubicBezTo>
                    <a:pt x="29" y="26"/>
                    <a:pt x="27" y="19"/>
                    <a:pt x="23" y="13"/>
                  </a:cubicBezTo>
                  <a:cubicBezTo>
                    <a:pt x="18" y="6"/>
                    <a:pt x="11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1" y="15"/>
                    <a:pt x="4" y="21"/>
                    <a:pt x="9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7" name="ïṣļîḍè">
              <a:extLst>
                <a:ext uri="{FF2B5EF4-FFF2-40B4-BE49-F238E27FC236}">
                  <a16:creationId xmlns:a16="http://schemas.microsoft.com/office/drawing/2014/main" id="{6B63D864-078F-4A86-99D7-EDC1696A570D}"/>
                </a:ext>
              </a:extLst>
            </p:cNvPr>
            <p:cNvSpPr/>
            <p:nvPr/>
          </p:nvSpPr>
          <p:spPr bwMode="auto">
            <a:xfrm flipH="1">
              <a:off x="3685245" y="3315318"/>
              <a:ext cx="146797" cy="288845"/>
            </a:xfrm>
            <a:custGeom>
              <a:avLst/>
              <a:gdLst>
                <a:gd name="T0" fmla="*/ 34 w 68"/>
                <a:gd name="T1" fmla="*/ 122 h 142"/>
                <a:gd name="T2" fmla="*/ 67 w 68"/>
                <a:gd name="T3" fmla="*/ 138 h 142"/>
                <a:gd name="T4" fmla="*/ 68 w 68"/>
                <a:gd name="T5" fmla="*/ 138 h 142"/>
                <a:gd name="T6" fmla="*/ 68 w 68"/>
                <a:gd name="T7" fmla="*/ 31 h 142"/>
                <a:gd name="T8" fmla="*/ 66 w 68"/>
                <a:gd name="T9" fmla="*/ 15 h 142"/>
                <a:gd name="T10" fmla="*/ 34 w 68"/>
                <a:gd name="T11" fmla="*/ 0 h 142"/>
                <a:gd name="T12" fmla="*/ 34 w 68"/>
                <a:gd name="T13" fmla="*/ 19 h 142"/>
                <a:gd name="T14" fmla="*/ 57 w 68"/>
                <a:gd name="T15" fmla="*/ 23 h 142"/>
                <a:gd name="T16" fmla="*/ 58 w 68"/>
                <a:gd name="T17" fmla="*/ 26 h 142"/>
                <a:gd name="T18" fmla="*/ 56 w 68"/>
                <a:gd name="T19" fmla="*/ 27 h 142"/>
                <a:gd name="T20" fmla="*/ 55 w 68"/>
                <a:gd name="T21" fmla="*/ 27 h 142"/>
                <a:gd name="T22" fmla="*/ 51 w 68"/>
                <a:gd name="T23" fmla="*/ 25 h 142"/>
                <a:gd name="T24" fmla="*/ 34 w 68"/>
                <a:gd name="T25" fmla="*/ 23 h 142"/>
                <a:gd name="T26" fmla="*/ 34 w 68"/>
                <a:gd name="T27" fmla="*/ 38 h 142"/>
                <a:gd name="T28" fmla="*/ 57 w 68"/>
                <a:gd name="T29" fmla="*/ 43 h 142"/>
                <a:gd name="T30" fmla="*/ 58 w 68"/>
                <a:gd name="T31" fmla="*/ 45 h 142"/>
                <a:gd name="T32" fmla="*/ 56 w 68"/>
                <a:gd name="T33" fmla="*/ 46 h 142"/>
                <a:gd name="T34" fmla="*/ 55 w 68"/>
                <a:gd name="T35" fmla="*/ 46 h 142"/>
                <a:gd name="T36" fmla="*/ 51 w 68"/>
                <a:gd name="T37" fmla="*/ 44 h 142"/>
                <a:gd name="T38" fmla="*/ 34 w 68"/>
                <a:gd name="T39" fmla="*/ 42 h 142"/>
                <a:gd name="T40" fmla="*/ 34 w 68"/>
                <a:gd name="T41" fmla="*/ 57 h 142"/>
                <a:gd name="T42" fmla="*/ 57 w 68"/>
                <a:gd name="T43" fmla="*/ 62 h 142"/>
                <a:gd name="T44" fmla="*/ 58 w 68"/>
                <a:gd name="T45" fmla="*/ 64 h 142"/>
                <a:gd name="T46" fmla="*/ 56 w 68"/>
                <a:gd name="T47" fmla="*/ 65 h 142"/>
                <a:gd name="T48" fmla="*/ 55 w 68"/>
                <a:gd name="T49" fmla="*/ 65 h 142"/>
                <a:gd name="T50" fmla="*/ 51 w 68"/>
                <a:gd name="T51" fmla="*/ 63 h 142"/>
                <a:gd name="T52" fmla="*/ 34 w 68"/>
                <a:gd name="T53" fmla="*/ 61 h 142"/>
                <a:gd name="T54" fmla="*/ 34 w 68"/>
                <a:gd name="T55" fmla="*/ 122 h 142"/>
                <a:gd name="T56" fmla="*/ 1 w 68"/>
                <a:gd name="T57" fmla="*/ 138 h 142"/>
                <a:gd name="T58" fmla="*/ 34 w 68"/>
                <a:gd name="T59" fmla="*/ 122 h 142"/>
                <a:gd name="T60" fmla="*/ 34 w 68"/>
                <a:gd name="T61" fmla="*/ 61 h 142"/>
                <a:gd name="T62" fmla="*/ 17 w 68"/>
                <a:gd name="T63" fmla="*/ 63 h 142"/>
                <a:gd name="T64" fmla="*/ 13 w 68"/>
                <a:gd name="T65" fmla="*/ 65 h 142"/>
                <a:gd name="T66" fmla="*/ 10 w 68"/>
                <a:gd name="T67" fmla="*/ 64 h 142"/>
                <a:gd name="T68" fmla="*/ 11 w 68"/>
                <a:gd name="T69" fmla="*/ 62 h 142"/>
                <a:gd name="T70" fmla="*/ 11 w 68"/>
                <a:gd name="T71" fmla="*/ 62 h 142"/>
                <a:gd name="T72" fmla="*/ 34 w 68"/>
                <a:gd name="T73" fmla="*/ 57 h 142"/>
                <a:gd name="T74" fmla="*/ 34 w 68"/>
                <a:gd name="T75" fmla="*/ 42 h 142"/>
                <a:gd name="T76" fmla="*/ 17 w 68"/>
                <a:gd name="T77" fmla="*/ 44 h 142"/>
                <a:gd name="T78" fmla="*/ 13 w 68"/>
                <a:gd name="T79" fmla="*/ 46 h 142"/>
                <a:gd name="T80" fmla="*/ 10 w 68"/>
                <a:gd name="T81" fmla="*/ 45 h 142"/>
                <a:gd name="T82" fmla="*/ 11 w 68"/>
                <a:gd name="T83" fmla="*/ 43 h 142"/>
                <a:gd name="T84" fmla="*/ 11 w 68"/>
                <a:gd name="T85" fmla="*/ 43 h 142"/>
                <a:gd name="T86" fmla="*/ 34 w 68"/>
                <a:gd name="T87" fmla="*/ 38 h 142"/>
                <a:gd name="T88" fmla="*/ 34 w 68"/>
                <a:gd name="T89" fmla="*/ 23 h 142"/>
                <a:gd name="T90" fmla="*/ 17 w 68"/>
                <a:gd name="T91" fmla="*/ 25 h 142"/>
                <a:gd name="T92" fmla="*/ 13 w 68"/>
                <a:gd name="T93" fmla="*/ 27 h 142"/>
                <a:gd name="T94" fmla="*/ 10 w 68"/>
                <a:gd name="T95" fmla="*/ 26 h 142"/>
                <a:gd name="T96" fmla="*/ 11 w 68"/>
                <a:gd name="T97" fmla="*/ 23 h 142"/>
                <a:gd name="T98" fmla="*/ 11 w 68"/>
                <a:gd name="T99" fmla="*/ 23 h 142"/>
                <a:gd name="T100" fmla="*/ 34 w 68"/>
                <a:gd name="T101" fmla="*/ 19 h 142"/>
                <a:gd name="T102" fmla="*/ 34 w 68"/>
                <a:gd name="T103" fmla="*/ 0 h 142"/>
                <a:gd name="T104" fmla="*/ 2 w 68"/>
                <a:gd name="T105" fmla="*/ 15 h 142"/>
                <a:gd name="T106" fmla="*/ 0 w 68"/>
                <a:gd name="T107" fmla="*/ 31 h 142"/>
                <a:gd name="T108" fmla="*/ 0 w 68"/>
                <a:gd name="T109" fmla="*/ 138 h 142"/>
                <a:gd name="T110" fmla="*/ 1 w 68"/>
                <a:gd name="T1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142">
                  <a:moveTo>
                    <a:pt x="34" y="122"/>
                  </a:moveTo>
                  <a:cubicBezTo>
                    <a:pt x="50" y="122"/>
                    <a:pt x="63" y="126"/>
                    <a:pt x="67" y="138"/>
                  </a:cubicBezTo>
                  <a:cubicBezTo>
                    <a:pt x="68" y="142"/>
                    <a:pt x="68" y="142"/>
                    <a:pt x="68" y="138"/>
                  </a:cubicBezTo>
                  <a:cubicBezTo>
                    <a:pt x="68" y="116"/>
                    <a:pt x="68" y="53"/>
                    <a:pt x="68" y="31"/>
                  </a:cubicBezTo>
                  <a:cubicBezTo>
                    <a:pt x="68" y="26"/>
                    <a:pt x="68" y="19"/>
                    <a:pt x="66" y="15"/>
                  </a:cubicBezTo>
                  <a:cubicBezTo>
                    <a:pt x="62" y="3"/>
                    <a:pt x="49" y="0"/>
                    <a:pt x="34" y="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44" y="19"/>
                    <a:pt x="51" y="21"/>
                    <a:pt x="57" y="23"/>
                  </a:cubicBezTo>
                  <a:cubicBezTo>
                    <a:pt x="58" y="24"/>
                    <a:pt x="58" y="25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56" y="27"/>
                    <a:pt x="56" y="27"/>
                    <a:pt x="55" y="27"/>
                  </a:cubicBezTo>
                  <a:cubicBezTo>
                    <a:pt x="54" y="26"/>
                    <a:pt x="52" y="26"/>
                    <a:pt x="51" y="25"/>
                  </a:cubicBezTo>
                  <a:cubicBezTo>
                    <a:pt x="46" y="24"/>
                    <a:pt x="41" y="23"/>
                    <a:pt x="34" y="23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44" y="38"/>
                    <a:pt x="51" y="40"/>
                    <a:pt x="57" y="43"/>
                  </a:cubicBezTo>
                  <a:cubicBezTo>
                    <a:pt x="58" y="43"/>
                    <a:pt x="58" y="44"/>
                    <a:pt x="58" y="45"/>
                  </a:cubicBezTo>
                  <a:cubicBezTo>
                    <a:pt x="58" y="46"/>
                    <a:pt x="57" y="46"/>
                    <a:pt x="56" y="46"/>
                  </a:cubicBezTo>
                  <a:cubicBezTo>
                    <a:pt x="56" y="46"/>
                    <a:pt x="56" y="46"/>
                    <a:pt x="55" y="46"/>
                  </a:cubicBezTo>
                  <a:cubicBezTo>
                    <a:pt x="54" y="45"/>
                    <a:pt x="52" y="45"/>
                    <a:pt x="51" y="44"/>
                  </a:cubicBezTo>
                  <a:cubicBezTo>
                    <a:pt x="46" y="43"/>
                    <a:pt x="41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44" y="57"/>
                    <a:pt x="51" y="59"/>
                    <a:pt x="57" y="62"/>
                  </a:cubicBezTo>
                  <a:cubicBezTo>
                    <a:pt x="58" y="62"/>
                    <a:pt x="58" y="63"/>
                    <a:pt x="58" y="64"/>
                  </a:cubicBezTo>
                  <a:cubicBezTo>
                    <a:pt x="58" y="65"/>
                    <a:pt x="57" y="65"/>
                    <a:pt x="56" y="65"/>
                  </a:cubicBezTo>
                  <a:cubicBezTo>
                    <a:pt x="56" y="65"/>
                    <a:pt x="56" y="65"/>
                    <a:pt x="55" y="65"/>
                  </a:cubicBezTo>
                  <a:cubicBezTo>
                    <a:pt x="54" y="64"/>
                    <a:pt x="52" y="64"/>
                    <a:pt x="51" y="63"/>
                  </a:cubicBezTo>
                  <a:cubicBezTo>
                    <a:pt x="46" y="62"/>
                    <a:pt x="41" y="61"/>
                    <a:pt x="34" y="61"/>
                  </a:cubicBezTo>
                  <a:lnTo>
                    <a:pt x="34" y="122"/>
                  </a:lnTo>
                  <a:close/>
                  <a:moveTo>
                    <a:pt x="1" y="138"/>
                  </a:moveTo>
                  <a:cubicBezTo>
                    <a:pt x="5" y="126"/>
                    <a:pt x="18" y="122"/>
                    <a:pt x="34" y="12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7" y="61"/>
                    <a:pt x="22" y="62"/>
                    <a:pt x="17" y="63"/>
                  </a:cubicBezTo>
                  <a:cubicBezTo>
                    <a:pt x="16" y="64"/>
                    <a:pt x="14" y="64"/>
                    <a:pt x="13" y="65"/>
                  </a:cubicBezTo>
                  <a:cubicBezTo>
                    <a:pt x="12" y="66"/>
                    <a:pt x="10" y="65"/>
                    <a:pt x="10" y="64"/>
                  </a:cubicBezTo>
                  <a:cubicBezTo>
                    <a:pt x="9" y="63"/>
                    <a:pt x="10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7" y="59"/>
                    <a:pt x="24" y="57"/>
                    <a:pt x="34" y="5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7" y="42"/>
                    <a:pt x="22" y="43"/>
                    <a:pt x="17" y="44"/>
                  </a:cubicBezTo>
                  <a:cubicBezTo>
                    <a:pt x="16" y="45"/>
                    <a:pt x="14" y="45"/>
                    <a:pt x="13" y="46"/>
                  </a:cubicBezTo>
                  <a:cubicBezTo>
                    <a:pt x="12" y="47"/>
                    <a:pt x="10" y="46"/>
                    <a:pt x="10" y="45"/>
                  </a:cubicBezTo>
                  <a:cubicBezTo>
                    <a:pt x="9" y="44"/>
                    <a:pt x="10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7" y="40"/>
                    <a:pt x="24" y="38"/>
                    <a:pt x="34" y="3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7" y="23"/>
                    <a:pt x="22" y="24"/>
                    <a:pt x="17" y="25"/>
                  </a:cubicBezTo>
                  <a:cubicBezTo>
                    <a:pt x="15" y="26"/>
                    <a:pt x="14" y="26"/>
                    <a:pt x="13" y="27"/>
                  </a:cubicBezTo>
                  <a:cubicBezTo>
                    <a:pt x="12" y="27"/>
                    <a:pt x="10" y="27"/>
                    <a:pt x="10" y="26"/>
                  </a:cubicBezTo>
                  <a:cubicBezTo>
                    <a:pt x="9" y="25"/>
                    <a:pt x="10" y="24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21"/>
                    <a:pt x="24" y="19"/>
                    <a:pt x="34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6" y="3"/>
                    <a:pt x="2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8" name="ïṣ1íďé">
              <a:extLst>
                <a:ext uri="{FF2B5EF4-FFF2-40B4-BE49-F238E27FC236}">
                  <a16:creationId xmlns:a16="http://schemas.microsoft.com/office/drawing/2014/main" id="{E61E10F6-6515-4F4C-8244-623B287B8DA0}"/>
                </a:ext>
              </a:extLst>
            </p:cNvPr>
            <p:cNvSpPr/>
            <p:nvPr/>
          </p:nvSpPr>
          <p:spPr bwMode="auto">
            <a:xfrm flipH="1">
              <a:off x="3527506" y="3315318"/>
              <a:ext cx="144061" cy="288845"/>
            </a:xfrm>
            <a:custGeom>
              <a:avLst/>
              <a:gdLst>
                <a:gd name="T0" fmla="*/ 67 w 67"/>
                <a:gd name="T1" fmla="*/ 138 h 142"/>
                <a:gd name="T2" fmla="*/ 66 w 67"/>
                <a:gd name="T3" fmla="*/ 15 h 142"/>
                <a:gd name="T4" fmla="*/ 33 w 67"/>
                <a:gd name="T5" fmla="*/ 19 h 142"/>
                <a:gd name="T6" fmla="*/ 57 w 67"/>
                <a:gd name="T7" fmla="*/ 26 h 142"/>
                <a:gd name="T8" fmla="*/ 56 w 67"/>
                <a:gd name="T9" fmla="*/ 27 h 142"/>
                <a:gd name="T10" fmla="*/ 50 w 67"/>
                <a:gd name="T11" fmla="*/ 25 h 142"/>
                <a:gd name="T12" fmla="*/ 33 w 67"/>
                <a:gd name="T13" fmla="*/ 38 h 142"/>
                <a:gd name="T14" fmla="*/ 57 w 67"/>
                <a:gd name="T15" fmla="*/ 45 h 142"/>
                <a:gd name="T16" fmla="*/ 56 w 67"/>
                <a:gd name="T17" fmla="*/ 46 h 142"/>
                <a:gd name="T18" fmla="*/ 50 w 67"/>
                <a:gd name="T19" fmla="*/ 44 h 142"/>
                <a:gd name="T20" fmla="*/ 33 w 67"/>
                <a:gd name="T21" fmla="*/ 57 h 142"/>
                <a:gd name="T22" fmla="*/ 57 w 67"/>
                <a:gd name="T23" fmla="*/ 64 h 142"/>
                <a:gd name="T24" fmla="*/ 56 w 67"/>
                <a:gd name="T25" fmla="*/ 65 h 142"/>
                <a:gd name="T26" fmla="*/ 50 w 67"/>
                <a:gd name="T27" fmla="*/ 63 h 142"/>
                <a:gd name="T28" fmla="*/ 33 w 67"/>
                <a:gd name="T29" fmla="*/ 122 h 142"/>
                <a:gd name="T30" fmla="*/ 66 w 67"/>
                <a:gd name="T31" fmla="*/ 138 h 142"/>
                <a:gd name="T32" fmla="*/ 33 w 67"/>
                <a:gd name="T33" fmla="*/ 0 h 142"/>
                <a:gd name="T34" fmla="*/ 0 w 67"/>
                <a:gd name="T35" fmla="*/ 31 h 142"/>
                <a:gd name="T36" fmla="*/ 1 w 67"/>
                <a:gd name="T37" fmla="*/ 138 h 142"/>
                <a:gd name="T38" fmla="*/ 33 w 67"/>
                <a:gd name="T39" fmla="*/ 61 h 142"/>
                <a:gd name="T40" fmla="*/ 17 w 67"/>
                <a:gd name="T41" fmla="*/ 63 h 142"/>
                <a:gd name="T42" fmla="*/ 9 w 67"/>
                <a:gd name="T43" fmla="*/ 64 h 142"/>
                <a:gd name="T44" fmla="*/ 33 w 67"/>
                <a:gd name="T45" fmla="*/ 57 h 142"/>
                <a:gd name="T46" fmla="*/ 33 w 67"/>
                <a:gd name="T47" fmla="*/ 42 h 142"/>
                <a:gd name="T48" fmla="*/ 17 w 67"/>
                <a:gd name="T49" fmla="*/ 44 h 142"/>
                <a:gd name="T50" fmla="*/ 9 w 67"/>
                <a:gd name="T51" fmla="*/ 45 h 142"/>
                <a:gd name="T52" fmla="*/ 33 w 67"/>
                <a:gd name="T53" fmla="*/ 38 h 142"/>
                <a:gd name="T54" fmla="*/ 33 w 67"/>
                <a:gd name="T55" fmla="*/ 23 h 142"/>
                <a:gd name="T56" fmla="*/ 17 w 67"/>
                <a:gd name="T57" fmla="*/ 25 h 142"/>
                <a:gd name="T58" fmla="*/ 9 w 67"/>
                <a:gd name="T59" fmla="*/ 26 h 142"/>
                <a:gd name="T60" fmla="*/ 33 w 67"/>
                <a:gd name="T61" fmla="*/ 19 h 142"/>
                <a:gd name="T62" fmla="*/ 33 w 67"/>
                <a:gd name="T6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142">
                  <a:moveTo>
                    <a:pt x="66" y="138"/>
                  </a:moveTo>
                  <a:cubicBezTo>
                    <a:pt x="67" y="142"/>
                    <a:pt x="67" y="142"/>
                    <a:pt x="67" y="138"/>
                  </a:cubicBezTo>
                  <a:cubicBezTo>
                    <a:pt x="67" y="116"/>
                    <a:pt x="67" y="53"/>
                    <a:pt x="67" y="31"/>
                  </a:cubicBezTo>
                  <a:cubicBezTo>
                    <a:pt x="67" y="26"/>
                    <a:pt x="67" y="19"/>
                    <a:pt x="66" y="15"/>
                  </a:cubicBezTo>
                  <a:cubicBezTo>
                    <a:pt x="62" y="3"/>
                    <a:pt x="49" y="0"/>
                    <a:pt x="33" y="0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43" y="19"/>
                    <a:pt x="51" y="21"/>
                    <a:pt x="57" y="23"/>
                  </a:cubicBezTo>
                  <a:cubicBezTo>
                    <a:pt x="58" y="24"/>
                    <a:pt x="58" y="25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3" y="26"/>
                    <a:pt x="52" y="26"/>
                    <a:pt x="50" y="25"/>
                  </a:cubicBezTo>
                  <a:cubicBezTo>
                    <a:pt x="46" y="24"/>
                    <a:pt x="40" y="23"/>
                    <a:pt x="33" y="23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43" y="38"/>
                    <a:pt x="51" y="40"/>
                    <a:pt x="57" y="43"/>
                  </a:cubicBezTo>
                  <a:cubicBezTo>
                    <a:pt x="58" y="43"/>
                    <a:pt x="58" y="44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6" y="46"/>
                    <a:pt x="56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3" y="45"/>
                    <a:pt x="52" y="45"/>
                    <a:pt x="50" y="44"/>
                  </a:cubicBezTo>
                  <a:cubicBezTo>
                    <a:pt x="46" y="43"/>
                    <a:pt x="40" y="42"/>
                    <a:pt x="33" y="4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43" y="57"/>
                    <a:pt x="51" y="59"/>
                    <a:pt x="57" y="62"/>
                  </a:cubicBezTo>
                  <a:cubicBezTo>
                    <a:pt x="58" y="62"/>
                    <a:pt x="58" y="63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6" y="65"/>
                    <a:pt x="56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3" y="64"/>
                    <a:pt x="52" y="64"/>
                    <a:pt x="50" y="63"/>
                  </a:cubicBezTo>
                  <a:cubicBezTo>
                    <a:pt x="46" y="62"/>
                    <a:pt x="40" y="61"/>
                    <a:pt x="33" y="61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49" y="122"/>
                    <a:pt x="62" y="126"/>
                    <a:pt x="66" y="138"/>
                  </a:cubicBezTo>
                  <a:close/>
                  <a:moveTo>
                    <a:pt x="33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5" y="3"/>
                    <a:pt x="1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ubicBezTo>
                    <a:pt x="5" y="126"/>
                    <a:pt x="18" y="122"/>
                    <a:pt x="33" y="12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7" y="61"/>
                    <a:pt x="21" y="62"/>
                    <a:pt x="17" y="63"/>
                  </a:cubicBezTo>
                  <a:cubicBezTo>
                    <a:pt x="15" y="64"/>
                    <a:pt x="13" y="64"/>
                    <a:pt x="12" y="65"/>
                  </a:cubicBezTo>
                  <a:cubicBezTo>
                    <a:pt x="11" y="66"/>
                    <a:pt x="10" y="65"/>
                    <a:pt x="9" y="64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6" y="59"/>
                    <a:pt x="24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7" y="42"/>
                    <a:pt x="21" y="43"/>
                    <a:pt x="17" y="44"/>
                  </a:cubicBezTo>
                  <a:cubicBezTo>
                    <a:pt x="15" y="45"/>
                    <a:pt x="13" y="45"/>
                    <a:pt x="12" y="46"/>
                  </a:cubicBezTo>
                  <a:cubicBezTo>
                    <a:pt x="11" y="47"/>
                    <a:pt x="10" y="46"/>
                    <a:pt x="9" y="45"/>
                  </a:cubicBezTo>
                  <a:cubicBezTo>
                    <a:pt x="9" y="44"/>
                    <a:pt x="9" y="43"/>
                    <a:pt x="10" y="43"/>
                  </a:cubicBezTo>
                  <a:cubicBezTo>
                    <a:pt x="16" y="40"/>
                    <a:pt x="24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3"/>
                    <a:pt x="21" y="24"/>
                    <a:pt x="17" y="25"/>
                  </a:cubicBezTo>
                  <a:cubicBezTo>
                    <a:pt x="15" y="26"/>
                    <a:pt x="13" y="26"/>
                    <a:pt x="12" y="27"/>
                  </a:cubicBezTo>
                  <a:cubicBezTo>
                    <a:pt x="11" y="27"/>
                    <a:pt x="10" y="27"/>
                    <a:pt x="9" y="26"/>
                  </a:cubicBezTo>
                  <a:cubicBezTo>
                    <a:pt x="9" y="25"/>
                    <a:pt x="9" y="24"/>
                    <a:pt x="10" y="23"/>
                  </a:cubicBezTo>
                  <a:cubicBezTo>
                    <a:pt x="16" y="21"/>
                    <a:pt x="24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9" name="íṩḻíḍé">
              <a:extLst>
                <a:ext uri="{FF2B5EF4-FFF2-40B4-BE49-F238E27FC236}">
                  <a16:creationId xmlns:a16="http://schemas.microsoft.com/office/drawing/2014/main" id="{B5B62FE6-043D-499E-AA4F-332ECF69592F}"/>
                </a:ext>
              </a:extLst>
            </p:cNvPr>
            <p:cNvSpPr/>
            <p:nvPr/>
          </p:nvSpPr>
          <p:spPr bwMode="auto">
            <a:xfrm flipH="1">
              <a:off x="2720582" y="5589115"/>
              <a:ext cx="165945" cy="300880"/>
            </a:xfrm>
            <a:custGeom>
              <a:avLst/>
              <a:gdLst>
                <a:gd name="T0" fmla="*/ 77 w 77"/>
                <a:gd name="T1" fmla="*/ 109 h 148"/>
                <a:gd name="T2" fmla="*/ 77 w 77"/>
                <a:gd name="T3" fmla="*/ 35 h 148"/>
                <a:gd name="T4" fmla="*/ 45 w 77"/>
                <a:gd name="T5" fmla="*/ 0 h 148"/>
                <a:gd name="T6" fmla="*/ 31 w 77"/>
                <a:gd name="T7" fmla="*/ 0 h 148"/>
                <a:gd name="T8" fmla="*/ 0 w 77"/>
                <a:gd name="T9" fmla="*/ 35 h 148"/>
                <a:gd name="T10" fmla="*/ 0 w 77"/>
                <a:gd name="T11" fmla="*/ 118 h 148"/>
                <a:gd name="T12" fmla="*/ 29 w 77"/>
                <a:gd name="T13" fmla="*/ 148 h 148"/>
                <a:gd name="T14" fmla="*/ 30 w 77"/>
                <a:gd name="T15" fmla="*/ 148 h 148"/>
                <a:gd name="T16" fmla="*/ 60 w 77"/>
                <a:gd name="T17" fmla="*/ 118 h 148"/>
                <a:gd name="T18" fmla="*/ 60 w 77"/>
                <a:gd name="T19" fmla="*/ 61 h 148"/>
                <a:gd name="T20" fmla="*/ 40 w 77"/>
                <a:gd name="T21" fmla="*/ 39 h 148"/>
                <a:gd name="T22" fmla="*/ 37 w 77"/>
                <a:gd name="T23" fmla="*/ 39 h 148"/>
                <a:gd name="T24" fmla="*/ 17 w 77"/>
                <a:gd name="T25" fmla="*/ 61 h 148"/>
                <a:gd name="T26" fmla="*/ 17 w 77"/>
                <a:gd name="T27" fmla="*/ 109 h 148"/>
                <a:gd name="T28" fmla="*/ 29 w 77"/>
                <a:gd name="T29" fmla="*/ 109 h 148"/>
                <a:gd name="T30" fmla="*/ 29 w 77"/>
                <a:gd name="T31" fmla="*/ 61 h 148"/>
                <a:gd name="T32" fmla="*/ 37 w 77"/>
                <a:gd name="T33" fmla="*/ 51 h 148"/>
                <a:gd name="T34" fmla="*/ 40 w 77"/>
                <a:gd name="T35" fmla="*/ 51 h 148"/>
                <a:gd name="T36" fmla="*/ 49 w 77"/>
                <a:gd name="T37" fmla="*/ 61 h 148"/>
                <a:gd name="T38" fmla="*/ 49 w 77"/>
                <a:gd name="T39" fmla="*/ 118 h 148"/>
                <a:gd name="T40" fmla="*/ 30 w 77"/>
                <a:gd name="T41" fmla="*/ 137 h 148"/>
                <a:gd name="T42" fmla="*/ 16 w 77"/>
                <a:gd name="T43" fmla="*/ 130 h 148"/>
                <a:gd name="T44" fmla="*/ 11 w 77"/>
                <a:gd name="T45" fmla="*/ 112 h 148"/>
                <a:gd name="T46" fmla="*/ 11 w 77"/>
                <a:gd name="T47" fmla="*/ 35 h 148"/>
                <a:gd name="T48" fmla="*/ 31 w 77"/>
                <a:gd name="T49" fmla="*/ 11 h 148"/>
                <a:gd name="T50" fmla="*/ 45 w 77"/>
                <a:gd name="T51" fmla="*/ 11 h 148"/>
                <a:gd name="T52" fmla="*/ 66 w 77"/>
                <a:gd name="T53" fmla="*/ 35 h 148"/>
                <a:gd name="T54" fmla="*/ 66 w 77"/>
                <a:gd name="T55" fmla="*/ 109 h 148"/>
                <a:gd name="T56" fmla="*/ 77 w 77"/>
                <a:gd name="T57" fmla="*/ 10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148">
                  <a:moveTo>
                    <a:pt x="77" y="109"/>
                  </a:moveTo>
                  <a:cubicBezTo>
                    <a:pt x="77" y="35"/>
                    <a:pt x="77" y="35"/>
                    <a:pt x="77" y="35"/>
                  </a:cubicBezTo>
                  <a:cubicBezTo>
                    <a:pt x="77" y="14"/>
                    <a:pt x="64" y="0"/>
                    <a:pt x="45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2" y="0"/>
                    <a:pt x="0" y="14"/>
                    <a:pt x="0" y="35"/>
                  </a:cubicBezTo>
                  <a:cubicBezTo>
                    <a:pt x="0" y="35"/>
                    <a:pt x="0" y="118"/>
                    <a:pt x="0" y="118"/>
                  </a:cubicBezTo>
                  <a:cubicBezTo>
                    <a:pt x="0" y="134"/>
                    <a:pt x="13" y="148"/>
                    <a:pt x="29" y="148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47" y="148"/>
                    <a:pt x="60" y="135"/>
                    <a:pt x="60" y="118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0" y="49"/>
                    <a:pt x="51" y="39"/>
                    <a:pt x="4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26" y="39"/>
                    <a:pt x="17" y="49"/>
                    <a:pt x="17" y="61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56"/>
                    <a:pt x="31" y="51"/>
                    <a:pt x="37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5" y="51"/>
                    <a:pt x="49" y="55"/>
                    <a:pt x="49" y="61"/>
                  </a:cubicBezTo>
                  <a:cubicBezTo>
                    <a:pt x="49" y="118"/>
                    <a:pt x="49" y="118"/>
                    <a:pt x="49" y="118"/>
                  </a:cubicBezTo>
                  <a:cubicBezTo>
                    <a:pt x="49" y="128"/>
                    <a:pt x="41" y="137"/>
                    <a:pt x="30" y="137"/>
                  </a:cubicBezTo>
                  <a:cubicBezTo>
                    <a:pt x="24" y="137"/>
                    <a:pt x="19" y="134"/>
                    <a:pt x="16" y="130"/>
                  </a:cubicBezTo>
                  <a:cubicBezTo>
                    <a:pt x="13" y="127"/>
                    <a:pt x="11" y="121"/>
                    <a:pt x="11" y="11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17"/>
                    <a:pt x="21" y="11"/>
                    <a:pt x="31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60" y="11"/>
                    <a:pt x="66" y="23"/>
                    <a:pt x="66" y="35"/>
                  </a:cubicBezTo>
                  <a:cubicBezTo>
                    <a:pt x="66" y="109"/>
                    <a:pt x="66" y="109"/>
                    <a:pt x="66" y="109"/>
                  </a:cubicBezTo>
                  <a:lnTo>
                    <a:pt x="77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0" name="íśľîdè">
              <a:extLst>
                <a:ext uri="{FF2B5EF4-FFF2-40B4-BE49-F238E27FC236}">
                  <a16:creationId xmlns:a16="http://schemas.microsoft.com/office/drawing/2014/main" id="{3DF20AAC-A456-4BFB-9624-2E096DD14632}"/>
                </a:ext>
              </a:extLst>
            </p:cNvPr>
            <p:cNvSpPr/>
            <p:nvPr/>
          </p:nvSpPr>
          <p:spPr bwMode="auto">
            <a:xfrm flipH="1">
              <a:off x="3076176" y="3785552"/>
              <a:ext cx="179621" cy="168493"/>
            </a:xfrm>
            <a:custGeom>
              <a:avLst/>
              <a:gdLst>
                <a:gd name="T0" fmla="*/ 39 w 83"/>
                <a:gd name="T1" fmla="*/ 83 h 83"/>
                <a:gd name="T2" fmla="*/ 41 w 83"/>
                <a:gd name="T3" fmla="*/ 83 h 83"/>
                <a:gd name="T4" fmla="*/ 83 w 83"/>
                <a:gd name="T5" fmla="*/ 42 h 83"/>
                <a:gd name="T6" fmla="*/ 41 w 83"/>
                <a:gd name="T7" fmla="*/ 0 h 83"/>
                <a:gd name="T8" fmla="*/ 0 w 83"/>
                <a:gd name="T9" fmla="*/ 41 h 83"/>
                <a:gd name="T10" fmla="*/ 23 w 83"/>
                <a:gd name="T11" fmla="*/ 55 h 83"/>
                <a:gd name="T12" fmla="*/ 39 w 8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3">
                  <a:moveTo>
                    <a:pt x="39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64" y="83"/>
                    <a:pt x="83" y="65"/>
                    <a:pt x="83" y="42"/>
                  </a:cubicBezTo>
                  <a:cubicBezTo>
                    <a:pt x="83" y="19"/>
                    <a:pt x="64" y="0"/>
                    <a:pt x="41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8" y="44"/>
                    <a:pt x="16" y="49"/>
                    <a:pt x="23" y="55"/>
                  </a:cubicBezTo>
                  <a:cubicBezTo>
                    <a:pt x="31" y="63"/>
                    <a:pt x="36" y="73"/>
                    <a:pt x="39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1" name="îśļîḓé">
              <a:extLst>
                <a:ext uri="{FF2B5EF4-FFF2-40B4-BE49-F238E27FC236}">
                  <a16:creationId xmlns:a16="http://schemas.microsoft.com/office/drawing/2014/main" id="{A71DC641-F1B7-4A12-8D66-2751C3B29E06}"/>
                </a:ext>
              </a:extLst>
            </p:cNvPr>
            <p:cNvSpPr/>
            <p:nvPr/>
          </p:nvSpPr>
          <p:spPr bwMode="auto">
            <a:xfrm flipH="1">
              <a:off x="3140913" y="3738271"/>
              <a:ext cx="50148" cy="36966"/>
            </a:xfrm>
            <a:custGeom>
              <a:avLst/>
              <a:gdLst>
                <a:gd name="T0" fmla="*/ 55 w 55"/>
                <a:gd name="T1" fmla="*/ 43 h 43"/>
                <a:gd name="T2" fmla="*/ 26 w 55"/>
                <a:gd name="T3" fmla="*/ 0 h 43"/>
                <a:gd name="T4" fmla="*/ 0 w 55"/>
                <a:gd name="T5" fmla="*/ 43 h 43"/>
                <a:gd name="T6" fmla="*/ 55 w 55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3">
                  <a:moveTo>
                    <a:pt x="55" y="43"/>
                  </a:moveTo>
                  <a:lnTo>
                    <a:pt x="26" y="0"/>
                  </a:lnTo>
                  <a:lnTo>
                    <a:pt x="0" y="43"/>
                  </a:lnTo>
                  <a:lnTo>
                    <a:pt x="55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2" name="î$ḷïḓê">
              <a:extLst>
                <a:ext uri="{FF2B5EF4-FFF2-40B4-BE49-F238E27FC236}">
                  <a16:creationId xmlns:a16="http://schemas.microsoft.com/office/drawing/2014/main" id="{EB2837E1-88DB-498A-89CB-67D29278D358}"/>
                </a:ext>
              </a:extLst>
            </p:cNvPr>
            <p:cNvSpPr/>
            <p:nvPr/>
          </p:nvSpPr>
          <p:spPr bwMode="auto">
            <a:xfrm flipH="1">
              <a:off x="3026941" y="3846587"/>
              <a:ext cx="38295" cy="48141"/>
            </a:xfrm>
            <a:custGeom>
              <a:avLst/>
              <a:gdLst>
                <a:gd name="T0" fmla="*/ 0 w 42"/>
                <a:gd name="T1" fmla="*/ 56 h 56"/>
                <a:gd name="T2" fmla="*/ 42 w 42"/>
                <a:gd name="T3" fmla="*/ 28 h 56"/>
                <a:gd name="T4" fmla="*/ 0 w 42"/>
                <a:gd name="T5" fmla="*/ 0 h 56"/>
                <a:gd name="T6" fmla="*/ 0 w 42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56">
                  <a:moveTo>
                    <a:pt x="0" y="56"/>
                  </a:moveTo>
                  <a:lnTo>
                    <a:pt x="42" y="28"/>
                  </a:lnTo>
                  <a:lnTo>
                    <a:pt x="0" y="0"/>
                  </a:ln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3" name="îsľiḑé">
              <a:extLst>
                <a:ext uri="{FF2B5EF4-FFF2-40B4-BE49-F238E27FC236}">
                  <a16:creationId xmlns:a16="http://schemas.microsoft.com/office/drawing/2014/main" id="{0853ABD2-1BBC-4E03-8C1B-5FAB28C30BD7}"/>
                </a:ext>
              </a:extLst>
            </p:cNvPr>
            <p:cNvSpPr/>
            <p:nvPr/>
          </p:nvSpPr>
          <p:spPr bwMode="auto">
            <a:xfrm flipH="1">
              <a:off x="3268562" y="3846587"/>
              <a:ext cx="23706" cy="18053"/>
            </a:xfrm>
            <a:custGeom>
              <a:avLst/>
              <a:gdLst>
                <a:gd name="T0" fmla="*/ 11 w 11"/>
                <a:gd name="T1" fmla="*/ 0 h 9"/>
                <a:gd name="T2" fmla="*/ 0 w 11"/>
                <a:gd name="T3" fmla="*/ 8 h 9"/>
                <a:gd name="T4" fmla="*/ 11 w 11"/>
                <a:gd name="T5" fmla="*/ 9 h 9"/>
                <a:gd name="T6" fmla="*/ 1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1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8" y="8"/>
                    <a:pt x="11" y="9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4" name="ïŝļïḍé">
              <a:extLst>
                <a:ext uri="{FF2B5EF4-FFF2-40B4-BE49-F238E27FC236}">
                  <a16:creationId xmlns:a16="http://schemas.microsoft.com/office/drawing/2014/main" id="{6201DC57-EBD0-460D-AC60-46E20AD619C7}"/>
                </a:ext>
              </a:extLst>
            </p:cNvPr>
            <p:cNvSpPr/>
            <p:nvPr/>
          </p:nvSpPr>
          <p:spPr bwMode="auto">
            <a:xfrm flipH="1">
              <a:off x="3067970" y="3776955"/>
              <a:ext cx="44677" cy="42983"/>
            </a:xfrm>
            <a:custGeom>
              <a:avLst/>
              <a:gdLst>
                <a:gd name="T0" fmla="*/ 0 w 49"/>
                <a:gd name="T1" fmla="*/ 12 h 50"/>
                <a:gd name="T2" fmla="*/ 37 w 49"/>
                <a:gd name="T3" fmla="*/ 50 h 50"/>
                <a:gd name="T4" fmla="*/ 49 w 49"/>
                <a:gd name="T5" fmla="*/ 0 h 50"/>
                <a:gd name="T6" fmla="*/ 0 w 49"/>
                <a:gd name="T7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50">
                  <a:moveTo>
                    <a:pt x="0" y="12"/>
                  </a:moveTo>
                  <a:lnTo>
                    <a:pt x="37" y="50"/>
                  </a:lnTo>
                  <a:lnTo>
                    <a:pt x="49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5" name="isļíde">
              <a:extLst>
                <a:ext uri="{FF2B5EF4-FFF2-40B4-BE49-F238E27FC236}">
                  <a16:creationId xmlns:a16="http://schemas.microsoft.com/office/drawing/2014/main" id="{4DC17C0D-4B2F-4D8C-8FA0-2232F1F00600}"/>
                </a:ext>
              </a:extLst>
            </p:cNvPr>
            <p:cNvSpPr/>
            <p:nvPr/>
          </p:nvSpPr>
          <p:spPr bwMode="auto">
            <a:xfrm flipH="1">
              <a:off x="3067970" y="3921378"/>
              <a:ext cx="44677" cy="42983"/>
            </a:xfrm>
            <a:custGeom>
              <a:avLst/>
              <a:gdLst>
                <a:gd name="T0" fmla="*/ 37 w 49"/>
                <a:gd name="T1" fmla="*/ 0 h 50"/>
                <a:gd name="T2" fmla="*/ 0 w 49"/>
                <a:gd name="T3" fmla="*/ 38 h 50"/>
                <a:gd name="T4" fmla="*/ 49 w 49"/>
                <a:gd name="T5" fmla="*/ 50 h 50"/>
                <a:gd name="T6" fmla="*/ 37 w 49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50">
                  <a:moveTo>
                    <a:pt x="37" y="0"/>
                  </a:moveTo>
                  <a:lnTo>
                    <a:pt x="0" y="38"/>
                  </a:lnTo>
                  <a:lnTo>
                    <a:pt x="49" y="5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6" name="iśļiďe">
              <a:extLst>
                <a:ext uri="{FF2B5EF4-FFF2-40B4-BE49-F238E27FC236}">
                  <a16:creationId xmlns:a16="http://schemas.microsoft.com/office/drawing/2014/main" id="{D68AC5BE-E3A4-491F-A5C9-C39E18A3E685}"/>
                </a:ext>
              </a:extLst>
            </p:cNvPr>
            <p:cNvSpPr/>
            <p:nvPr/>
          </p:nvSpPr>
          <p:spPr bwMode="auto">
            <a:xfrm flipH="1">
              <a:off x="3221149" y="3776955"/>
              <a:ext cx="45589" cy="42983"/>
            </a:xfrm>
            <a:custGeom>
              <a:avLst/>
              <a:gdLst>
                <a:gd name="T0" fmla="*/ 12 w 50"/>
                <a:gd name="T1" fmla="*/ 50 h 50"/>
                <a:gd name="T2" fmla="*/ 50 w 50"/>
                <a:gd name="T3" fmla="*/ 12 h 50"/>
                <a:gd name="T4" fmla="*/ 0 w 50"/>
                <a:gd name="T5" fmla="*/ 0 h 50"/>
                <a:gd name="T6" fmla="*/ 12 w 50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50">
                  <a:moveTo>
                    <a:pt x="12" y="50"/>
                  </a:moveTo>
                  <a:lnTo>
                    <a:pt x="50" y="12"/>
                  </a:lnTo>
                  <a:lnTo>
                    <a:pt x="0" y="0"/>
                  </a:lnTo>
                  <a:lnTo>
                    <a:pt x="1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7" name="ïsḻíḓé">
              <a:extLst>
                <a:ext uri="{FF2B5EF4-FFF2-40B4-BE49-F238E27FC236}">
                  <a16:creationId xmlns:a16="http://schemas.microsoft.com/office/drawing/2014/main" id="{012E95AF-22C5-469E-84F1-E3D92B0C9314}"/>
                </a:ext>
              </a:extLst>
            </p:cNvPr>
            <p:cNvSpPr/>
            <p:nvPr/>
          </p:nvSpPr>
          <p:spPr bwMode="auto">
            <a:xfrm flipH="1">
              <a:off x="3063410" y="3872377"/>
              <a:ext cx="392977" cy="226090"/>
            </a:xfrm>
            <a:custGeom>
              <a:avLst/>
              <a:gdLst>
                <a:gd name="T0" fmla="*/ 149 w 182"/>
                <a:gd name="T1" fmla="*/ 47 h 111"/>
                <a:gd name="T2" fmla="*/ 145 w 182"/>
                <a:gd name="T3" fmla="*/ 47 h 111"/>
                <a:gd name="T4" fmla="*/ 129 w 182"/>
                <a:gd name="T5" fmla="*/ 54 h 111"/>
                <a:gd name="T6" fmla="*/ 128 w 182"/>
                <a:gd name="T7" fmla="*/ 46 h 111"/>
                <a:gd name="T8" fmla="*/ 126 w 182"/>
                <a:gd name="T9" fmla="*/ 40 h 111"/>
                <a:gd name="T10" fmla="*/ 93 w 182"/>
                <a:gd name="T11" fmla="*/ 4 h 111"/>
                <a:gd name="T12" fmla="*/ 87 w 182"/>
                <a:gd name="T13" fmla="*/ 2 h 111"/>
                <a:gd name="T14" fmla="*/ 73 w 182"/>
                <a:gd name="T15" fmla="*/ 0 h 111"/>
                <a:gd name="T16" fmla="*/ 71 w 182"/>
                <a:gd name="T17" fmla="*/ 0 h 111"/>
                <a:gd name="T18" fmla="*/ 17 w 182"/>
                <a:gd name="T19" fmla="*/ 56 h 111"/>
                <a:gd name="T20" fmla="*/ 20 w 182"/>
                <a:gd name="T21" fmla="*/ 72 h 111"/>
                <a:gd name="T22" fmla="*/ 0 w 182"/>
                <a:gd name="T23" fmla="*/ 92 h 111"/>
                <a:gd name="T24" fmla="*/ 20 w 182"/>
                <a:gd name="T25" fmla="*/ 111 h 111"/>
                <a:gd name="T26" fmla="*/ 73 w 182"/>
                <a:gd name="T27" fmla="*/ 111 h 111"/>
                <a:gd name="T28" fmla="*/ 75 w 182"/>
                <a:gd name="T29" fmla="*/ 111 h 111"/>
                <a:gd name="T30" fmla="*/ 149 w 182"/>
                <a:gd name="T31" fmla="*/ 111 h 111"/>
                <a:gd name="T32" fmla="*/ 182 w 182"/>
                <a:gd name="T33" fmla="*/ 79 h 111"/>
                <a:gd name="T34" fmla="*/ 149 w 182"/>
                <a:gd name="T35" fmla="*/ 4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11">
                  <a:moveTo>
                    <a:pt x="149" y="47"/>
                  </a:moveTo>
                  <a:cubicBezTo>
                    <a:pt x="148" y="47"/>
                    <a:pt x="146" y="47"/>
                    <a:pt x="145" y="47"/>
                  </a:cubicBezTo>
                  <a:cubicBezTo>
                    <a:pt x="139" y="48"/>
                    <a:pt x="133" y="51"/>
                    <a:pt x="129" y="54"/>
                  </a:cubicBezTo>
                  <a:cubicBezTo>
                    <a:pt x="129" y="51"/>
                    <a:pt x="128" y="49"/>
                    <a:pt x="128" y="46"/>
                  </a:cubicBezTo>
                  <a:cubicBezTo>
                    <a:pt x="127" y="44"/>
                    <a:pt x="127" y="42"/>
                    <a:pt x="126" y="40"/>
                  </a:cubicBezTo>
                  <a:cubicBezTo>
                    <a:pt x="121" y="23"/>
                    <a:pt x="109" y="10"/>
                    <a:pt x="93" y="4"/>
                  </a:cubicBezTo>
                  <a:cubicBezTo>
                    <a:pt x="91" y="3"/>
                    <a:pt x="89" y="2"/>
                    <a:pt x="87" y="2"/>
                  </a:cubicBezTo>
                  <a:cubicBezTo>
                    <a:pt x="83" y="0"/>
                    <a:pt x="78" y="0"/>
                    <a:pt x="73" y="0"/>
                  </a:cubicBezTo>
                  <a:cubicBezTo>
                    <a:pt x="72" y="0"/>
                    <a:pt x="71" y="0"/>
                    <a:pt x="71" y="0"/>
                  </a:cubicBezTo>
                  <a:cubicBezTo>
                    <a:pt x="41" y="1"/>
                    <a:pt x="17" y="26"/>
                    <a:pt x="17" y="56"/>
                  </a:cubicBezTo>
                  <a:cubicBezTo>
                    <a:pt x="17" y="61"/>
                    <a:pt x="18" y="67"/>
                    <a:pt x="20" y="72"/>
                  </a:cubicBezTo>
                  <a:cubicBezTo>
                    <a:pt x="9" y="72"/>
                    <a:pt x="0" y="81"/>
                    <a:pt x="0" y="92"/>
                  </a:cubicBezTo>
                  <a:cubicBezTo>
                    <a:pt x="0" y="102"/>
                    <a:pt x="9" y="111"/>
                    <a:pt x="20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149" y="111"/>
                    <a:pt x="149" y="111"/>
                    <a:pt x="149" y="111"/>
                  </a:cubicBezTo>
                  <a:cubicBezTo>
                    <a:pt x="167" y="111"/>
                    <a:pt x="182" y="97"/>
                    <a:pt x="182" y="79"/>
                  </a:cubicBezTo>
                  <a:cubicBezTo>
                    <a:pt x="182" y="61"/>
                    <a:pt x="167" y="47"/>
                    <a:pt x="149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8" name="ïṥḷiďe">
              <a:extLst>
                <a:ext uri="{FF2B5EF4-FFF2-40B4-BE49-F238E27FC236}">
                  <a16:creationId xmlns:a16="http://schemas.microsoft.com/office/drawing/2014/main" id="{B6DA6BDA-4D8C-4F6B-93B0-03361386F929}"/>
                </a:ext>
              </a:extLst>
            </p:cNvPr>
            <p:cNvSpPr/>
            <p:nvPr/>
          </p:nvSpPr>
          <p:spPr bwMode="auto">
            <a:xfrm flipH="1">
              <a:off x="3549390" y="4389031"/>
              <a:ext cx="271710" cy="156458"/>
            </a:xfrm>
            <a:custGeom>
              <a:avLst/>
              <a:gdLst>
                <a:gd name="T0" fmla="*/ 14 w 126"/>
                <a:gd name="T1" fmla="*/ 77 h 77"/>
                <a:gd name="T2" fmla="*/ 46 w 126"/>
                <a:gd name="T3" fmla="*/ 77 h 77"/>
                <a:gd name="T4" fmla="*/ 89 w 126"/>
                <a:gd name="T5" fmla="*/ 51 h 77"/>
                <a:gd name="T6" fmla="*/ 123 w 126"/>
                <a:gd name="T7" fmla="*/ 65 h 77"/>
                <a:gd name="T8" fmla="*/ 123 w 126"/>
                <a:gd name="T9" fmla="*/ 65 h 77"/>
                <a:gd name="T10" fmla="*/ 126 w 126"/>
                <a:gd name="T11" fmla="*/ 55 h 77"/>
                <a:gd name="T12" fmla="*/ 104 w 126"/>
                <a:gd name="T13" fmla="*/ 32 h 77"/>
                <a:gd name="T14" fmla="*/ 89 w 126"/>
                <a:gd name="T15" fmla="*/ 38 h 77"/>
                <a:gd name="T16" fmla="*/ 51 w 126"/>
                <a:gd name="T17" fmla="*/ 0 h 77"/>
                <a:gd name="T18" fmla="*/ 12 w 126"/>
                <a:gd name="T19" fmla="*/ 38 h 77"/>
                <a:gd name="T20" fmla="*/ 14 w 126"/>
                <a:gd name="T21" fmla="*/ 50 h 77"/>
                <a:gd name="T22" fmla="*/ 0 w 126"/>
                <a:gd name="T23" fmla="*/ 63 h 77"/>
                <a:gd name="T24" fmla="*/ 14 w 126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" h="77">
                  <a:moveTo>
                    <a:pt x="14" y="77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54" y="62"/>
                    <a:pt x="70" y="51"/>
                    <a:pt x="89" y="51"/>
                  </a:cubicBezTo>
                  <a:cubicBezTo>
                    <a:pt x="102" y="51"/>
                    <a:pt x="114" y="56"/>
                    <a:pt x="123" y="65"/>
                  </a:cubicBezTo>
                  <a:cubicBezTo>
                    <a:pt x="123" y="65"/>
                    <a:pt x="123" y="65"/>
                    <a:pt x="123" y="65"/>
                  </a:cubicBezTo>
                  <a:cubicBezTo>
                    <a:pt x="125" y="62"/>
                    <a:pt x="126" y="59"/>
                    <a:pt x="126" y="55"/>
                  </a:cubicBezTo>
                  <a:cubicBezTo>
                    <a:pt x="126" y="42"/>
                    <a:pt x="116" y="32"/>
                    <a:pt x="104" y="32"/>
                  </a:cubicBezTo>
                  <a:cubicBezTo>
                    <a:pt x="98" y="32"/>
                    <a:pt x="93" y="34"/>
                    <a:pt x="89" y="38"/>
                  </a:cubicBezTo>
                  <a:cubicBezTo>
                    <a:pt x="89" y="16"/>
                    <a:pt x="72" y="0"/>
                    <a:pt x="51" y="0"/>
                  </a:cubicBezTo>
                  <a:cubicBezTo>
                    <a:pt x="29" y="0"/>
                    <a:pt x="12" y="17"/>
                    <a:pt x="12" y="38"/>
                  </a:cubicBezTo>
                  <a:cubicBezTo>
                    <a:pt x="12" y="42"/>
                    <a:pt x="13" y="46"/>
                    <a:pt x="14" y="50"/>
                  </a:cubicBezTo>
                  <a:cubicBezTo>
                    <a:pt x="6" y="50"/>
                    <a:pt x="0" y="56"/>
                    <a:pt x="0" y="63"/>
                  </a:cubicBezTo>
                  <a:cubicBezTo>
                    <a:pt x="0" y="71"/>
                    <a:pt x="6" y="77"/>
                    <a:pt x="1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9" name="i$ļîḑè">
              <a:extLst>
                <a:ext uri="{FF2B5EF4-FFF2-40B4-BE49-F238E27FC236}">
                  <a16:creationId xmlns:a16="http://schemas.microsoft.com/office/drawing/2014/main" id="{D66A83FB-570E-4F4C-85AD-84435C164DEE}"/>
                </a:ext>
              </a:extLst>
            </p:cNvPr>
            <p:cNvSpPr/>
            <p:nvPr/>
          </p:nvSpPr>
          <p:spPr bwMode="auto">
            <a:xfrm flipH="1">
              <a:off x="3443623" y="4500787"/>
              <a:ext cx="308181" cy="178809"/>
            </a:xfrm>
            <a:custGeom>
              <a:avLst/>
              <a:gdLst>
                <a:gd name="T0" fmla="*/ 117 w 143"/>
                <a:gd name="T1" fmla="*/ 38 h 88"/>
                <a:gd name="T2" fmla="*/ 101 w 143"/>
                <a:gd name="T3" fmla="*/ 44 h 88"/>
                <a:gd name="T4" fmla="*/ 89 w 143"/>
                <a:gd name="T5" fmla="*/ 14 h 88"/>
                <a:gd name="T6" fmla="*/ 57 w 143"/>
                <a:gd name="T7" fmla="*/ 0 h 88"/>
                <a:gd name="T8" fmla="*/ 19 w 143"/>
                <a:gd name="T9" fmla="*/ 22 h 88"/>
                <a:gd name="T10" fmla="*/ 13 w 143"/>
                <a:gd name="T11" fmla="*/ 44 h 88"/>
                <a:gd name="T12" fmla="*/ 15 w 143"/>
                <a:gd name="T13" fmla="*/ 57 h 88"/>
                <a:gd name="T14" fmla="*/ 0 w 143"/>
                <a:gd name="T15" fmla="*/ 73 h 88"/>
                <a:gd name="T16" fmla="*/ 15 w 143"/>
                <a:gd name="T17" fmla="*/ 88 h 88"/>
                <a:gd name="T18" fmla="*/ 57 w 143"/>
                <a:gd name="T19" fmla="*/ 88 h 88"/>
                <a:gd name="T20" fmla="*/ 59 w 143"/>
                <a:gd name="T21" fmla="*/ 88 h 88"/>
                <a:gd name="T22" fmla="*/ 117 w 143"/>
                <a:gd name="T23" fmla="*/ 88 h 88"/>
                <a:gd name="T24" fmla="*/ 143 w 143"/>
                <a:gd name="T25" fmla="*/ 63 h 88"/>
                <a:gd name="T26" fmla="*/ 117 w 143"/>
                <a:gd name="T27" fmla="*/ 3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88">
                  <a:moveTo>
                    <a:pt x="117" y="38"/>
                  </a:moveTo>
                  <a:cubicBezTo>
                    <a:pt x="111" y="38"/>
                    <a:pt x="105" y="40"/>
                    <a:pt x="101" y="44"/>
                  </a:cubicBezTo>
                  <a:cubicBezTo>
                    <a:pt x="101" y="32"/>
                    <a:pt x="96" y="22"/>
                    <a:pt x="89" y="14"/>
                  </a:cubicBezTo>
                  <a:cubicBezTo>
                    <a:pt x="81" y="6"/>
                    <a:pt x="69" y="0"/>
                    <a:pt x="57" y="0"/>
                  </a:cubicBezTo>
                  <a:cubicBezTo>
                    <a:pt x="41" y="0"/>
                    <a:pt x="27" y="9"/>
                    <a:pt x="19" y="22"/>
                  </a:cubicBezTo>
                  <a:cubicBezTo>
                    <a:pt x="15" y="29"/>
                    <a:pt x="13" y="36"/>
                    <a:pt x="13" y="44"/>
                  </a:cubicBezTo>
                  <a:cubicBezTo>
                    <a:pt x="13" y="49"/>
                    <a:pt x="13" y="53"/>
                    <a:pt x="15" y="57"/>
                  </a:cubicBezTo>
                  <a:cubicBezTo>
                    <a:pt x="6" y="58"/>
                    <a:pt x="0" y="64"/>
                    <a:pt x="0" y="73"/>
                  </a:cubicBezTo>
                  <a:cubicBezTo>
                    <a:pt x="0" y="81"/>
                    <a:pt x="6" y="88"/>
                    <a:pt x="15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31" y="88"/>
                    <a:pt x="143" y="77"/>
                    <a:pt x="143" y="63"/>
                  </a:cubicBezTo>
                  <a:cubicBezTo>
                    <a:pt x="143" y="49"/>
                    <a:pt x="131" y="38"/>
                    <a:pt x="117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0" name="ïṣḻïḍé">
              <a:extLst>
                <a:ext uri="{FF2B5EF4-FFF2-40B4-BE49-F238E27FC236}">
                  <a16:creationId xmlns:a16="http://schemas.microsoft.com/office/drawing/2014/main" id="{43953627-78DE-4DB4-A5F3-71115680BCBC}"/>
                </a:ext>
              </a:extLst>
            </p:cNvPr>
            <p:cNvSpPr/>
            <p:nvPr/>
          </p:nvSpPr>
          <p:spPr bwMode="auto">
            <a:xfrm flipH="1">
              <a:off x="2447961" y="1928690"/>
              <a:ext cx="28265" cy="270792"/>
            </a:xfrm>
            <a:custGeom>
              <a:avLst/>
              <a:gdLst>
                <a:gd name="T0" fmla="*/ 0 w 13"/>
                <a:gd name="T1" fmla="*/ 0 h 133"/>
                <a:gd name="T2" fmla="*/ 0 w 13"/>
                <a:gd name="T3" fmla="*/ 133 h 133"/>
                <a:gd name="T4" fmla="*/ 13 w 13"/>
                <a:gd name="T5" fmla="*/ 133 h 133"/>
                <a:gd name="T6" fmla="*/ 13 w 13"/>
                <a:gd name="T7" fmla="*/ 0 h 133"/>
                <a:gd name="T8" fmla="*/ 7 w 13"/>
                <a:gd name="T9" fmla="*/ 1 h 133"/>
                <a:gd name="T10" fmla="*/ 0 w 13"/>
                <a:gd name="T11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3">
                  <a:moveTo>
                    <a:pt x="0" y="0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"/>
                    <a:pt x="9" y="1"/>
                    <a:pt x="7" y="1"/>
                  </a:cubicBezTo>
                  <a:cubicBezTo>
                    <a:pt x="4" y="1"/>
                    <a:pt x="2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1" name="ï$lïḓè">
              <a:extLst>
                <a:ext uri="{FF2B5EF4-FFF2-40B4-BE49-F238E27FC236}">
                  <a16:creationId xmlns:a16="http://schemas.microsoft.com/office/drawing/2014/main" id="{3CB684D7-6228-4FCB-B5A6-0CA2576AF7E3}"/>
                </a:ext>
              </a:extLst>
            </p:cNvPr>
            <p:cNvSpPr/>
            <p:nvPr/>
          </p:nvSpPr>
          <p:spPr bwMode="auto">
            <a:xfrm flipH="1">
              <a:off x="2439755" y="1879689"/>
              <a:ext cx="45589" cy="4298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2" name="íś1íḋè">
              <a:extLst>
                <a:ext uri="{FF2B5EF4-FFF2-40B4-BE49-F238E27FC236}">
                  <a16:creationId xmlns:a16="http://schemas.microsoft.com/office/drawing/2014/main" id="{6F14FE7F-FA23-4C97-AF53-893FA8D5D204}"/>
                </a:ext>
              </a:extLst>
            </p:cNvPr>
            <p:cNvSpPr/>
            <p:nvPr/>
          </p:nvSpPr>
          <p:spPr bwMode="auto">
            <a:xfrm flipH="1">
              <a:off x="2180810" y="1931268"/>
              <a:ext cx="248004" cy="1659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3" name="îṥḻïdê">
              <a:extLst>
                <a:ext uri="{FF2B5EF4-FFF2-40B4-BE49-F238E27FC236}">
                  <a16:creationId xmlns:a16="http://schemas.microsoft.com/office/drawing/2014/main" id="{05DF1BBD-2339-4C11-BE83-CB5F2D2FDA35}"/>
                </a:ext>
              </a:extLst>
            </p:cNvPr>
            <p:cNvSpPr/>
            <p:nvPr/>
          </p:nvSpPr>
          <p:spPr bwMode="auto">
            <a:xfrm flipH="1">
              <a:off x="1759568" y="1412035"/>
              <a:ext cx="54707" cy="206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4" name="ïslíḋê">
              <a:extLst>
                <a:ext uri="{FF2B5EF4-FFF2-40B4-BE49-F238E27FC236}">
                  <a16:creationId xmlns:a16="http://schemas.microsoft.com/office/drawing/2014/main" id="{D8B7B41E-E2F7-444B-9D61-8FDE21DA7356}"/>
                </a:ext>
              </a:extLst>
            </p:cNvPr>
            <p:cNvSpPr/>
            <p:nvPr/>
          </p:nvSpPr>
          <p:spPr bwMode="auto">
            <a:xfrm flipH="1">
              <a:off x="1723097" y="1440404"/>
              <a:ext cx="295416" cy="199441"/>
            </a:xfrm>
            <a:custGeom>
              <a:avLst/>
              <a:gdLst>
                <a:gd name="T0" fmla="*/ 69 w 137"/>
                <a:gd name="T1" fmla="*/ 98 h 98"/>
                <a:gd name="T2" fmla="*/ 137 w 137"/>
                <a:gd name="T3" fmla="*/ 98 h 98"/>
                <a:gd name="T4" fmla="*/ 137 w 137"/>
                <a:gd name="T5" fmla="*/ 0 h 98"/>
                <a:gd name="T6" fmla="*/ 69 w 137"/>
                <a:gd name="T7" fmla="*/ 0 h 98"/>
                <a:gd name="T8" fmla="*/ 69 w 137"/>
                <a:gd name="T9" fmla="*/ 11 h 98"/>
                <a:gd name="T10" fmla="*/ 69 w 137"/>
                <a:gd name="T11" fmla="*/ 11 h 98"/>
                <a:gd name="T12" fmla="*/ 107 w 137"/>
                <a:gd name="T13" fmla="*/ 49 h 98"/>
                <a:gd name="T14" fmla="*/ 69 w 137"/>
                <a:gd name="T15" fmla="*/ 87 h 98"/>
                <a:gd name="T16" fmla="*/ 69 w 137"/>
                <a:gd name="T17" fmla="*/ 98 h 98"/>
                <a:gd name="T18" fmla="*/ 0 w 137"/>
                <a:gd name="T19" fmla="*/ 98 h 98"/>
                <a:gd name="T20" fmla="*/ 69 w 137"/>
                <a:gd name="T21" fmla="*/ 98 h 98"/>
                <a:gd name="T22" fmla="*/ 69 w 137"/>
                <a:gd name="T23" fmla="*/ 87 h 98"/>
                <a:gd name="T24" fmla="*/ 31 w 137"/>
                <a:gd name="T25" fmla="*/ 49 h 98"/>
                <a:gd name="T26" fmla="*/ 69 w 137"/>
                <a:gd name="T27" fmla="*/ 11 h 98"/>
                <a:gd name="T28" fmla="*/ 69 w 137"/>
                <a:gd name="T29" fmla="*/ 0 h 98"/>
                <a:gd name="T30" fmla="*/ 0 w 137"/>
                <a:gd name="T31" fmla="*/ 0 h 98"/>
                <a:gd name="T32" fmla="*/ 0 w 137"/>
                <a:gd name="T33" fmla="*/ 98 h 98"/>
                <a:gd name="T34" fmla="*/ 69 w 137"/>
                <a:gd name="T35" fmla="*/ 11 h 98"/>
                <a:gd name="T36" fmla="*/ 69 w 137"/>
                <a:gd name="T37" fmla="*/ 1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98">
                  <a:moveTo>
                    <a:pt x="69" y="98"/>
                  </a:moveTo>
                  <a:cubicBezTo>
                    <a:pt x="137" y="98"/>
                    <a:pt x="137" y="98"/>
                    <a:pt x="137" y="98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90" y="11"/>
                    <a:pt x="107" y="28"/>
                    <a:pt x="107" y="49"/>
                  </a:cubicBezTo>
                  <a:cubicBezTo>
                    <a:pt x="107" y="70"/>
                    <a:pt x="90" y="87"/>
                    <a:pt x="69" y="87"/>
                  </a:cubicBezTo>
                  <a:lnTo>
                    <a:pt x="69" y="98"/>
                  </a:lnTo>
                  <a:close/>
                  <a:moveTo>
                    <a:pt x="0" y="98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48" y="87"/>
                    <a:pt x="31" y="70"/>
                    <a:pt x="31" y="49"/>
                  </a:cubicBezTo>
                  <a:cubicBezTo>
                    <a:pt x="31" y="28"/>
                    <a:pt x="48" y="11"/>
                    <a:pt x="69" y="11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lose/>
                  <a:moveTo>
                    <a:pt x="69" y="11"/>
                  </a:moveTo>
                  <a:cubicBezTo>
                    <a:pt x="69" y="11"/>
                    <a:pt x="69" y="11"/>
                    <a:pt x="69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5" name="íṡļiḍè">
              <a:extLst>
                <a:ext uri="{FF2B5EF4-FFF2-40B4-BE49-F238E27FC236}">
                  <a16:creationId xmlns:a16="http://schemas.microsoft.com/office/drawing/2014/main" id="{1F4F3B8F-5BF4-49B4-863E-6AB056CD9177}"/>
                </a:ext>
              </a:extLst>
            </p:cNvPr>
            <p:cNvSpPr/>
            <p:nvPr/>
          </p:nvSpPr>
          <p:spPr bwMode="auto">
            <a:xfrm flipH="1">
              <a:off x="1816098" y="1487685"/>
              <a:ext cx="110326" cy="1057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6" name="íšḷíḍé">
              <a:extLst>
                <a:ext uri="{FF2B5EF4-FFF2-40B4-BE49-F238E27FC236}">
                  <a16:creationId xmlns:a16="http://schemas.microsoft.com/office/drawing/2014/main" id="{C22A90E0-D905-4EA0-8621-D020CA0E1FF4}"/>
                </a:ext>
              </a:extLst>
            </p:cNvPr>
            <p:cNvSpPr/>
            <p:nvPr/>
          </p:nvSpPr>
          <p:spPr bwMode="auto">
            <a:xfrm flipH="1">
              <a:off x="1828863" y="5531517"/>
              <a:ext cx="386594" cy="2321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7" name="îsḷíďé">
              <a:extLst>
                <a:ext uri="{FF2B5EF4-FFF2-40B4-BE49-F238E27FC236}">
                  <a16:creationId xmlns:a16="http://schemas.microsoft.com/office/drawing/2014/main" id="{EC857A1B-1A26-4BA8-B43E-2195DB831F9B}"/>
                </a:ext>
              </a:extLst>
            </p:cNvPr>
            <p:cNvSpPr/>
            <p:nvPr/>
          </p:nvSpPr>
          <p:spPr bwMode="auto">
            <a:xfrm flipH="1">
              <a:off x="2124280" y="5796293"/>
              <a:ext cx="61089" cy="36106"/>
            </a:xfrm>
            <a:custGeom>
              <a:avLst/>
              <a:gdLst>
                <a:gd name="T0" fmla="*/ 2 w 28"/>
                <a:gd name="T1" fmla="*/ 18 h 18"/>
                <a:gd name="T2" fmla="*/ 3 w 28"/>
                <a:gd name="T3" fmla="*/ 18 h 18"/>
                <a:gd name="T4" fmla="*/ 26 w 28"/>
                <a:gd name="T5" fmla="*/ 18 h 18"/>
                <a:gd name="T6" fmla="*/ 26 w 28"/>
                <a:gd name="T7" fmla="*/ 18 h 18"/>
                <a:gd name="T8" fmla="*/ 28 w 28"/>
                <a:gd name="T9" fmla="*/ 16 h 18"/>
                <a:gd name="T10" fmla="*/ 28 w 28"/>
                <a:gd name="T11" fmla="*/ 14 h 18"/>
                <a:gd name="T12" fmla="*/ 14 w 28"/>
                <a:gd name="T13" fmla="*/ 0 h 18"/>
                <a:gd name="T14" fmla="*/ 0 w 28"/>
                <a:gd name="T15" fmla="*/ 14 h 18"/>
                <a:gd name="T16" fmla="*/ 0 w 28"/>
                <a:gd name="T17" fmla="*/ 16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" y="18"/>
                    <a:pt x="3" y="18"/>
                    <a:pt x="3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7"/>
                    <a:pt x="28" y="16"/>
                    <a:pt x="28" y="16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2" y="17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8" name="išḻide">
              <a:extLst>
                <a:ext uri="{FF2B5EF4-FFF2-40B4-BE49-F238E27FC236}">
                  <a16:creationId xmlns:a16="http://schemas.microsoft.com/office/drawing/2014/main" id="{E25A4C30-B1E2-444F-A957-5BB4615A22C5}"/>
                </a:ext>
              </a:extLst>
            </p:cNvPr>
            <p:cNvSpPr/>
            <p:nvPr/>
          </p:nvSpPr>
          <p:spPr bwMode="auto">
            <a:xfrm flipH="1">
              <a:off x="1992983" y="5796293"/>
              <a:ext cx="60177" cy="36106"/>
            </a:xfrm>
            <a:custGeom>
              <a:avLst/>
              <a:gdLst>
                <a:gd name="T0" fmla="*/ 2 w 28"/>
                <a:gd name="T1" fmla="*/ 18 h 18"/>
                <a:gd name="T2" fmla="*/ 3 w 28"/>
                <a:gd name="T3" fmla="*/ 18 h 18"/>
                <a:gd name="T4" fmla="*/ 25 w 28"/>
                <a:gd name="T5" fmla="*/ 18 h 18"/>
                <a:gd name="T6" fmla="*/ 26 w 28"/>
                <a:gd name="T7" fmla="*/ 18 h 18"/>
                <a:gd name="T8" fmla="*/ 28 w 28"/>
                <a:gd name="T9" fmla="*/ 16 h 18"/>
                <a:gd name="T10" fmla="*/ 28 w 28"/>
                <a:gd name="T11" fmla="*/ 14 h 18"/>
                <a:gd name="T12" fmla="*/ 14 w 28"/>
                <a:gd name="T13" fmla="*/ 0 h 18"/>
                <a:gd name="T14" fmla="*/ 0 w 28"/>
                <a:gd name="T15" fmla="*/ 14 h 18"/>
                <a:gd name="T16" fmla="*/ 0 w 28"/>
                <a:gd name="T17" fmla="*/ 16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" y="18"/>
                    <a:pt x="2" y="18"/>
                    <a:pt x="3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7"/>
                    <a:pt x="27" y="16"/>
                    <a:pt x="28" y="16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1" y="17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9" name="íšļïdè">
              <a:extLst>
                <a:ext uri="{FF2B5EF4-FFF2-40B4-BE49-F238E27FC236}">
                  <a16:creationId xmlns:a16="http://schemas.microsoft.com/office/drawing/2014/main" id="{31A4C849-84A0-49D8-991F-B674E4E94CEA}"/>
                </a:ext>
              </a:extLst>
            </p:cNvPr>
            <p:cNvSpPr/>
            <p:nvPr/>
          </p:nvSpPr>
          <p:spPr bwMode="auto">
            <a:xfrm flipH="1">
              <a:off x="1858952" y="5796293"/>
              <a:ext cx="61089" cy="36106"/>
            </a:xfrm>
            <a:custGeom>
              <a:avLst/>
              <a:gdLst>
                <a:gd name="T0" fmla="*/ 2 w 28"/>
                <a:gd name="T1" fmla="*/ 18 h 18"/>
                <a:gd name="T2" fmla="*/ 24 w 28"/>
                <a:gd name="T3" fmla="*/ 18 h 18"/>
                <a:gd name="T4" fmla="*/ 25 w 28"/>
                <a:gd name="T5" fmla="*/ 18 h 18"/>
                <a:gd name="T6" fmla="*/ 28 w 28"/>
                <a:gd name="T7" fmla="*/ 15 h 18"/>
                <a:gd name="T8" fmla="*/ 28 w 28"/>
                <a:gd name="T9" fmla="*/ 14 h 18"/>
                <a:gd name="T10" fmla="*/ 14 w 28"/>
                <a:gd name="T11" fmla="*/ 0 h 18"/>
                <a:gd name="T12" fmla="*/ 0 w 28"/>
                <a:gd name="T13" fmla="*/ 14 h 18"/>
                <a:gd name="T14" fmla="*/ 0 w 28"/>
                <a:gd name="T15" fmla="*/ 17 h 18"/>
                <a:gd name="T16" fmla="*/ 1 w 28"/>
                <a:gd name="T17" fmla="*/ 18 h 18"/>
                <a:gd name="T18" fmla="*/ 2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" y="18"/>
                  </a:move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7"/>
                    <a:pt x="27" y="16"/>
                    <a:pt x="28" y="15"/>
                  </a:cubicBezTo>
                  <a:cubicBezTo>
                    <a:pt x="28" y="15"/>
                    <a:pt x="28" y="14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7"/>
                    <a:pt x="1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0" name="íṥḻíḍè">
              <a:extLst>
                <a:ext uri="{FF2B5EF4-FFF2-40B4-BE49-F238E27FC236}">
                  <a16:creationId xmlns:a16="http://schemas.microsoft.com/office/drawing/2014/main" id="{9595942D-9ECF-4541-844B-C0C7A0208A3A}"/>
                </a:ext>
              </a:extLst>
            </p:cNvPr>
            <p:cNvSpPr/>
            <p:nvPr/>
          </p:nvSpPr>
          <p:spPr bwMode="auto">
            <a:xfrm flipH="1">
              <a:off x="2092367" y="5832398"/>
              <a:ext cx="124914" cy="38685"/>
            </a:xfrm>
            <a:custGeom>
              <a:avLst/>
              <a:gdLst>
                <a:gd name="T0" fmla="*/ 8 w 58"/>
                <a:gd name="T1" fmla="*/ 0 h 19"/>
                <a:gd name="T2" fmla="*/ 4 w 58"/>
                <a:gd name="T3" fmla="*/ 1 h 19"/>
                <a:gd name="T4" fmla="*/ 3 w 58"/>
                <a:gd name="T5" fmla="*/ 12 h 19"/>
                <a:gd name="T6" fmla="*/ 18 w 58"/>
                <a:gd name="T7" fmla="*/ 19 h 19"/>
                <a:gd name="T8" fmla="*/ 41 w 58"/>
                <a:gd name="T9" fmla="*/ 19 h 19"/>
                <a:gd name="T10" fmla="*/ 56 w 58"/>
                <a:gd name="T11" fmla="*/ 12 h 19"/>
                <a:gd name="T12" fmla="*/ 55 w 58"/>
                <a:gd name="T13" fmla="*/ 1 h 19"/>
                <a:gd name="T14" fmla="*/ 50 w 58"/>
                <a:gd name="T15" fmla="*/ 0 h 19"/>
                <a:gd name="T16" fmla="*/ 44 w 58"/>
                <a:gd name="T17" fmla="*/ 2 h 19"/>
                <a:gd name="T18" fmla="*/ 41 w 58"/>
                <a:gd name="T19" fmla="*/ 4 h 19"/>
                <a:gd name="T20" fmla="*/ 41 w 58"/>
                <a:gd name="T21" fmla="*/ 4 h 19"/>
                <a:gd name="T22" fmla="*/ 18 w 58"/>
                <a:gd name="T23" fmla="*/ 4 h 19"/>
                <a:gd name="T24" fmla="*/ 17 w 58"/>
                <a:gd name="T25" fmla="*/ 4 h 19"/>
                <a:gd name="T26" fmla="*/ 14 w 58"/>
                <a:gd name="T27" fmla="*/ 2 h 19"/>
                <a:gd name="T28" fmla="*/ 8 w 58"/>
                <a:gd name="T2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9">
                  <a:moveTo>
                    <a:pt x="8" y="0"/>
                  </a:moveTo>
                  <a:cubicBezTo>
                    <a:pt x="7" y="0"/>
                    <a:pt x="5" y="0"/>
                    <a:pt x="4" y="1"/>
                  </a:cubicBezTo>
                  <a:cubicBezTo>
                    <a:pt x="1" y="4"/>
                    <a:pt x="0" y="9"/>
                    <a:pt x="3" y="12"/>
                  </a:cubicBezTo>
                  <a:cubicBezTo>
                    <a:pt x="7" y="16"/>
                    <a:pt x="12" y="19"/>
                    <a:pt x="18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6" y="19"/>
                    <a:pt x="52" y="16"/>
                    <a:pt x="56" y="12"/>
                  </a:cubicBezTo>
                  <a:cubicBezTo>
                    <a:pt x="58" y="9"/>
                    <a:pt x="58" y="4"/>
                    <a:pt x="55" y="1"/>
                  </a:cubicBezTo>
                  <a:cubicBezTo>
                    <a:pt x="53" y="0"/>
                    <a:pt x="52" y="0"/>
                    <a:pt x="50" y="0"/>
                  </a:cubicBezTo>
                  <a:cubicBezTo>
                    <a:pt x="48" y="0"/>
                    <a:pt x="46" y="1"/>
                    <a:pt x="44" y="2"/>
                  </a:cubicBezTo>
                  <a:cubicBezTo>
                    <a:pt x="43" y="3"/>
                    <a:pt x="42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6" y="4"/>
                    <a:pt x="15" y="3"/>
                    <a:pt x="14" y="2"/>
                  </a:cubicBezTo>
                  <a:cubicBezTo>
                    <a:pt x="13" y="1"/>
                    <a:pt x="11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1" name="ï$ḻïďè">
              <a:extLst>
                <a:ext uri="{FF2B5EF4-FFF2-40B4-BE49-F238E27FC236}">
                  <a16:creationId xmlns:a16="http://schemas.microsoft.com/office/drawing/2014/main" id="{189246DB-E75B-4E65-928F-9C449FF30380}"/>
                </a:ext>
              </a:extLst>
            </p:cNvPr>
            <p:cNvSpPr/>
            <p:nvPr/>
          </p:nvSpPr>
          <p:spPr bwMode="auto">
            <a:xfrm flipH="1">
              <a:off x="1961071" y="5832398"/>
              <a:ext cx="124914" cy="38685"/>
            </a:xfrm>
            <a:custGeom>
              <a:avLst/>
              <a:gdLst>
                <a:gd name="T0" fmla="*/ 13 w 58"/>
                <a:gd name="T1" fmla="*/ 2 h 19"/>
                <a:gd name="T2" fmla="*/ 13 w 58"/>
                <a:gd name="T3" fmla="*/ 2 h 19"/>
                <a:gd name="T4" fmla="*/ 13 w 58"/>
                <a:gd name="T5" fmla="*/ 1 h 19"/>
                <a:gd name="T6" fmla="*/ 13 w 58"/>
                <a:gd name="T7" fmla="*/ 1 h 19"/>
                <a:gd name="T8" fmla="*/ 12 w 58"/>
                <a:gd name="T9" fmla="*/ 1 h 19"/>
                <a:gd name="T10" fmla="*/ 12 w 58"/>
                <a:gd name="T11" fmla="*/ 1 h 19"/>
                <a:gd name="T12" fmla="*/ 12 w 58"/>
                <a:gd name="T13" fmla="*/ 0 h 19"/>
                <a:gd name="T14" fmla="*/ 11 w 58"/>
                <a:gd name="T15" fmla="*/ 0 h 19"/>
                <a:gd name="T16" fmla="*/ 11 w 58"/>
                <a:gd name="T17" fmla="*/ 0 h 19"/>
                <a:gd name="T18" fmla="*/ 11 w 58"/>
                <a:gd name="T19" fmla="*/ 0 h 19"/>
                <a:gd name="T20" fmla="*/ 10 w 58"/>
                <a:gd name="T21" fmla="*/ 0 h 19"/>
                <a:gd name="T22" fmla="*/ 10 w 58"/>
                <a:gd name="T23" fmla="*/ 0 h 19"/>
                <a:gd name="T24" fmla="*/ 9 w 58"/>
                <a:gd name="T25" fmla="*/ 0 h 19"/>
                <a:gd name="T26" fmla="*/ 9 w 58"/>
                <a:gd name="T27" fmla="*/ 0 h 19"/>
                <a:gd name="T28" fmla="*/ 9 w 58"/>
                <a:gd name="T29" fmla="*/ 0 h 19"/>
                <a:gd name="T30" fmla="*/ 8 w 58"/>
                <a:gd name="T31" fmla="*/ 0 h 19"/>
                <a:gd name="T32" fmla="*/ 8 w 58"/>
                <a:gd name="T33" fmla="*/ 0 h 19"/>
                <a:gd name="T34" fmla="*/ 7 w 58"/>
                <a:gd name="T35" fmla="*/ 0 h 19"/>
                <a:gd name="T36" fmla="*/ 7 w 58"/>
                <a:gd name="T37" fmla="*/ 0 h 19"/>
                <a:gd name="T38" fmla="*/ 6 w 58"/>
                <a:gd name="T39" fmla="*/ 0 h 19"/>
                <a:gd name="T40" fmla="*/ 6 w 58"/>
                <a:gd name="T41" fmla="*/ 0 h 19"/>
                <a:gd name="T42" fmla="*/ 5 w 58"/>
                <a:gd name="T43" fmla="*/ 1 h 19"/>
                <a:gd name="T44" fmla="*/ 5 w 58"/>
                <a:gd name="T45" fmla="*/ 1 h 19"/>
                <a:gd name="T46" fmla="*/ 4 w 58"/>
                <a:gd name="T47" fmla="*/ 1 h 19"/>
                <a:gd name="T48" fmla="*/ 3 w 58"/>
                <a:gd name="T49" fmla="*/ 12 h 19"/>
                <a:gd name="T50" fmla="*/ 18 w 58"/>
                <a:gd name="T51" fmla="*/ 19 h 19"/>
                <a:gd name="T52" fmla="*/ 40 w 58"/>
                <a:gd name="T53" fmla="*/ 19 h 19"/>
                <a:gd name="T54" fmla="*/ 56 w 58"/>
                <a:gd name="T55" fmla="*/ 12 h 19"/>
                <a:gd name="T56" fmla="*/ 55 w 58"/>
                <a:gd name="T57" fmla="*/ 1 h 19"/>
                <a:gd name="T58" fmla="*/ 54 w 58"/>
                <a:gd name="T59" fmla="*/ 1 h 19"/>
                <a:gd name="T60" fmla="*/ 53 w 58"/>
                <a:gd name="T61" fmla="*/ 1 h 19"/>
                <a:gd name="T62" fmla="*/ 52 w 58"/>
                <a:gd name="T63" fmla="*/ 0 h 19"/>
                <a:gd name="T64" fmla="*/ 52 w 58"/>
                <a:gd name="T65" fmla="*/ 0 h 19"/>
                <a:gd name="T66" fmla="*/ 51 w 58"/>
                <a:gd name="T67" fmla="*/ 0 h 19"/>
                <a:gd name="T68" fmla="*/ 51 w 58"/>
                <a:gd name="T69" fmla="*/ 0 h 19"/>
                <a:gd name="T70" fmla="*/ 50 w 58"/>
                <a:gd name="T71" fmla="*/ 0 h 19"/>
                <a:gd name="T72" fmla="*/ 50 w 58"/>
                <a:gd name="T73" fmla="*/ 0 h 19"/>
                <a:gd name="T74" fmla="*/ 50 w 58"/>
                <a:gd name="T75" fmla="*/ 0 h 19"/>
                <a:gd name="T76" fmla="*/ 49 w 58"/>
                <a:gd name="T77" fmla="*/ 0 h 19"/>
                <a:gd name="T78" fmla="*/ 49 w 58"/>
                <a:gd name="T79" fmla="*/ 0 h 19"/>
                <a:gd name="T80" fmla="*/ 48 w 58"/>
                <a:gd name="T81" fmla="*/ 0 h 19"/>
                <a:gd name="T82" fmla="*/ 48 w 58"/>
                <a:gd name="T83" fmla="*/ 0 h 19"/>
                <a:gd name="T84" fmla="*/ 48 w 58"/>
                <a:gd name="T85" fmla="*/ 0 h 19"/>
                <a:gd name="T86" fmla="*/ 47 w 58"/>
                <a:gd name="T87" fmla="*/ 0 h 19"/>
                <a:gd name="T88" fmla="*/ 47 w 58"/>
                <a:gd name="T89" fmla="*/ 0 h 19"/>
                <a:gd name="T90" fmla="*/ 47 w 58"/>
                <a:gd name="T91" fmla="*/ 0 h 19"/>
                <a:gd name="T92" fmla="*/ 46 w 58"/>
                <a:gd name="T93" fmla="*/ 1 h 19"/>
                <a:gd name="T94" fmla="*/ 46 w 58"/>
                <a:gd name="T95" fmla="*/ 1 h 19"/>
                <a:gd name="T96" fmla="*/ 46 w 58"/>
                <a:gd name="T97" fmla="*/ 1 h 19"/>
                <a:gd name="T98" fmla="*/ 45 w 58"/>
                <a:gd name="T99" fmla="*/ 1 h 19"/>
                <a:gd name="T100" fmla="*/ 45 w 58"/>
                <a:gd name="T101" fmla="*/ 2 h 19"/>
                <a:gd name="T102" fmla="*/ 45 w 58"/>
                <a:gd name="T103" fmla="*/ 2 h 19"/>
                <a:gd name="T104" fmla="*/ 44 w 58"/>
                <a:gd name="T105" fmla="*/ 2 h 19"/>
                <a:gd name="T106" fmla="*/ 41 w 58"/>
                <a:gd name="T107" fmla="*/ 4 h 19"/>
                <a:gd name="T108" fmla="*/ 40 w 58"/>
                <a:gd name="T109" fmla="*/ 4 h 19"/>
                <a:gd name="T110" fmla="*/ 18 w 58"/>
                <a:gd name="T111" fmla="*/ 4 h 19"/>
                <a:gd name="T112" fmla="*/ 17 w 58"/>
                <a:gd name="T113" fmla="*/ 4 h 19"/>
                <a:gd name="T114" fmla="*/ 14 w 58"/>
                <a:gd name="T115" fmla="*/ 2 h 19"/>
                <a:gd name="T116" fmla="*/ 13 w 58"/>
                <a:gd name="T11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" h="19"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1" y="4"/>
                    <a:pt x="0" y="9"/>
                    <a:pt x="3" y="12"/>
                  </a:cubicBezTo>
                  <a:cubicBezTo>
                    <a:pt x="6" y="16"/>
                    <a:pt x="12" y="19"/>
                    <a:pt x="1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6" y="19"/>
                    <a:pt x="52" y="16"/>
                    <a:pt x="56" y="12"/>
                  </a:cubicBezTo>
                  <a:cubicBezTo>
                    <a:pt x="58" y="9"/>
                    <a:pt x="58" y="4"/>
                    <a:pt x="55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3" y="1"/>
                    <a:pt x="53" y="1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5" y="1"/>
                    <a:pt x="45" y="1"/>
                  </a:cubicBezTo>
                  <a:cubicBezTo>
                    <a:pt x="45" y="1"/>
                    <a:pt x="45" y="1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4" y="2"/>
                    <a:pt x="44" y="2"/>
                  </a:cubicBezTo>
                  <a:cubicBezTo>
                    <a:pt x="43" y="3"/>
                    <a:pt x="42" y="4"/>
                    <a:pt x="41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7" y="4"/>
                    <a:pt x="17" y="4"/>
                  </a:cubicBezTo>
                  <a:cubicBezTo>
                    <a:pt x="16" y="4"/>
                    <a:pt x="15" y="3"/>
                    <a:pt x="14" y="2"/>
                  </a:cubicBezTo>
                  <a:cubicBezTo>
                    <a:pt x="14" y="2"/>
                    <a:pt x="14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2" name="îś1íḍê">
              <a:extLst>
                <a:ext uri="{FF2B5EF4-FFF2-40B4-BE49-F238E27FC236}">
                  <a16:creationId xmlns:a16="http://schemas.microsoft.com/office/drawing/2014/main" id="{D0DDB03E-242B-486E-9588-9EBFE2ECDC54}"/>
                </a:ext>
              </a:extLst>
            </p:cNvPr>
            <p:cNvSpPr/>
            <p:nvPr/>
          </p:nvSpPr>
          <p:spPr bwMode="auto">
            <a:xfrm flipH="1">
              <a:off x="1828863" y="5832398"/>
              <a:ext cx="124914" cy="38685"/>
            </a:xfrm>
            <a:custGeom>
              <a:avLst/>
              <a:gdLst>
                <a:gd name="T0" fmla="*/ 14 w 58"/>
                <a:gd name="T1" fmla="*/ 2 h 19"/>
                <a:gd name="T2" fmla="*/ 8 w 58"/>
                <a:gd name="T3" fmla="*/ 0 h 19"/>
                <a:gd name="T4" fmla="*/ 3 w 58"/>
                <a:gd name="T5" fmla="*/ 1 h 19"/>
                <a:gd name="T6" fmla="*/ 3 w 58"/>
                <a:gd name="T7" fmla="*/ 12 h 19"/>
                <a:gd name="T8" fmla="*/ 18 w 58"/>
                <a:gd name="T9" fmla="*/ 19 h 19"/>
                <a:gd name="T10" fmla="*/ 40 w 58"/>
                <a:gd name="T11" fmla="*/ 19 h 19"/>
                <a:gd name="T12" fmla="*/ 55 w 58"/>
                <a:gd name="T13" fmla="*/ 12 h 19"/>
                <a:gd name="T14" fmla="*/ 54 w 58"/>
                <a:gd name="T15" fmla="*/ 1 h 19"/>
                <a:gd name="T16" fmla="*/ 50 w 58"/>
                <a:gd name="T17" fmla="*/ 0 h 19"/>
                <a:gd name="T18" fmla="*/ 44 w 58"/>
                <a:gd name="T19" fmla="*/ 2 h 19"/>
                <a:gd name="T20" fmla="*/ 42 w 58"/>
                <a:gd name="T21" fmla="*/ 4 h 19"/>
                <a:gd name="T22" fmla="*/ 40 w 58"/>
                <a:gd name="T23" fmla="*/ 4 h 19"/>
                <a:gd name="T24" fmla="*/ 18 w 58"/>
                <a:gd name="T25" fmla="*/ 4 h 19"/>
                <a:gd name="T26" fmla="*/ 18 w 58"/>
                <a:gd name="T27" fmla="*/ 4 h 19"/>
                <a:gd name="T28" fmla="*/ 14 w 58"/>
                <a:gd name="T2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19">
                  <a:moveTo>
                    <a:pt x="14" y="2"/>
                  </a:moveTo>
                  <a:cubicBezTo>
                    <a:pt x="12" y="1"/>
                    <a:pt x="10" y="0"/>
                    <a:pt x="8" y="0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0" y="4"/>
                    <a:pt x="0" y="9"/>
                    <a:pt x="3" y="12"/>
                  </a:cubicBezTo>
                  <a:cubicBezTo>
                    <a:pt x="6" y="16"/>
                    <a:pt x="12" y="19"/>
                    <a:pt x="1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6" y="19"/>
                    <a:pt x="52" y="16"/>
                    <a:pt x="55" y="12"/>
                  </a:cubicBezTo>
                  <a:cubicBezTo>
                    <a:pt x="58" y="9"/>
                    <a:pt x="58" y="4"/>
                    <a:pt x="54" y="1"/>
                  </a:cubicBezTo>
                  <a:cubicBezTo>
                    <a:pt x="53" y="0"/>
                    <a:pt x="51" y="0"/>
                    <a:pt x="50" y="0"/>
                  </a:cubicBezTo>
                  <a:cubicBezTo>
                    <a:pt x="48" y="0"/>
                    <a:pt x="46" y="1"/>
                    <a:pt x="44" y="2"/>
                  </a:cubicBezTo>
                  <a:cubicBezTo>
                    <a:pt x="43" y="3"/>
                    <a:pt x="43" y="4"/>
                    <a:pt x="42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5" y="3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3" name="iṣlïḍè">
              <a:extLst>
                <a:ext uri="{FF2B5EF4-FFF2-40B4-BE49-F238E27FC236}">
                  <a16:creationId xmlns:a16="http://schemas.microsoft.com/office/drawing/2014/main" id="{092C781A-CDCF-4EFD-868A-57ABE2648B30}"/>
                </a:ext>
              </a:extLst>
            </p:cNvPr>
            <p:cNvSpPr/>
            <p:nvPr/>
          </p:nvSpPr>
          <p:spPr bwMode="auto">
            <a:xfrm flipH="1">
              <a:off x="2137956" y="2251921"/>
              <a:ext cx="330064" cy="294863"/>
            </a:xfrm>
            <a:custGeom>
              <a:avLst/>
              <a:gdLst>
                <a:gd name="T0" fmla="*/ 26 w 153"/>
                <a:gd name="T1" fmla="*/ 145 h 145"/>
                <a:gd name="T2" fmla="*/ 52 w 153"/>
                <a:gd name="T3" fmla="*/ 119 h 145"/>
                <a:gd name="T4" fmla="*/ 52 w 153"/>
                <a:gd name="T5" fmla="*/ 119 h 145"/>
                <a:gd name="T6" fmla="*/ 52 w 153"/>
                <a:gd name="T7" fmla="*/ 33 h 145"/>
                <a:gd name="T8" fmla="*/ 137 w 153"/>
                <a:gd name="T9" fmla="*/ 33 h 145"/>
                <a:gd name="T10" fmla="*/ 137 w 153"/>
                <a:gd name="T11" fmla="*/ 94 h 145"/>
                <a:gd name="T12" fmla="*/ 127 w 153"/>
                <a:gd name="T13" fmla="*/ 93 h 145"/>
                <a:gd name="T14" fmla="*/ 101 w 153"/>
                <a:gd name="T15" fmla="*/ 119 h 145"/>
                <a:gd name="T16" fmla="*/ 127 w 153"/>
                <a:gd name="T17" fmla="*/ 145 h 145"/>
                <a:gd name="T18" fmla="*/ 153 w 153"/>
                <a:gd name="T19" fmla="*/ 119 h 145"/>
                <a:gd name="T20" fmla="*/ 153 w 153"/>
                <a:gd name="T21" fmla="*/ 119 h 145"/>
                <a:gd name="T22" fmla="*/ 153 w 153"/>
                <a:gd name="T23" fmla="*/ 119 h 145"/>
                <a:gd name="T24" fmla="*/ 153 w 153"/>
                <a:gd name="T25" fmla="*/ 33 h 145"/>
                <a:gd name="T26" fmla="*/ 153 w 153"/>
                <a:gd name="T27" fmla="*/ 0 h 145"/>
                <a:gd name="T28" fmla="*/ 137 w 153"/>
                <a:gd name="T29" fmla="*/ 0 h 145"/>
                <a:gd name="T30" fmla="*/ 52 w 153"/>
                <a:gd name="T31" fmla="*/ 0 h 145"/>
                <a:gd name="T32" fmla="*/ 36 w 153"/>
                <a:gd name="T33" fmla="*/ 0 h 145"/>
                <a:gd name="T34" fmla="*/ 36 w 153"/>
                <a:gd name="T35" fmla="*/ 33 h 145"/>
                <a:gd name="T36" fmla="*/ 36 w 153"/>
                <a:gd name="T37" fmla="*/ 94 h 145"/>
                <a:gd name="T38" fmla="*/ 26 w 153"/>
                <a:gd name="T39" fmla="*/ 93 h 145"/>
                <a:gd name="T40" fmla="*/ 0 w 153"/>
                <a:gd name="T41" fmla="*/ 119 h 145"/>
                <a:gd name="T42" fmla="*/ 26 w 153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3" h="145">
                  <a:moveTo>
                    <a:pt x="26" y="145"/>
                  </a:moveTo>
                  <a:cubicBezTo>
                    <a:pt x="40" y="145"/>
                    <a:pt x="52" y="133"/>
                    <a:pt x="52" y="119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4" y="93"/>
                    <a:pt x="130" y="93"/>
                    <a:pt x="127" y="93"/>
                  </a:cubicBezTo>
                  <a:cubicBezTo>
                    <a:pt x="112" y="93"/>
                    <a:pt x="101" y="104"/>
                    <a:pt x="101" y="119"/>
                  </a:cubicBezTo>
                  <a:cubicBezTo>
                    <a:pt x="101" y="133"/>
                    <a:pt x="112" y="145"/>
                    <a:pt x="127" y="145"/>
                  </a:cubicBezTo>
                  <a:cubicBezTo>
                    <a:pt x="141" y="145"/>
                    <a:pt x="153" y="133"/>
                    <a:pt x="153" y="119"/>
                  </a:cubicBezTo>
                  <a:cubicBezTo>
                    <a:pt x="153" y="119"/>
                    <a:pt x="153" y="119"/>
                    <a:pt x="153" y="119"/>
                  </a:cubicBezTo>
                  <a:cubicBezTo>
                    <a:pt x="153" y="119"/>
                    <a:pt x="153" y="119"/>
                    <a:pt x="153" y="11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3" y="93"/>
                    <a:pt x="29" y="93"/>
                    <a:pt x="26" y="93"/>
                  </a:cubicBezTo>
                  <a:cubicBezTo>
                    <a:pt x="11" y="93"/>
                    <a:pt x="0" y="104"/>
                    <a:pt x="0" y="119"/>
                  </a:cubicBezTo>
                  <a:cubicBezTo>
                    <a:pt x="0" y="133"/>
                    <a:pt x="11" y="145"/>
                    <a:pt x="26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4" name="i$ľîḑé">
              <a:extLst>
                <a:ext uri="{FF2B5EF4-FFF2-40B4-BE49-F238E27FC236}">
                  <a16:creationId xmlns:a16="http://schemas.microsoft.com/office/drawing/2014/main" id="{556C4042-B67D-459B-8CE8-E9B955DA3E6F}"/>
                </a:ext>
              </a:extLst>
            </p:cNvPr>
            <p:cNvSpPr/>
            <p:nvPr/>
          </p:nvSpPr>
          <p:spPr bwMode="auto">
            <a:xfrm flipH="1">
              <a:off x="1455945" y="5806608"/>
              <a:ext cx="112149" cy="34386"/>
            </a:xfrm>
            <a:custGeom>
              <a:avLst/>
              <a:gdLst>
                <a:gd name="T0" fmla="*/ 3 w 123"/>
                <a:gd name="T1" fmla="*/ 0 h 40"/>
                <a:gd name="T2" fmla="*/ 0 w 123"/>
                <a:gd name="T3" fmla="*/ 40 h 40"/>
                <a:gd name="T4" fmla="*/ 123 w 123"/>
                <a:gd name="T5" fmla="*/ 40 h 40"/>
                <a:gd name="T6" fmla="*/ 121 w 123"/>
                <a:gd name="T7" fmla="*/ 0 h 40"/>
                <a:gd name="T8" fmla="*/ 3 w 123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0">
                  <a:moveTo>
                    <a:pt x="3" y="0"/>
                  </a:moveTo>
                  <a:lnTo>
                    <a:pt x="0" y="40"/>
                  </a:lnTo>
                  <a:lnTo>
                    <a:pt x="123" y="40"/>
                  </a:lnTo>
                  <a:lnTo>
                    <a:pt x="121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5" name="ïṡḷídê">
              <a:extLst>
                <a:ext uri="{FF2B5EF4-FFF2-40B4-BE49-F238E27FC236}">
                  <a16:creationId xmlns:a16="http://schemas.microsoft.com/office/drawing/2014/main" id="{C61E92A2-B452-4FA1-8826-84C6FCD94922}"/>
                </a:ext>
              </a:extLst>
            </p:cNvPr>
            <p:cNvSpPr/>
            <p:nvPr/>
          </p:nvSpPr>
          <p:spPr bwMode="auto">
            <a:xfrm flipH="1">
              <a:off x="1353826" y="5613185"/>
              <a:ext cx="313652" cy="183108"/>
            </a:xfrm>
            <a:custGeom>
              <a:avLst/>
              <a:gdLst>
                <a:gd name="T0" fmla="*/ 230 w 344"/>
                <a:gd name="T1" fmla="*/ 213 h 213"/>
                <a:gd name="T2" fmla="*/ 344 w 344"/>
                <a:gd name="T3" fmla="*/ 213 h 213"/>
                <a:gd name="T4" fmla="*/ 344 w 344"/>
                <a:gd name="T5" fmla="*/ 0 h 213"/>
                <a:gd name="T6" fmla="*/ 171 w 344"/>
                <a:gd name="T7" fmla="*/ 0 h 213"/>
                <a:gd name="T8" fmla="*/ 171 w 344"/>
                <a:gd name="T9" fmla="*/ 26 h 213"/>
                <a:gd name="T10" fmla="*/ 313 w 344"/>
                <a:gd name="T11" fmla="*/ 26 h 213"/>
                <a:gd name="T12" fmla="*/ 313 w 344"/>
                <a:gd name="T13" fmla="*/ 187 h 213"/>
                <a:gd name="T14" fmla="*/ 228 w 344"/>
                <a:gd name="T15" fmla="*/ 187 h 213"/>
                <a:gd name="T16" fmla="*/ 171 w 344"/>
                <a:gd name="T17" fmla="*/ 187 h 213"/>
                <a:gd name="T18" fmla="*/ 171 w 344"/>
                <a:gd name="T19" fmla="*/ 213 h 213"/>
                <a:gd name="T20" fmla="*/ 230 w 344"/>
                <a:gd name="T21" fmla="*/ 213 h 213"/>
                <a:gd name="T22" fmla="*/ 171 w 344"/>
                <a:gd name="T23" fmla="*/ 0 h 213"/>
                <a:gd name="T24" fmla="*/ 0 w 344"/>
                <a:gd name="T25" fmla="*/ 0 h 213"/>
                <a:gd name="T26" fmla="*/ 0 w 344"/>
                <a:gd name="T27" fmla="*/ 213 h 213"/>
                <a:gd name="T28" fmla="*/ 112 w 344"/>
                <a:gd name="T29" fmla="*/ 213 h 213"/>
                <a:gd name="T30" fmla="*/ 171 w 344"/>
                <a:gd name="T31" fmla="*/ 213 h 213"/>
                <a:gd name="T32" fmla="*/ 171 w 344"/>
                <a:gd name="T33" fmla="*/ 187 h 213"/>
                <a:gd name="T34" fmla="*/ 114 w 344"/>
                <a:gd name="T35" fmla="*/ 187 h 213"/>
                <a:gd name="T36" fmla="*/ 31 w 344"/>
                <a:gd name="T37" fmla="*/ 187 h 213"/>
                <a:gd name="T38" fmla="*/ 31 w 344"/>
                <a:gd name="T39" fmla="*/ 187 h 213"/>
                <a:gd name="T40" fmla="*/ 31 w 344"/>
                <a:gd name="T41" fmla="*/ 26 h 213"/>
                <a:gd name="T42" fmla="*/ 171 w 344"/>
                <a:gd name="T43" fmla="*/ 26 h 213"/>
                <a:gd name="T44" fmla="*/ 171 w 344"/>
                <a:gd name="T45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4" h="213">
                  <a:moveTo>
                    <a:pt x="230" y="213"/>
                  </a:moveTo>
                  <a:lnTo>
                    <a:pt x="344" y="213"/>
                  </a:lnTo>
                  <a:lnTo>
                    <a:pt x="344" y="0"/>
                  </a:lnTo>
                  <a:lnTo>
                    <a:pt x="171" y="0"/>
                  </a:lnTo>
                  <a:lnTo>
                    <a:pt x="171" y="26"/>
                  </a:lnTo>
                  <a:lnTo>
                    <a:pt x="313" y="26"/>
                  </a:lnTo>
                  <a:lnTo>
                    <a:pt x="313" y="187"/>
                  </a:lnTo>
                  <a:lnTo>
                    <a:pt x="228" y="187"/>
                  </a:lnTo>
                  <a:lnTo>
                    <a:pt x="171" y="187"/>
                  </a:lnTo>
                  <a:lnTo>
                    <a:pt x="171" y="213"/>
                  </a:lnTo>
                  <a:lnTo>
                    <a:pt x="230" y="213"/>
                  </a:lnTo>
                  <a:close/>
                  <a:moveTo>
                    <a:pt x="171" y="0"/>
                  </a:moveTo>
                  <a:lnTo>
                    <a:pt x="0" y="0"/>
                  </a:lnTo>
                  <a:lnTo>
                    <a:pt x="0" y="213"/>
                  </a:lnTo>
                  <a:lnTo>
                    <a:pt x="112" y="213"/>
                  </a:lnTo>
                  <a:lnTo>
                    <a:pt x="171" y="213"/>
                  </a:lnTo>
                  <a:lnTo>
                    <a:pt x="171" y="187"/>
                  </a:lnTo>
                  <a:lnTo>
                    <a:pt x="114" y="187"/>
                  </a:lnTo>
                  <a:lnTo>
                    <a:pt x="31" y="187"/>
                  </a:lnTo>
                  <a:lnTo>
                    <a:pt x="31" y="187"/>
                  </a:lnTo>
                  <a:lnTo>
                    <a:pt x="31" y="26"/>
                  </a:lnTo>
                  <a:lnTo>
                    <a:pt x="171" y="26"/>
                  </a:lnTo>
                  <a:lnTo>
                    <a:pt x="1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6" name="î$ḷíḍé">
              <a:extLst>
                <a:ext uri="{FF2B5EF4-FFF2-40B4-BE49-F238E27FC236}">
                  <a16:creationId xmlns:a16="http://schemas.microsoft.com/office/drawing/2014/main" id="{D1B5A557-E230-4D0C-B89B-B0C986F976F3}"/>
                </a:ext>
              </a:extLst>
            </p:cNvPr>
            <p:cNvSpPr/>
            <p:nvPr/>
          </p:nvSpPr>
          <p:spPr bwMode="auto">
            <a:xfrm flipH="1">
              <a:off x="1434063" y="5851310"/>
              <a:ext cx="155002" cy="13755"/>
            </a:xfrm>
            <a:custGeom>
              <a:avLst/>
              <a:gdLst>
                <a:gd name="T0" fmla="*/ 0 w 170"/>
                <a:gd name="T1" fmla="*/ 0 h 16"/>
                <a:gd name="T2" fmla="*/ 0 w 170"/>
                <a:gd name="T3" fmla="*/ 16 h 16"/>
                <a:gd name="T4" fmla="*/ 170 w 170"/>
                <a:gd name="T5" fmla="*/ 16 h 16"/>
                <a:gd name="T6" fmla="*/ 170 w 170"/>
                <a:gd name="T7" fmla="*/ 0 h 16"/>
                <a:gd name="T8" fmla="*/ 146 w 170"/>
                <a:gd name="T9" fmla="*/ 0 h 16"/>
                <a:gd name="T10" fmla="*/ 23 w 170"/>
                <a:gd name="T11" fmla="*/ 0 h 16"/>
                <a:gd name="T12" fmla="*/ 0 w 170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6">
                  <a:moveTo>
                    <a:pt x="0" y="0"/>
                  </a:moveTo>
                  <a:lnTo>
                    <a:pt x="0" y="16"/>
                  </a:lnTo>
                  <a:lnTo>
                    <a:pt x="170" y="16"/>
                  </a:lnTo>
                  <a:lnTo>
                    <a:pt x="170" y="0"/>
                  </a:lnTo>
                  <a:lnTo>
                    <a:pt x="146" y="0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7" name="îśḻíḍê">
              <a:extLst>
                <a:ext uri="{FF2B5EF4-FFF2-40B4-BE49-F238E27FC236}">
                  <a16:creationId xmlns:a16="http://schemas.microsoft.com/office/drawing/2014/main" id="{5F13EBD1-AD3D-4ABF-B708-0ACDD4B7FFD3}"/>
                </a:ext>
              </a:extLst>
            </p:cNvPr>
            <p:cNvSpPr/>
            <p:nvPr/>
          </p:nvSpPr>
          <p:spPr bwMode="auto">
            <a:xfrm flipH="1">
              <a:off x="3221149" y="5912346"/>
              <a:ext cx="134032" cy="281968"/>
            </a:xfrm>
            <a:custGeom>
              <a:avLst/>
              <a:gdLst>
                <a:gd name="T0" fmla="*/ 31 w 62"/>
                <a:gd name="T1" fmla="*/ 120 h 139"/>
                <a:gd name="T2" fmla="*/ 31 w 62"/>
                <a:gd name="T3" fmla="*/ 120 h 139"/>
                <a:gd name="T4" fmla="*/ 60 w 62"/>
                <a:gd name="T5" fmla="*/ 135 h 139"/>
                <a:gd name="T6" fmla="*/ 61 w 62"/>
                <a:gd name="T7" fmla="*/ 135 h 139"/>
                <a:gd name="T8" fmla="*/ 61 w 62"/>
                <a:gd name="T9" fmla="*/ 36 h 139"/>
                <a:gd name="T10" fmla="*/ 60 w 62"/>
                <a:gd name="T11" fmla="*/ 22 h 139"/>
                <a:gd name="T12" fmla="*/ 52 w 62"/>
                <a:gd name="T13" fmla="*/ 12 h 139"/>
                <a:gd name="T14" fmla="*/ 52 w 62"/>
                <a:gd name="T15" fmla="*/ 4 h 139"/>
                <a:gd name="T16" fmla="*/ 52 w 62"/>
                <a:gd name="T17" fmla="*/ 0 h 139"/>
                <a:gd name="T18" fmla="*/ 48 w 62"/>
                <a:gd name="T19" fmla="*/ 0 h 139"/>
                <a:gd name="T20" fmla="*/ 31 w 62"/>
                <a:gd name="T21" fmla="*/ 0 h 139"/>
                <a:gd name="T22" fmla="*/ 31 w 62"/>
                <a:gd name="T23" fmla="*/ 4 h 139"/>
                <a:gd name="T24" fmla="*/ 48 w 62"/>
                <a:gd name="T25" fmla="*/ 4 h 139"/>
                <a:gd name="T26" fmla="*/ 48 w 62"/>
                <a:gd name="T27" fmla="*/ 10 h 139"/>
                <a:gd name="T28" fmla="*/ 48 w 62"/>
                <a:gd name="T29" fmla="*/ 58 h 139"/>
                <a:gd name="T30" fmla="*/ 31 w 62"/>
                <a:gd name="T31" fmla="*/ 40 h 139"/>
                <a:gd name="T32" fmla="*/ 31 w 62"/>
                <a:gd name="T33" fmla="*/ 41 h 139"/>
                <a:gd name="T34" fmla="*/ 31 w 62"/>
                <a:gd name="T35" fmla="*/ 120 h 139"/>
                <a:gd name="T36" fmla="*/ 1 w 62"/>
                <a:gd name="T37" fmla="*/ 135 h 139"/>
                <a:gd name="T38" fmla="*/ 31 w 62"/>
                <a:gd name="T39" fmla="*/ 120 h 139"/>
                <a:gd name="T40" fmla="*/ 31 w 62"/>
                <a:gd name="T41" fmla="*/ 41 h 139"/>
                <a:gd name="T42" fmla="*/ 13 w 62"/>
                <a:gd name="T43" fmla="*/ 58 h 139"/>
                <a:gd name="T44" fmla="*/ 13 w 62"/>
                <a:gd name="T45" fmla="*/ 10 h 139"/>
                <a:gd name="T46" fmla="*/ 13 w 62"/>
                <a:gd name="T47" fmla="*/ 10 h 139"/>
                <a:gd name="T48" fmla="*/ 13 w 62"/>
                <a:gd name="T49" fmla="*/ 10 h 139"/>
                <a:gd name="T50" fmla="*/ 13 w 62"/>
                <a:gd name="T51" fmla="*/ 4 h 139"/>
                <a:gd name="T52" fmla="*/ 31 w 62"/>
                <a:gd name="T53" fmla="*/ 4 h 139"/>
                <a:gd name="T54" fmla="*/ 31 w 62"/>
                <a:gd name="T55" fmla="*/ 0 h 139"/>
                <a:gd name="T56" fmla="*/ 13 w 62"/>
                <a:gd name="T57" fmla="*/ 0 h 139"/>
                <a:gd name="T58" fmla="*/ 9 w 62"/>
                <a:gd name="T59" fmla="*/ 0 h 139"/>
                <a:gd name="T60" fmla="*/ 9 w 62"/>
                <a:gd name="T61" fmla="*/ 4 h 139"/>
                <a:gd name="T62" fmla="*/ 9 w 62"/>
                <a:gd name="T63" fmla="*/ 12 h 139"/>
                <a:gd name="T64" fmla="*/ 1 w 62"/>
                <a:gd name="T65" fmla="*/ 22 h 139"/>
                <a:gd name="T66" fmla="*/ 0 w 62"/>
                <a:gd name="T67" fmla="*/ 36 h 139"/>
                <a:gd name="T68" fmla="*/ 0 w 62"/>
                <a:gd name="T69" fmla="*/ 135 h 139"/>
                <a:gd name="T70" fmla="*/ 1 w 62"/>
                <a:gd name="T71" fmla="*/ 13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2" h="139">
                  <a:moveTo>
                    <a:pt x="31" y="120"/>
                  </a:moveTo>
                  <a:cubicBezTo>
                    <a:pt x="31" y="120"/>
                    <a:pt x="31" y="120"/>
                    <a:pt x="31" y="120"/>
                  </a:cubicBezTo>
                  <a:cubicBezTo>
                    <a:pt x="45" y="120"/>
                    <a:pt x="57" y="123"/>
                    <a:pt x="60" y="135"/>
                  </a:cubicBezTo>
                  <a:cubicBezTo>
                    <a:pt x="62" y="139"/>
                    <a:pt x="61" y="139"/>
                    <a:pt x="61" y="135"/>
                  </a:cubicBezTo>
                  <a:cubicBezTo>
                    <a:pt x="61" y="114"/>
                    <a:pt x="61" y="57"/>
                    <a:pt x="61" y="36"/>
                  </a:cubicBezTo>
                  <a:cubicBezTo>
                    <a:pt x="61" y="32"/>
                    <a:pt x="62" y="26"/>
                    <a:pt x="60" y="22"/>
                  </a:cubicBezTo>
                  <a:cubicBezTo>
                    <a:pt x="59" y="17"/>
                    <a:pt x="56" y="14"/>
                    <a:pt x="52" y="1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1"/>
                    <a:pt x="31" y="41"/>
                    <a:pt x="31" y="41"/>
                  </a:cubicBezTo>
                  <a:lnTo>
                    <a:pt x="31" y="120"/>
                  </a:lnTo>
                  <a:close/>
                  <a:moveTo>
                    <a:pt x="1" y="135"/>
                  </a:moveTo>
                  <a:cubicBezTo>
                    <a:pt x="4" y="123"/>
                    <a:pt x="16" y="120"/>
                    <a:pt x="31" y="120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5" y="14"/>
                    <a:pt x="2" y="17"/>
                    <a:pt x="1" y="22"/>
                  </a:cubicBezTo>
                  <a:cubicBezTo>
                    <a:pt x="0" y="26"/>
                    <a:pt x="0" y="32"/>
                    <a:pt x="0" y="36"/>
                  </a:cubicBezTo>
                  <a:cubicBezTo>
                    <a:pt x="0" y="57"/>
                    <a:pt x="0" y="114"/>
                    <a:pt x="0" y="135"/>
                  </a:cubicBezTo>
                  <a:cubicBezTo>
                    <a:pt x="0" y="139"/>
                    <a:pt x="0" y="139"/>
                    <a:pt x="1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8" name="ï$ľîḓè">
              <a:extLst>
                <a:ext uri="{FF2B5EF4-FFF2-40B4-BE49-F238E27FC236}">
                  <a16:creationId xmlns:a16="http://schemas.microsoft.com/office/drawing/2014/main" id="{54ABD601-3CB4-4EA4-B614-04BDD109D3E0}"/>
                </a:ext>
              </a:extLst>
            </p:cNvPr>
            <p:cNvSpPr/>
            <p:nvPr/>
          </p:nvSpPr>
          <p:spPr bwMode="auto">
            <a:xfrm flipH="1">
              <a:off x="3078912" y="5928679"/>
              <a:ext cx="135855" cy="265635"/>
            </a:xfrm>
            <a:custGeom>
              <a:avLst/>
              <a:gdLst>
                <a:gd name="T0" fmla="*/ 2 w 63"/>
                <a:gd name="T1" fmla="*/ 127 h 131"/>
                <a:gd name="T2" fmla="*/ 32 w 63"/>
                <a:gd name="T3" fmla="*/ 112 h 131"/>
                <a:gd name="T4" fmla="*/ 61 w 63"/>
                <a:gd name="T5" fmla="*/ 127 h 131"/>
                <a:gd name="T6" fmla="*/ 62 w 63"/>
                <a:gd name="T7" fmla="*/ 127 h 131"/>
                <a:gd name="T8" fmla="*/ 62 w 63"/>
                <a:gd name="T9" fmla="*/ 28 h 131"/>
                <a:gd name="T10" fmla="*/ 61 w 63"/>
                <a:gd name="T11" fmla="*/ 14 h 131"/>
                <a:gd name="T12" fmla="*/ 32 w 63"/>
                <a:gd name="T13" fmla="*/ 0 h 131"/>
                <a:gd name="T14" fmla="*/ 2 w 63"/>
                <a:gd name="T15" fmla="*/ 14 h 131"/>
                <a:gd name="T16" fmla="*/ 1 w 63"/>
                <a:gd name="T17" fmla="*/ 28 h 131"/>
                <a:gd name="T18" fmla="*/ 1 w 63"/>
                <a:gd name="T19" fmla="*/ 127 h 131"/>
                <a:gd name="T20" fmla="*/ 2 w 63"/>
                <a:gd name="T21" fmla="*/ 12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31">
                  <a:moveTo>
                    <a:pt x="2" y="127"/>
                  </a:moveTo>
                  <a:cubicBezTo>
                    <a:pt x="5" y="115"/>
                    <a:pt x="17" y="112"/>
                    <a:pt x="32" y="112"/>
                  </a:cubicBezTo>
                  <a:cubicBezTo>
                    <a:pt x="46" y="112"/>
                    <a:pt x="58" y="115"/>
                    <a:pt x="61" y="127"/>
                  </a:cubicBezTo>
                  <a:cubicBezTo>
                    <a:pt x="63" y="131"/>
                    <a:pt x="62" y="131"/>
                    <a:pt x="62" y="127"/>
                  </a:cubicBezTo>
                  <a:cubicBezTo>
                    <a:pt x="62" y="106"/>
                    <a:pt x="62" y="49"/>
                    <a:pt x="62" y="28"/>
                  </a:cubicBezTo>
                  <a:cubicBezTo>
                    <a:pt x="62" y="24"/>
                    <a:pt x="62" y="18"/>
                    <a:pt x="61" y="14"/>
                  </a:cubicBezTo>
                  <a:cubicBezTo>
                    <a:pt x="57" y="3"/>
                    <a:pt x="46" y="0"/>
                    <a:pt x="32" y="0"/>
                  </a:cubicBezTo>
                  <a:cubicBezTo>
                    <a:pt x="17" y="0"/>
                    <a:pt x="6" y="3"/>
                    <a:pt x="2" y="14"/>
                  </a:cubicBezTo>
                  <a:cubicBezTo>
                    <a:pt x="1" y="18"/>
                    <a:pt x="1" y="24"/>
                    <a:pt x="1" y="28"/>
                  </a:cubicBezTo>
                  <a:cubicBezTo>
                    <a:pt x="1" y="49"/>
                    <a:pt x="1" y="106"/>
                    <a:pt x="1" y="127"/>
                  </a:cubicBezTo>
                  <a:cubicBezTo>
                    <a:pt x="1" y="131"/>
                    <a:pt x="0" y="131"/>
                    <a:pt x="2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9" name="iṥlîḋe">
              <a:extLst>
                <a:ext uri="{FF2B5EF4-FFF2-40B4-BE49-F238E27FC236}">
                  <a16:creationId xmlns:a16="http://schemas.microsoft.com/office/drawing/2014/main" id="{DBBEB92D-1C7E-40DC-82EB-FD2D63362E09}"/>
                </a:ext>
              </a:extLst>
            </p:cNvPr>
            <p:cNvSpPr/>
            <p:nvPr/>
          </p:nvSpPr>
          <p:spPr bwMode="auto">
            <a:xfrm flipH="1">
              <a:off x="1494240" y="3370336"/>
              <a:ext cx="255298" cy="242424"/>
            </a:xfrm>
            <a:custGeom>
              <a:avLst/>
              <a:gdLst>
                <a:gd name="T0" fmla="*/ 59 w 118"/>
                <a:gd name="T1" fmla="*/ 119 h 119"/>
                <a:gd name="T2" fmla="*/ 68 w 118"/>
                <a:gd name="T3" fmla="*/ 119 h 119"/>
                <a:gd name="T4" fmla="*/ 68 w 118"/>
                <a:gd name="T5" fmla="*/ 110 h 119"/>
                <a:gd name="T6" fmla="*/ 88 w 118"/>
                <a:gd name="T7" fmla="*/ 102 h 119"/>
                <a:gd name="T8" fmla="*/ 94 w 118"/>
                <a:gd name="T9" fmla="*/ 108 h 119"/>
                <a:gd name="T10" fmla="*/ 108 w 118"/>
                <a:gd name="T11" fmla="*/ 95 h 119"/>
                <a:gd name="T12" fmla="*/ 101 w 118"/>
                <a:gd name="T13" fmla="*/ 89 h 119"/>
                <a:gd name="T14" fmla="*/ 109 w 118"/>
                <a:gd name="T15" fmla="*/ 69 h 119"/>
                <a:gd name="T16" fmla="*/ 118 w 118"/>
                <a:gd name="T17" fmla="*/ 69 h 119"/>
                <a:gd name="T18" fmla="*/ 118 w 118"/>
                <a:gd name="T19" fmla="*/ 50 h 119"/>
                <a:gd name="T20" fmla="*/ 109 w 118"/>
                <a:gd name="T21" fmla="*/ 50 h 119"/>
                <a:gd name="T22" fmla="*/ 101 w 118"/>
                <a:gd name="T23" fmla="*/ 31 h 119"/>
                <a:gd name="T24" fmla="*/ 108 w 118"/>
                <a:gd name="T25" fmla="*/ 24 h 119"/>
                <a:gd name="T26" fmla="*/ 94 w 118"/>
                <a:gd name="T27" fmla="*/ 11 h 119"/>
                <a:gd name="T28" fmla="*/ 88 w 118"/>
                <a:gd name="T29" fmla="*/ 17 h 119"/>
                <a:gd name="T30" fmla="*/ 68 w 118"/>
                <a:gd name="T31" fmla="*/ 9 h 119"/>
                <a:gd name="T32" fmla="*/ 68 w 118"/>
                <a:gd name="T33" fmla="*/ 0 h 119"/>
                <a:gd name="T34" fmla="*/ 59 w 118"/>
                <a:gd name="T35" fmla="*/ 0 h 119"/>
                <a:gd name="T36" fmla="*/ 59 w 118"/>
                <a:gd name="T37" fmla="*/ 22 h 119"/>
                <a:gd name="T38" fmla="*/ 97 w 118"/>
                <a:gd name="T39" fmla="*/ 60 h 119"/>
                <a:gd name="T40" fmla="*/ 59 w 118"/>
                <a:gd name="T41" fmla="*/ 97 h 119"/>
                <a:gd name="T42" fmla="*/ 59 w 118"/>
                <a:gd name="T43" fmla="*/ 119 h 119"/>
                <a:gd name="T44" fmla="*/ 17 w 118"/>
                <a:gd name="T45" fmla="*/ 89 h 119"/>
                <a:gd name="T46" fmla="*/ 11 w 118"/>
                <a:gd name="T47" fmla="*/ 95 h 119"/>
                <a:gd name="T48" fmla="*/ 24 w 118"/>
                <a:gd name="T49" fmla="*/ 108 h 119"/>
                <a:gd name="T50" fmla="*/ 30 w 118"/>
                <a:gd name="T51" fmla="*/ 102 h 119"/>
                <a:gd name="T52" fmla="*/ 50 w 118"/>
                <a:gd name="T53" fmla="*/ 110 h 119"/>
                <a:gd name="T54" fmla="*/ 50 w 118"/>
                <a:gd name="T55" fmla="*/ 119 h 119"/>
                <a:gd name="T56" fmla="*/ 59 w 118"/>
                <a:gd name="T57" fmla="*/ 119 h 119"/>
                <a:gd name="T58" fmla="*/ 59 w 118"/>
                <a:gd name="T59" fmla="*/ 97 h 119"/>
                <a:gd name="T60" fmla="*/ 59 w 118"/>
                <a:gd name="T61" fmla="*/ 97 h 119"/>
                <a:gd name="T62" fmla="*/ 21 w 118"/>
                <a:gd name="T63" fmla="*/ 60 h 119"/>
                <a:gd name="T64" fmla="*/ 59 w 118"/>
                <a:gd name="T65" fmla="*/ 22 h 119"/>
                <a:gd name="T66" fmla="*/ 59 w 118"/>
                <a:gd name="T67" fmla="*/ 22 h 119"/>
                <a:gd name="T68" fmla="*/ 59 w 118"/>
                <a:gd name="T69" fmla="*/ 22 h 119"/>
                <a:gd name="T70" fmla="*/ 59 w 118"/>
                <a:gd name="T71" fmla="*/ 0 h 119"/>
                <a:gd name="T72" fmla="*/ 50 w 118"/>
                <a:gd name="T73" fmla="*/ 0 h 119"/>
                <a:gd name="T74" fmla="*/ 50 w 118"/>
                <a:gd name="T75" fmla="*/ 9 h 119"/>
                <a:gd name="T76" fmla="*/ 30 w 118"/>
                <a:gd name="T77" fmla="*/ 17 h 119"/>
                <a:gd name="T78" fmla="*/ 24 w 118"/>
                <a:gd name="T79" fmla="*/ 11 h 119"/>
                <a:gd name="T80" fmla="*/ 11 w 118"/>
                <a:gd name="T81" fmla="*/ 24 h 119"/>
                <a:gd name="T82" fmla="*/ 17 w 118"/>
                <a:gd name="T83" fmla="*/ 31 h 119"/>
                <a:gd name="T84" fmla="*/ 9 w 118"/>
                <a:gd name="T85" fmla="*/ 50 h 119"/>
                <a:gd name="T86" fmla="*/ 0 w 118"/>
                <a:gd name="T87" fmla="*/ 50 h 119"/>
                <a:gd name="T88" fmla="*/ 0 w 118"/>
                <a:gd name="T89" fmla="*/ 69 h 119"/>
                <a:gd name="T90" fmla="*/ 9 w 118"/>
                <a:gd name="T91" fmla="*/ 69 h 119"/>
                <a:gd name="T92" fmla="*/ 17 w 118"/>
                <a:gd name="T93" fmla="*/ 8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8" h="119">
                  <a:moveTo>
                    <a:pt x="59" y="119"/>
                  </a:moveTo>
                  <a:cubicBezTo>
                    <a:pt x="68" y="119"/>
                    <a:pt x="68" y="119"/>
                    <a:pt x="68" y="119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6" y="109"/>
                    <a:pt x="82" y="106"/>
                    <a:pt x="88" y="102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5" y="83"/>
                    <a:pt x="108" y="76"/>
                    <a:pt x="109" y="69"/>
                  </a:cubicBezTo>
                  <a:cubicBezTo>
                    <a:pt x="118" y="69"/>
                    <a:pt x="118" y="69"/>
                    <a:pt x="118" y="69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8" y="43"/>
                    <a:pt x="105" y="36"/>
                    <a:pt x="101" y="31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2" y="13"/>
                    <a:pt x="76" y="11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80" y="22"/>
                    <a:pt x="97" y="39"/>
                    <a:pt x="97" y="60"/>
                  </a:cubicBezTo>
                  <a:cubicBezTo>
                    <a:pt x="97" y="81"/>
                    <a:pt x="80" y="97"/>
                    <a:pt x="59" y="97"/>
                  </a:cubicBezTo>
                  <a:lnTo>
                    <a:pt x="59" y="119"/>
                  </a:lnTo>
                  <a:close/>
                  <a:moveTo>
                    <a:pt x="17" y="89"/>
                  </a:moveTo>
                  <a:cubicBezTo>
                    <a:pt x="11" y="95"/>
                    <a:pt x="11" y="95"/>
                    <a:pt x="11" y="95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6" y="106"/>
                    <a:pt x="42" y="109"/>
                    <a:pt x="50" y="110"/>
                  </a:cubicBezTo>
                  <a:cubicBezTo>
                    <a:pt x="50" y="119"/>
                    <a:pt x="50" y="119"/>
                    <a:pt x="50" y="119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38" y="97"/>
                    <a:pt x="21" y="81"/>
                    <a:pt x="21" y="60"/>
                  </a:cubicBezTo>
                  <a:cubicBezTo>
                    <a:pt x="21" y="39"/>
                    <a:pt x="38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2" y="11"/>
                    <a:pt x="36" y="13"/>
                    <a:pt x="30" y="17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3" y="36"/>
                    <a:pt x="10" y="43"/>
                    <a:pt x="9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6"/>
                    <a:pt x="13" y="83"/>
                    <a:pt x="17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0" name="iṡļídé">
              <a:extLst>
                <a:ext uri="{FF2B5EF4-FFF2-40B4-BE49-F238E27FC236}">
                  <a16:creationId xmlns:a16="http://schemas.microsoft.com/office/drawing/2014/main" id="{679EDA98-BECB-4842-BD5E-1E72A4685702}"/>
                </a:ext>
              </a:extLst>
            </p:cNvPr>
            <p:cNvSpPr/>
            <p:nvPr/>
          </p:nvSpPr>
          <p:spPr bwMode="auto">
            <a:xfrm flipH="1">
              <a:off x="1380267" y="3262879"/>
              <a:ext cx="172328" cy="162476"/>
            </a:xfrm>
            <a:custGeom>
              <a:avLst/>
              <a:gdLst>
                <a:gd name="T0" fmla="*/ 74 w 80"/>
                <a:gd name="T1" fmla="*/ 33 h 80"/>
                <a:gd name="T2" fmla="*/ 80 w 80"/>
                <a:gd name="T3" fmla="*/ 31 h 80"/>
                <a:gd name="T4" fmla="*/ 74 w 80"/>
                <a:gd name="T5" fmla="*/ 17 h 80"/>
                <a:gd name="T6" fmla="*/ 68 w 80"/>
                <a:gd name="T7" fmla="*/ 20 h 80"/>
                <a:gd name="T8" fmla="*/ 60 w 80"/>
                <a:gd name="T9" fmla="*/ 11 h 80"/>
                <a:gd name="T10" fmla="*/ 62 w 80"/>
                <a:gd name="T11" fmla="*/ 5 h 80"/>
                <a:gd name="T12" fmla="*/ 48 w 80"/>
                <a:gd name="T13" fmla="*/ 0 h 80"/>
                <a:gd name="T14" fmla="*/ 46 w 80"/>
                <a:gd name="T15" fmla="*/ 5 h 80"/>
                <a:gd name="T16" fmla="*/ 40 w 80"/>
                <a:gd name="T17" fmla="*/ 5 h 80"/>
                <a:gd name="T18" fmla="*/ 40 w 80"/>
                <a:gd name="T19" fmla="*/ 16 h 80"/>
                <a:gd name="T20" fmla="*/ 62 w 80"/>
                <a:gd name="T21" fmla="*/ 31 h 80"/>
                <a:gd name="T22" fmla="*/ 49 w 80"/>
                <a:gd name="T23" fmla="*/ 61 h 80"/>
                <a:gd name="T24" fmla="*/ 49 w 80"/>
                <a:gd name="T25" fmla="*/ 61 h 80"/>
                <a:gd name="T26" fmla="*/ 40 w 80"/>
                <a:gd name="T27" fmla="*/ 63 h 80"/>
                <a:gd name="T28" fmla="*/ 40 w 80"/>
                <a:gd name="T29" fmla="*/ 63 h 80"/>
                <a:gd name="T30" fmla="*/ 40 w 80"/>
                <a:gd name="T31" fmla="*/ 75 h 80"/>
                <a:gd name="T32" fmla="*/ 46 w 80"/>
                <a:gd name="T33" fmla="*/ 74 h 80"/>
                <a:gd name="T34" fmla="*/ 49 w 80"/>
                <a:gd name="T35" fmla="*/ 80 h 80"/>
                <a:gd name="T36" fmla="*/ 63 w 80"/>
                <a:gd name="T37" fmla="*/ 74 h 80"/>
                <a:gd name="T38" fmla="*/ 60 w 80"/>
                <a:gd name="T39" fmla="*/ 68 h 80"/>
                <a:gd name="T40" fmla="*/ 69 w 80"/>
                <a:gd name="T41" fmla="*/ 60 h 80"/>
                <a:gd name="T42" fmla="*/ 74 w 80"/>
                <a:gd name="T43" fmla="*/ 62 h 80"/>
                <a:gd name="T44" fmla="*/ 80 w 80"/>
                <a:gd name="T45" fmla="*/ 48 h 80"/>
                <a:gd name="T46" fmla="*/ 74 w 80"/>
                <a:gd name="T47" fmla="*/ 46 h 80"/>
                <a:gd name="T48" fmla="*/ 74 w 80"/>
                <a:gd name="T49" fmla="*/ 33 h 80"/>
                <a:gd name="T50" fmla="*/ 40 w 80"/>
                <a:gd name="T51" fmla="*/ 5 h 80"/>
                <a:gd name="T52" fmla="*/ 33 w 80"/>
                <a:gd name="T53" fmla="*/ 5 h 80"/>
                <a:gd name="T54" fmla="*/ 31 w 80"/>
                <a:gd name="T55" fmla="*/ 0 h 80"/>
                <a:gd name="T56" fmla="*/ 17 w 80"/>
                <a:gd name="T57" fmla="*/ 6 h 80"/>
                <a:gd name="T58" fmla="*/ 20 w 80"/>
                <a:gd name="T59" fmla="*/ 11 h 80"/>
                <a:gd name="T60" fmla="*/ 11 w 80"/>
                <a:gd name="T61" fmla="*/ 20 h 80"/>
                <a:gd name="T62" fmla="*/ 5 w 80"/>
                <a:gd name="T63" fmla="*/ 18 h 80"/>
                <a:gd name="T64" fmla="*/ 0 w 80"/>
                <a:gd name="T65" fmla="*/ 32 h 80"/>
                <a:gd name="T66" fmla="*/ 5 w 80"/>
                <a:gd name="T67" fmla="*/ 34 h 80"/>
                <a:gd name="T68" fmla="*/ 6 w 80"/>
                <a:gd name="T69" fmla="*/ 46 h 80"/>
                <a:gd name="T70" fmla="*/ 0 w 80"/>
                <a:gd name="T71" fmla="*/ 49 h 80"/>
                <a:gd name="T72" fmla="*/ 6 w 80"/>
                <a:gd name="T73" fmla="*/ 62 h 80"/>
                <a:gd name="T74" fmla="*/ 11 w 80"/>
                <a:gd name="T75" fmla="*/ 60 h 80"/>
                <a:gd name="T76" fmla="*/ 20 w 80"/>
                <a:gd name="T77" fmla="*/ 69 h 80"/>
                <a:gd name="T78" fmla="*/ 18 w 80"/>
                <a:gd name="T79" fmla="*/ 74 h 80"/>
                <a:gd name="T80" fmla="*/ 32 w 80"/>
                <a:gd name="T81" fmla="*/ 80 h 80"/>
                <a:gd name="T82" fmla="*/ 34 w 80"/>
                <a:gd name="T83" fmla="*/ 74 h 80"/>
                <a:gd name="T84" fmla="*/ 40 w 80"/>
                <a:gd name="T85" fmla="*/ 75 h 80"/>
                <a:gd name="T86" fmla="*/ 40 w 80"/>
                <a:gd name="T87" fmla="*/ 63 h 80"/>
                <a:gd name="T88" fmla="*/ 18 w 80"/>
                <a:gd name="T89" fmla="*/ 49 h 80"/>
                <a:gd name="T90" fmla="*/ 31 w 80"/>
                <a:gd name="T91" fmla="*/ 18 h 80"/>
                <a:gd name="T92" fmla="*/ 40 w 80"/>
                <a:gd name="T93" fmla="*/ 16 h 80"/>
                <a:gd name="T94" fmla="*/ 40 w 80"/>
                <a:gd name="T95" fmla="*/ 16 h 80"/>
                <a:gd name="T96" fmla="*/ 40 w 80"/>
                <a:gd name="T97" fmla="*/ 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0">
                  <a:moveTo>
                    <a:pt x="74" y="33"/>
                  </a:moveTo>
                  <a:cubicBezTo>
                    <a:pt x="80" y="31"/>
                    <a:pt x="80" y="31"/>
                    <a:pt x="80" y="31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6" y="16"/>
                    <a:pt x="63" y="13"/>
                    <a:pt x="60" y="11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4" y="5"/>
                    <a:pt x="42" y="5"/>
                    <a:pt x="40" y="5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9" y="16"/>
                    <a:pt x="58" y="22"/>
                    <a:pt x="62" y="31"/>
                  </a:cubicBezTo>
                  <a:cubicBezTo>
                    <a:pt x="67" y="43"/>
                    <a:pt x="61" y="56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6" y="63"/>
                    <a:pt x="43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2" y="75"/>
                    <a:pt x="44" y="75"/>
                    <a:pt x="46" y="74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4" y="66"/>
                    <a:pt x="67" y="63"/>
                    <a:pt x="69" y="60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5" y="42"/>
                    <a:pt x="75" y="37"/>
                    <a:pt x="74" y="33"/>
                  </a:cubicBezTo>
                  <a:close/>
                  <a:moveTo>
                    <a:pt x="40" y="5"/>
                  </a:moveTo>
                  <a:cubicBezTo>
                    <a:pt x="38" y="5"/>
                    <a:pt x="36" y="5"/>
                    <a:pt x="33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6" y="14"/>
                    <a:pt x="13" y="17"/>
                    <a:pt x="11" y="20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8"/>
                    <a:pt x="5" y="42"/>
                    <a:pt x="6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4" y="63"/>
                    <a:pt x="17" y="66"/>
                    <a:pt x="20" y="69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6" y="75"/>
                    <a:pt x="38" y="75"/>
                    <a:pt x="40" y="75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1" y="63"/>
                    <a:pt x="22" y="58"/>
                    <a:pt x="18" y="49"/>
                  </a:cubicBezTo>
                  <a:cubicBezTo>
                    <a:pt x="13" y="37"/>
                    <a:pt x="19" y="23"/>
                    <a:pt x="31" y="18"/>
                  </a:cubicBezTo>
                  <a:cubicBezTo>
                    <a:pt x="34" y="17"/>
                    <a:pt x="37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lnTo>
                    <a:pt x="4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1" name="îṡ1iḑe">
              <a:extLst>
                <a:ext uri="{FF2B5EF4-FFF2-40B4-BE49-F238E27FC236}">
                  <a16:creationId xmlns:a16="http://schemas.microsoft.com/office/drawing/2014/main" id="{EBBCA3EE-6A2D-4A20-8B67-E3A19A6711D7}"/>
                </a:ext>
              </a:extLst>
            </p:cNvPr>
            <p:cNvSpPr/>
            <p:nvPr/>
          </p:nvSpPr>
          <p:spPr bwMode="auto">
            <a:xfrm flipH="1">
              <a:off x="2543698" y="4807685"/>
              <a:ext cx="47413" cy="29744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2" name="íṧlîḋe">
              <a:extLst>
                <a:ext uri="{FF2B5EF4-FFF2-40B4-BE49-F238E27FC236}">
                  <a16:creationId xmlns:a16="http://schemas.microsoft.com/office/drawing/2014/main" id="{82C5651D-17BD-4848-8CF9-CC0799EC0E55}"/>
                </a:ext>
              </a:extLst>
            </p:cNvPr>
            <p:cNvSpPr/>
            <p:nvPr/>
          </p:nvSpPr>
          <p:spPr bwMode="auto">
            <a:xfrm flipH="1">
              <a:off x="2612080" y="4971020"/>
              <a:ext cx="47413" cy="134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3" name="íṣḷîḑè">
              <a:extLst>
                <a:ext uri="{FF2B5EF4-FFF2-40B4-BE49-F238E27FC236}">
                  <a16:creationId xmlns:a16="http://schemas.microsoft.com/office/drawing/2014/main" id="{2451152B-DA21-411C-801F-5F0039E8022D}"/>
                </a:ext>
              </a:extLst>
            </p:cNvPr>
            <p:cNvSpPr/>
            <p:nvPr/>
          </p:nvSpPr>
          <p:spPr bwMode="auto">
            <a:xfrm flipH="1">
              <a:off x="2681376" y="4852387"/>
              <a:ext cx="47413" cy="25274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4" name="i$ļíḋé">
              <a:extLst>
                <a:ext uri="{FF2B5EF4-FFF2-40B4-BE49-F238E27FC236}">
                  <a16:creationId xmlns:a16="http://schemas.microsoft.com/office/drawing/2014/main" id="{06EE2D0C-65F5-450D-A08C-4E8281956314}"/>
                </a:ext>
              </a:extLst>
            </p:cNvPr>
            <p:cNvSpPr/>
            <p:nvPr/>
          </p:nvSpPr>
          <p:spPr bwMode="auto">
            <a:xfrm flipH="1">
              <a:off x="2750672" y="4932336"/>
              <a:ext cx="47413" cy="1727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5" name="îSḻîḍe">
              <a:extLst>
                <a:ext uri="{FF2B5EF4-FFF2-40B4-BE49-F238E27FC236}">
                  <a16:creationId xmlns:a16="http://schemas.microsoft.com/office/drawing/2014/main" id="{45DE0143-0A33-4E4F-8526-0E04A447130B}"/>
                </a:ext>
              </a:extLst>
            </p:cNvPr>
            <p:cNvSpPr/>
            <p:nvPr/>
          </p:nvSpPr>
          <p:spPr bwMode="auto">
            <a:xfrm flipH="1">
              <a:off x="2819967" y="4903107"/>
              <a:ext cx="47413" cy="2020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6" name="i$líḓe">
              <a:extLst>
                <a:ext uri="{FF2B5EF4-FFF2-40B4-BE49-F238E27FC236}">
                  <a16:creationId xmlns:a16="http://schemas.microsoft.com/office/drawing/2014/main" id="{AC7FEE03-7E2A-4948-97BF-CE66CCC8078F}"/>
                </a:ext>
              </a:extLst>
            </p:cNvPr>
            <p:cNvSpPr/>
            <p:nvPr/>
          </p:nvSpPr>
          <p:spPr bwMode="auto">
            <a:xfrm flipH="1">
              <a:off x="2543698" y="4773300"/>
              <a:ext cx="47413" cy="206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7" name="îŝḷiḋe">
              <a:extLst>
                <a:ext uri="{FF2B5EF4-FFF2-40B4-BE49-F238E27FC236}">
                  <a16:creationId xmlns:a16="http://schemas.microsoft.com/office/drawing/2014/main" id="{E664B438-7ADE-4EE8-8F1C-A310EAC593B2}"/>
                </a:ext>
              </a:extLst>
            </p:cNvPr>
            <p:cNvSpPr/>
            <p:nvPr/>
          </p:nvSpPr>
          <p:spPr bwMode="auto">
            <a:xfrm flipH="1">
              <a:off x="2681376" y="4819720"/>
              <a:ext cx="47413" cy="206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8" name="íṥliḋé">
              <a:extLst>
                <a:ext uri="{FF2B5EF4-FFF2-40B4-BE49-F238E27FC236}">
                  <a16:creationId xmlns:a16="http://schemas.microsoft.com/office/drawing/2014/main" id="{D761AC03-63F2-48C4-B32A-31E248418A87}"/>
                </a:ext>
              </a:extLst>
            </p:cNvPr>
            <p:cNvSpPr/>
            <p:nvPr/>
          </p:nvSpPr>
          <p:spPr bwMode="auto">
            <a:xfrm flipH="1">
              <a:off x="2750672" y="4899669"/>
              <a:ext cx="47413" cy="1977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9" name="íṩḷiḋê">
              <a:extLst>
                <a:ext uri="{FF2B5EF4-FFF2-40B4-BE49-F238E27FC236}">
                  <a16:creationId xmlns:a16="http://schemas.microsoft.com/office/drawing/2014/main" id="{D71A9A6D-4C82-4EBB-8EEB-E139AD688EF9}"/>
                </a:ext>
              </a:extLst>
            </p:cNvPr>
            <p:cNvSpPr/>
            <p:nvPr/>
          </p:nvSpPr>
          <p:spPr bwMode="auto">
            <a:xfrm flipH="1">
              <a:off x="2819967" y="4871300"/>
              <a:ext cx="47413" cy="1977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0" name="iṡ1îḑé">
              <a:extLst>
                <a:ext uri="{FF2B5EF4-FFF2-40B4-BE49-F238E27FC236}">
                  <a16:creationId xmlns:a16="http://schemas.microsoft.com/office/drawing/2014/main" id="{C76963C6-78AE-4D0D-B2D9-B73228AE1DB5}"/>
                </a:ext>
              </a:extLst>
            </p:cNvPr>
            <p:cNvSpPr/>
            <p:nvPr/>
          </p:nvSpPr>
          <p:spPr bwMode="auto">
            <a:xfrm flipH="1">
              <a:off x="2612080" y="4938353"/>
              <a:ext cx="47413" cy="1977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1" name="íṧľiḍe">
              <a:extLst>
                <a:ext uri="{FF2B5EF4-FFF2-40B4-BE49-F238E27FC236}">
                  <a16:creationId xmlns:a16="http://schemas.microsoft.com/office/drawing/2014/main" id="{F8E827F8-34F0-43BB-9A86-20E05FF19EAE}"/>
                </a:ext>
              </a:extLst>
            </p:cNvPr>
            <p:cNvSpPr/>
            <p:nvPr/>
          </p:nvSpPr>
          <p:spPr bwMode="auto">
            <a:xfrm flipH="1">
              <a:off x="3194707" y="2436747"/>
              <a:ext cx="321858" cy="179669"/>
            </a:xfrm>
            <a:custGeom>
              <a:avLst/>
              <a:gdLst>
                <a:gd name="T0" fmla="*/ 84 w 149"/>
                <a:gd name="T1" fmla="*/ 0 h 88"/>
                <a:gd name="T2" fmla="*/ 84 w 149"/>
                <a:gd name="T3" fmla="*/ 15 h 88"/>
                <a:gd name="T4" fmla="*/ 0 w 149"/>
                <a:gd name="T5" fmla="*/ 88 h 88"/>
                <a:gd name="T6" fmla="*/ 84 w 149"/>
                <a:gd name="T7" fmla="*/ 71 h 88"/>
                <a:gd name="T8" fmla="*/ 84 w 149"/>
                <a:gd name="T9" fmla="*/ 86 h 88"/>
                <a:gd name="T10" fmla="*/ 149 w 149"/>
                <a:gd name="T11" fmla="*/ 43 h 88"/>
                <a:gd name="T12" fmla="*/ 84 w 149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88">
                  <a:moveTo>
                    <a:pt x="84" y="0"/>
                  </a:moveTo>
                  <a:cubicBezTo>
                    <a:pt x="84" y="15"/>
                    <a:pt x="84" y="15"/>
                    <a:pt x="84" y="15"/>
                  </a:cubicBezTo>
                  <a:cubicBezTo>
                    <a:pt x="9" y="15"/>
                    <a:pt x="0" y="88"/>
                    <a:pt x="0" y="88"/>
                  </a:cubicBezTo>
                  <a:cubicBezTo>
                    <a:pt x="0" y="88"/>
                    <a:pt x="23" y="71"/>
                    <a:pt x="84" y="71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149" y="43"/>
                    <a:pt x="149" y="43"/>
                    <a:pt x="149" y="43"/>
                  </a:cubicBezTo>
                  <a:lnTo>
                    <a:pt x="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2" name="ïSḻîďê">
              <a:extLst>
                <a:ext uri="{FF2B5EF4-FFF2-40B4-BE49-F238E27FC236}">
                  <a16:creationId xmlns:a16="http://schemas.microsoft.com/office/drawing/2014/main" id="{706FE508-F5F9-4939-88F0-458646FCA9C8}"/>
                </a:ext>
              </a:extLst>
            </p:cNvPr>
            <p:cNvSpPr/>
            <p:nvPr/>
          </p:nvSpPr>
          <p:spPr bwMode="auto">
            <a:xfrm flipH="1">
              <a:off x="3229355" y="2595785"/>
              <a:ext cx="320035" cy="178809"/>
            </a:xfrm>
            <a:custGeom>
              <a:avLst/>
              <a:gdLst>
                <a:gd name="T0" fmla="*/ 65 w 148"/>
                <a:gd name="T1" fmla="*/ 88 h 88"/>
                <a:gd name="T2" fmla="*/ 65 w 148"/>
                <a:gd name="T3" fmla="*/ 73 h 88"/>
                <a:gd name="T4" fmla="*/ 148 w 148"/>
                <a:gd name="T5" fmla="*/ 0 h 88"/>
                <a:gd name="T6" fmla="*/ 65 w 148"/>
                <a:gd name="T7" fmla="*/ 17 h 88"/>
                <a:gd name="T8" fmla="*/ 65 w 148"/>
                <a:gd name="T9" fmla="*/ 2 h 88"/>
                <a:gd name="T10" fmla="*/ 0 w 148"/>
                <a:gd name="T11" fmla="*/ 45 h 88"/>
                <a:gd name="T12" fmla="*/ 65 w 148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8">
                  <a:moveTo>
                    <a:pt x="65" y="88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140" y="73"/>
                    <a:pt x="148" y="0"/>
                    <a:pt x="148" y="0"/>
                  </a:cubicBezTo>
                  <a:cubicBezTo>
                    <a:pt x="148" y="0"/>
                    <a:pt x="126" y="17"/>
                    <a:pt x="65" y="17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0" y="45"/>
                    <a:pt x="0" y="45"/>
                    <a:pt x="0" y="45"/>
                  </a:cubicBezTo>
                  <a:lnTo>
                    <a:pt x="65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3" name="îšḻîdê">
              <a:extLst>
                <a:ext uri="{FF2B5EF4-FFF2-40B4-BE49-F238E27FC236}">
                  <a16:creationId xmlns:a16="http://schemas.microsoft.com/office/drawing/2014/main" id="{777CA5E0-0453-4B50-8439-CFEF0F53675D}"/>
                </a:ext>
              </a:extLst>
            </p:cNvPr>
            <p:cNvSpPr/>
            <p:nvPr/>
          </p:nvSpPr>
          <p:spPr bwMode="auto">
            <a:xfrm flipH="1">
              <a:off x="1587241" y="2341326"/>
              <a:ext cx="403918" cy="378250"/>
            </a:xfrm>
            <a:custGeom>
              <a:avLst/>
              <a:gdLst>
                <a:gd name="T0" fmla="*/ 140 w 187"/>
                <a:gd name="T1" fmla="*/ 174 h 186"/>
                <a:gd name="T2" fmla="*/ 174 w 187"/>
                <a:gd name="T3" fmla="*/ 140 h 186"/>
                <a:gd name="T4" fmla="*/ 185 w 187"/>
                <a:gd name="T5" fmla="*/ 112 h 186"/>
                <a:gd name="T6" fmla="*/ 185 w 187"/>
                <a:gd name="T7" fmla="*/ 74 h 186"/>
                <a:gd name="T8" fmla="*/ 174 w 187"/>
                <a:gd name="T9" fmla="*/ 47 h 186"/>
                <a:gd name="T10" fmla="*/ 140 w 187"/>
                <a:gd name="T11" fmla="*/ 12 h 186"/>
                <a:gd name="T12" fmla="*/ 128 w 187"/>
                <a:gd name="T13" fmla="*/ 6 h 186"/>
                <a:gd name="T14" fmla="*/ 100 w 187"/>
                <a:gd name="T15" fmla="*/ 0 h 186"/>
                <a:gd name="T16" fmla="*/ 104 w 187"/>
                <a:gd name="T17" fmla="*/ 9 h 186"/>
                <a:gd name="T18" fmla="*/ 115 w 187"/>
                <a:gd name="T19" fmla="*/ 9 h 186"/>
                <a:gd name="T20" fmla="*/ 126 w 187"/>
                <a:gd name="T21" fmla="*/ 12 h 186"/>
                <a:gd name="T22" fmla="*/ 123 w 187"/>
                <a:gd name="T23" fmla="*/ 14 h 186"/>
                <a:gd name="T24" fmla="*/ 108 w 187"/>
                <a:gd name="T25" fmla="*/ 20 h 186"/>
                <a:gd name="T26" fmla="*/ 110 w 187"/>
                <a:gd name="T27" fmla="*/ 29 h 186"/>
                <a:gd name="T28" fmla="*/ 119 w 187"/>
                <a:gd name="T29" fmla="*/ 36 h 186"/>
                <a:gd name="T30" fmla="*/ 132 w 187"/>
                <a:gd name="T31" fmla="*/ 18 h 186"/>
                <a:gd name="T32" fmla="*/ 142 w 187"/>
                <a:gd name="T33" fmla="*/ 21 h 186"/>
                <a:gd name="T34" fmla="*/ 150 w 187"/>
                <a:gd name="T35" fmla="*/ 25 h 186"/>
                <a:gd name="T36" fmla="*/ 154 w 187"/>
                <a:gd name="T37" fmla="*/ 38 h 186"/>
                <a:gd name="T38" fmla="*/ 151 w 187"/>
                <a:gd name="T39" fmla="*/ 45 h 186"/>
                <a:gd name="T40" fmla="*/ 146 w 187"/>
                <a:gd name="T41" fmla="*/ 40 h 186"/>
                <a:gd name="T42" fmla="*/ 135 w 187"/>
                <a:gd name="T43" fmla="*/ 41 h 186"/>
                <a:gd name="T44" fmla="*/ 143 w 187"/>
                <a:gd name="T45" fmla="*/ 46 h 186"/>
                <a:gd name="T46" fmla="*/ 123 w 187"/>
                <a:gd name="T47" fmla="*/ 54 h 186"/>
                <a:gd name="T48" fmla="*/ 113 w 187"/>
                <a:gd name="T49" fmla="*/ 60 h 186"/>
                <a:gd name="T50" fmla="*/ 101 w 187"/>
                <a:gd name="T51" fmla="*/ 72 h 186"/>
                <a:gd name="T52" fmla="*/ 108 w 187"/>
                <a:gd name="T53" fmla="*/ 110 h 186"/>
                <a:gd name="T54" fmla="*/ 118 w 187"/>
                <a:gd name="T55" fmla="*/ 113 h 186"/>
                <a:gd name="T56" fmla="*/ 129 w 187"/>
                <a:gd name="T57" fmla="*/ 116 h 186"/>
                <a:gd name="T58" fmla="*/ 146 w 187"/>
                <a:gd name="T59" fmla="*/ 126 h 186"/>
                <a:gd name="T60" fmla="*/ 155 w 187"/>
                <a:gd name="T61" fmla="*/ 135 h 186"/>
                <a:gd name="T62" fmla="*/ 169 w 187"/>
                <a:gd name="T63" fmla="*/ 139 h 186"/>
                <a:gd name="T64" fmla="*/ 107 w 187"/>
                <a:gd name="T65" fmla="*/ 163 h 186"/>
                <a:gd name="T66" fmla="*/ 1 w 187"/>
                <a:gd name="T67" fmla="*/ 79 h 186"/>
                <a:gd name="T68" fmla="*/ 3 w 187"/>
                <a:gd name="T69" fmla="*/ 116 h 186"/>
                <a:gd name="T70" fmla="*/ 20 w 187"/>
                <a:gd name="T71" fmla="*/ 151 h 186"/>
                <a:gd name="T72" fmla="*/ 59 w 187"/>
                <a:gd name="T73" fmla="*/ 180 h 186"/>
                <a:gd name="T74" fmla="*/ 95 w 187"/>
                <a:gd name="T75" fmla="*/ 148 h 186"/>
                <a:gd name="T76" fmla="*/ 92 w 187"/>
                <a:gd name="T77" fmla="*/ 133 h 186"/>
                <a:gd name="T78" fmla="*/ 97 w 187"/>
                <a:gd name="T79" fmla="*/ 119 h 186"/>
                <a:gd name="T80" fmla="*/ 85 w 187"/>
                <a:gd name="T81" fmla="*/ 115 h 186"/>
                <a:gd name="T82" fmla="*/ 73 w 187"/>
                <a:gd name="T83" fmla="*/ 107 h 186"/>
                <a:gd name="T84" fmla="*/ 54 w 187"/>
                <a:gd name="T85" fmla="*/ 99 h 186"/>
                <a:gd name="T86" fmla="*/ 45 w 187"/>
                <a:gd name="T87" fmla="*/ 83 h 186"/>
                <a:gd name="T88" fmla="*/ 41 w 187"/>
                <a:gd name="T89" fmla="*/ 81 h 186"/>
                <a:gd name="T90" fmla="*/ 40 w 187"/>
                <a:gd name="T91" fmla="*/ 84 h 186"/>
                <a:gd name="T92" fmla="*/ 34 w 187"/>
                <a:gd name="T93" fmla="*/ 69 h 186"/>
                <a:gd name="T94" fmla="*/ 34 w 187"/>
                <a:gd name="T95" fmla="*/ 53 h 186"/>
                <a:gd name="T96" fmla="*/ 41 w 187"/>
                <a:gd name="T97" fmla="*/ 36 h 186"/>
                <a:gd name="T98" fmla="*/ 40 w 187"/>
                <a:gd name="T99" fmla="*/ 26 h 186"/>
                <a:gd name="T100" fmla="*/ 84 w 187"/>
                <a:gd name="T101" fmla="*/ 7 h 186"/>
                <a:gd name="T102" fmla="*/ 100 w 187"/>
                <a:gd name="T103" fmla="*/ 0 h 186"/>
                <a:gd name="T104" fmla="*/ 58 w 187"/>
                <a:gd name="T105" fmla="*/ 7 h 186"/>
                <a:gd name="T106" fmla="*/ 27 w 187"/>
                <a:gd name="T107" fmla="*/ 27 h 186"/>
                <a:gd name="T108" fmla="*/ 6 w 187"/>
                <a:gd name="T109" fmla="*/ 59 h 186"/>
                <a:gd name="T110" fmla="*/ 99 w 187"/>
                <a:gd name="T111" fmla="*/ 117 h 186"/>
                <a:gd name="T112" fmla="*/ 86 w 187"/>
                <a:gd name="T113" fmla="*/ 103 h 186"/>
                <a:gd name="T114" fmla="*/ 83 w 187"/>
                <a:gd name="T115" fmla="*/ 94 h 186"/>
                <a:gd name="T116" fmla="*/ 67 w 187"/>
                <a:gd name="T117" fmla="*/ 97 h 186"/>
                <a:gd name="T118" fmla="*/ 75 w 187"/>
                <a:gd name="T119" fmla="*/ 77 h 186"/>
                <a:gd name="T120" fmla="*/ 92 w 187"/>
                <a:gd name="T121" fmla="*/ 77 h 186"/>
                <a:gd name="T122" fmla="*/ 97 w 187"/>
                <a:gd name="T123" fmla="*/ 7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7" h="186">
                  <a:moveTo>
                    <a:pt x="100" y="186"/>
                  </a:moveTo>
                  <a:cubicBezTo>
                    <a:pt x="105" y="186"/>
                    <a:pt x="109" y="185"/>
                    <a:pt x="114" y="184"/>
                  </a:cubicBezTo>
                  <a:cubicBezTo>
                    <a:pt x="117" y="183"/>
                    <a:pt x="120" y="183"/>
                    <a:pt x="123" y="182"/>
                  </a:cubicBezTo>
                  <a:cubicBezTo>
                    <a:pt x="125" y="181"/>
                    <a:pt x="126" y="181"/>
                    <a:pt x="128" y="180"/>
                  </a:cubicBezTo>
                  <a:cubicBezTo>
                    <a:pt x="130" y="179"/>
                    <a:pt x="133" y="178"/>
                    <a:pt x="136" y="176"/>
                  </a:cubicBezTo>
                  <a:cubicBezTo>
                    <a:pt x="137" y="176"/>
                    <a:pt x="139" y="175"/>
                    <a:pt x="140" y="174"/>
                  </a:cubicBezTo>
                  <a:cubicBezTo>
                    <a:pt x="146" y="171"/>
                    <a:pt x="151" y="167"/>
                    <a:pt x="156" y="162"/>
                  </a:cubicBezTo>
                  <a:cubicBezTo>
                    <a:pt x="157" y="161"/>
                    <a:pt x="158" y="160"/>
                    <a:pt x="159" y="159"/>
                  </a:cubicBezTo>
                  <a:cubicBezTo>
                    <a:pt x="160" y="158"/>
                    <a:pt x="161" y="157"/>
                    <a:pt x="162" y="156"/>
                  </a:cubicBezTo>
                  <a:cubicBezTo>
                    <a:pt x="164" y="154"/>
                    <a:pt x="165" y="152"/>
                    <a:pt x="167" y="151"/>
                  </a:cubicBezTo>
                  <a:cubicBezTo>
                    <a:pt x="169" y="148"/>
                    <a:pt x="171" y="145"/>
                    <a:pt x="173" y="142"/>
                  </a:cubicBezTo>
                  <a:cubicBezTo>
                    <a:pt x="173" y="141"/>
                    <a:pt x="174" y="140"/>
                    <a:pt x="174" y="140"/>
                  </a:cubicBezTo>
                  <a:cubicBezTo>
                    <a:pt x="175" y="138"/>
                    <a:pt x="176" y="137"/>
                    <a:pt x="177" y="136"/>
                  </a:cubicBezTo>
                  <a:cubicBezTo>
                    <a:pt x="177" y="135"/>
                    <a:pt x="177" y="134"/>
                    <a:pt x="178" y="134"/>
                  </a:cubicBezTo>
                  <a:cubicBezTo>
                    <a:pt x="178" y="132"/>
                    <a:pt x="179" y="131"/>
                    <a:pt x="179" y="129"/>
                  </a:cubicBezTo>
                  <a:cubicBezTo>
                    <a:pt x="180" y="128"/>
                    <a:pt x="181" y="127"/>
                    <a:pt x="181" y="125"/>
                  </a:cubicBezTo>
                  <a:cubicBezTo>
                    <a:pt x="182" y="122"/>
                    <a:pt x="183" y="119"/>
                    <a:pt x="184" y="116"/>
                  </a:cubicBezTo>
                  <a:cubicBezTo>
                    <a:pt x="184" y="115"/>
                    <a:pt x="185" y="113"/>
                    <a:pt x="185" y="112"/>
                  </a:cubicBezTo>
                  <a:cubicBezTo>
                    <a:pt x="185" y="110"/>
                    <a:pt x="185" y="109"/>
                    <a:pt x="186" y="107"/>
                  </a:cubicBezTo>
                  <a:cubicBezTo>
                    <a:pt x="186" y="106"/>
                    <a:pt x="186" y="104"/>
                    <a:pt x="186" y="103"/>
                  </a:cubicBezTo>
                  <a:cubicBezTo>
                    <a:pt x="187" y="99"/>
                    <a:pt x="187" y="96"/>
                    <a:pt x="187" y="93"/>
                  </a:cubicBezTo>
                  <a:cubicBezTo>
                    <a:pt x="187" y="90"/>
                    <a:pt x="187" y="87"/>
                    <a:pt x="186" y="83"/>
                  </a:cubicBezTo>
                  <a:cubicBezTo>
                    <a:pt x="186" y="82"/>
                    <a:pt x="186" y="80"/>
                    <a:pt x="186" y="79"/>
                  </a:cubicBezTo>
                  <a:cubicBezTo>
                    <a:pt x="185" y="77"/>
                    <a:pt x="185" y="76"/>
                    <a:pt x="185" y="74"/>
                  </a:cubicBezTo>
                  <a:cubicBezTo>
                    <a:pt x="185" y="73"/>
                    <a:pt x="184" y="71"/>
                    <a:pt x="184" y="70"/>
                  </a:cubicBezTo>
                  <a:cubicBezTo>
                    <a:pt x="183" y="67"/>
                    <a:pt x="182" y="64"/>
                    <a:pt x="181" y="61"/>
                  </a:cubicBezTo>
                  <a:cubicBezTo>
                    <a:pt x="181" y="60"/>
                    <a:pt x="181" y="60"/>
                    <a:pt x="180" y="59"/>
                  </a:cubicBezTo>
                  <a:cubicBezTo>
                    <a:pt x="179" y="57"/>
                    <a:pt x="179" y="55"/>
                    <a:pt x="178" y="53"/>
                  </a:cubicBezTo>
                  <a:cubicBezTo>
                    <a:pt x="177" y="52"/>
                    <a:pt x="177" y="51"/>
                    <a:pt x="177" y="51"/>
                  </a:cubicBezTo>
                  <a:cubicBezTo>
                    <a:pt x="176" y="49"/>
                    <a:pt x="175" y="48"/>
                    <a:pt x="174" y="47"/>
                  </a:cubicBezTo>
                  <a:cubicBezTo>
                    <a:pt x="172" y="43"/>
                    <a:pt x="170" y="39"/>
                    <a:pt x="167" y="35"/>
                  </a:cubicBezTo>
                  <a:cubicBezTo>
                    <a:pt x="165" y="34"/>
                    <a:pt x="164" y="32"/>
                    <a:pt x="162" y="30"/>
                  </a:cubicBezTo>
                  <a:cubicBezTo>
                    <a:pt x="161" y="29"/>
                    <a:pt x="160" y="28"/>
                    <a:pt x="159" y="27"/>
                  </a:cubicBezTo>
                  <a:cubicBezTo>
                    <a:pt x="158" y="26"/>
                    <a:pt x="157" y="25"/>
                    <a:pt x="156" y="24"/>
                  </a:cubicBezTo>
                  <a:cubicBezTo>
                    <a:pt x="154" y="22"/>
                    <a:pt x="152" y="20"/>
                    <a:pt x="149" y="18"/>
                  </a:cubicBezTo>
                  <a:cubicBezTo>
                    <a:pt x="146" y="16"/>
                    <a:pt x="143" y="14"/>
                    <a:pt x="140" y="12"/>
                  </a:cubicBezTo>
                  <a:cubicBezTo>
                    <a:pt x="139" y="11"/>
                    <a:pt x="137" y="11"/>
                    <a:pt x="136" y="10"/>
                  </a:cubicBezTo>
                  <a:cubicBezTo>
                    <a:pt x="135" y="10"/>
                    <a:pt x="135" y="9"/>
                    <a:pt x="134" y="9"/>
                  </a:cubicBezTo>
                  <a:cubicBezTo>
                    <a:pt x="133" y="9"/>
                    <a:pt x="133" y="8"/>
                    <a:pt x="132" y="8"/>
                  </a:cubicBezTo>
                  <a:cubicBezTo>
                    <a:pt x="131" y="8"/>
                    <a:pt x="131" y="8"/>
                    <a:pt x="131" y="7"/>
                  </a:cubicBezTo>
                  <a:cubicBezTo>
                    <a:pt x="130" y="7"/>
                    <a:pt x="129" y="7"/>
                    <a:pt x="128" y="6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6" y="6"/>
                    <a:pt x="125" y="5"/>
                    <a:pt x="124" y="5"/>
                  </a:cubicBezTo>
                  <a:cubicBezTo>
                    <a:pt x="124" y="5"/>
                    <a:pt x="124" y="5"/>
                    <a:pt x="123" y="5"/>
                  </a:cubicBezTo>
                  <a:cubicBezTo>
                    <a:pt x="121" y="4"/>
                    <a:pt x="118" y="3"/>
                    <a:pt x="115" y="2"/>
                  </a:cubicBezTo>
                  <a:cubicBezTo>
                    <a:pt x="114" y="2"/>
                    <a:pt x="113" y="2"/>
                    <a:pt x="112" y="2"/>
                  </a:cubicBezTo>
                  <a:cubicBezTo>
                    <a:pt x="111" y="1"/>
                    <a:pt x="111" y="1"/>
                    <a:pt x="110" y="1"/>
                  </a:cubicBezTo>
                  <a:cubicBezTo>
                    <a:pt x="107" y="1"/>
                    <a:pt x="103" y="0"/>
                    <a:pt x="100" y="0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4" y="5"/>
                    <a:pt x="107" y="6"/>
                    <a:pt x="111" y="6"/>
                  </a:cubicBezTo>
                  <a:cubicBezTo>
                    <a:pt x="111" y="7"/>
                    <a:pt x="110" y="7"/>
                    <a:pt x="109" y="7"/>
                  </a:cubicBezTo>
                  <a:cubicBezTo>
                    <a:pt x="109" y="7"/>
                    <a:pt x="108" y="8"/>
                    <a:pt x="108" y="8"/>
                  </a:cubicBezTo>
                  <a:cubicBezTo>
                    <a:pt x="106" y="8"/>
                    <a:pt x="104" y="8"/>
                    <a:pt x="103" y="8"/>
                  </a:cubicBezTo>
                  <a:cubicBezTo>
                    <a:pt x="103" y="8"/>
                    <a:pt x="104" y="9"/>
                    <a:pt x="104" y="9"/>
                  </a:cubicBezTo>
                  <a:cubicBezTo>
                    <a:pt x="106" y="10"/>
                    <a:pt x="107" y="10"/>
                    <a:pt x="109" y="10"/>
                  </a:cubicBezTo>
                  <a:cubicBezTo>
                    <a:pt x="110" y="10"/>
                    <a:pt x="111" y="10"/>
                    <a:pt x="112" y="9"/>
                  </a:cubicBezTo>
                  <a:cubicBezTo>
                    <a:pt x="112" y="9"/>
                    <a:pt x="112" y="8"/>
                    <a:pt x="113" y="8"/>
                  </a:cubicBezTo>
                  <a:cubicBezTo>
                    <a:pt x="113" y="7"/>
                    <a:pt x="113" y="7"/>
                    <a:pt x="114" y="7"/>
                  </a:cubicBezTo>
                  <a:cubicBezTo>
                    <a:pt x="115" y="7"/>
                    <a:pt x="116" y="7"/>
                    <a:pt x="117" y="8"/>
                  </a:cubicBezTo>
                  <a:cubicBezTo>
                    <a:pt x="116" y="8"/>
                    <a:pt x="115" y="8"/>
                    <a:pt x="115" y="9"/>
                  </a:cubicBezTo>
                  <a:cubicBezTo>
                    <a:pt x="116" y="10"/>
                    <a:pt x="118" y="9"/>
                    <a:pt x="118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20" y="9"/>
                    <a:pt x="122" y="9"/>
                    <a:pt x="123" y="10"/>
                  </a:cubicBezTo>
                  <a:cubicBezTo>
                    <a:pt x="125" y="11"/>
                    <a:pt x="127" y="11"/>
                    <a:pt x="129" y="12"/>
                  </a:cubicBezTo>
                  <a:cubicBezTo>
                    <a:pt x="129" y="12"/>
                    <a:pt x="128" y="13"/>
                    <a:pt x="128" y="13"/>
                  </a:cubicBezTo>
                  <a:cubicBezTo>
                    <a:pt x="127" y="13"/>
                    <a:pt x="127" y="12"/>
                    <a:pt x="126" y="12"/>
                  </a:cubicBezTo>
                  <a:cubicBezTo>
                    <a:pt x="126" y="13"/>
                    <a:pt x="127" y="13"/>
                    <a:pt x="128" y="14"/>
                  </a:cubicBezTo>
                  <a:cubicBezTo>
                    <a:pt x="129" y="15"/>
                    <a:pt x="129" y="15"/>
                    <a:pt x="130" y="16"/>
                  </a:cubicBezTo>
                  <a:cubicBezTo>
                    <a:pt x="129" y="18"/>
                    <a:pt x="128" y="16"/>
                    <a:pt x="126" y="16"/>
                  </a:cubicBezTo>
                  <a:cubicBezTo>
                    <a:pt x="125" y="16"/>
                    <a:pt x="123" y="19"/>
                    <a:pt x="122" y="16"/>
                  </a:cubicBezTo>
                  <a:cubicBezTo>
                    <a:pt x="122" y="15"/>
                    <a:pt x="123" y="15"/>
                    <a:pt x="124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2" y="14"/>
                    <a:pt x="122" y="15"/>
                    <a:pt x="121" y="15"/>
                  </a:cubicBezTo>
                  <a:cubicBezTo>
                    <a:pt x="121" y="15"/>
                    <a:pt x="120" y="16"/>
                    <a:pt x="119" y="16"/>
                  </a:cubicBezTo>
                  <a:cubicBezTo>
                    <a:pt x="119" y="16"/>
                    <a:pt x="118" y="16"/>
                    <a:pt x="117" y="16"/>
                  </a:cubicBezTo>
                  <a:cubicBezTo>
                    <a:pt x="116" y="16"/>
                    <a:pt x="115" y="17"/>
                    <a:pt x="114" y="18"/>
                  </a:cubicBezTo>
                  <a:cubicBezTo>
                    <a:pt x="113" y="18"/>
                    <a:pt x="113" y="18"/>
                    <a:pt x="112" y="18"/>
                  </a:cubicBezTo>
                  <a:cubicBezTo>
                    <a:pt x="111" y="18"/>
                    <a:pt x="110" y="19"/>
                    <a:pt x="108" y="20"/>
                  </a:cubicBezTo>
                  <a:cubicBezTo>
                    <a:pt x="107" y="20"/>
                    <a:pt x="106" y="21"/>
                    <a:pt x="105" y="22"/>
                  </a:cubicBezTo>
                  <a:cubicBezTo>
                    <a:pt x="104" y="22"/>
                    <a:pt x="103" y="24"/>
                    <a:pt x="103" y="24"/>
                  </a:cubicBezTo>
                  <a:cubicBezTo>
                    <a:pt x="103" y="25"/>
                    <a:pt x="105" y="25"/>
                    <a:pt x="105" y="25"/>
                  </a:cubicBezTo>
                  <a:cubicBezTo>
                    <a:pt x="105" y="26"/>
                    <a:pt x="104" y="27"/>
                    <a:pt x="104" y="27"/>
                  </a:cubicBezTo>
                  <a:cubicBezTo>
                    <a:pt x="105" y="28"/>
                    <a:pt x="106" y="27"/>
                    <a:pt x="107" y="27"/>
                  </a:cubicBezTo>
                  <a:cubicBezTo>
                    <a:pt x="108" y="27"/>
                    <a:pt x="109" y="29"/>
                    <a:pt x="110" y="29"/>
                  </a:cubicBezTo>
                  <a:cubicBezTo>
                    <a:pt x="111" y="30"/>
                    <a:pt x="112" y="30"/>
                    <a:pt x="113" y="31"/>
                  </a:cubicBezTo>
                  <a:cubicBezTo>
                    <a:pt x="115" y="31"/>
                    <a:pt x="116" y="30"/>
                    <a:pt x="117" y="31"/>
                  </a:cubicBezTo>
                  <a:cubicBezTo>
                    <a:pt x="117" y="32"/>
                    <a:pt x="115" y="33"/>
                    <a:pt x="115" y="33"/>
                  </a:cubicBezTo>
                  <a:cubicBezTo>
                    <a:pt x="116" y="34"/>
                    <a:pt x="115" y="35"/>
                    <a:pt x="115" y="36"/>
                  </a:cubicBezTo>
                  <a:cubicBezTo>
                    <a:pt x="115" y="36"/>
                    <a:pt x="115" y="37"/>
                    <a:pt x="116" y="38"/>
                  </a:cubicBezTo>
                  <a:cubicBezTo>
                    <a:pt x="117" y="38"/>
                    <a:pt x="119" y="37"/>
                    <a:pt x="119" y="36"/>
                  </a:cubicBezTo>
                  <a:cubicBezTo>
                    <a:pt x="120" y="34"/>
                    <a:pt x="119" y="33"/>
                    <a:pt x="120" y="32"/>
                  </a:cubicBezTo>
                  <a:cubicBezTo>
                    <a:pt x="125" y="32"/>
                    <a:pt x="129" y="30"/>
                    <a:pt x="129" y="25"/>
                  </a:cubicBezTo>
                  <a:cubicBezTo>
                    <a:pt x="129" y="24"/>
                    <a:pt x="128" y="24"/>
                    <a:pt x="128" y="23"/>
                  </a:cubicBezTo>
                  <a:cubicBezTo>
                    <a:pt x="129" y="23"/>
                    <a:pt x="130" y="22"/>
                    <a:pt x="130" y="21"/>
                  </a:cubicBezTo>
                  <a:cubicBezTo>
                    <a:pt x="130" y="21"/>
                    <a:pt x="131" y="20"/>
                    <a:pt x="131" y="20"/>
                  </a:cubicBezTo>
                  <a:cubicBezTo>
                    <a:pt x="131" y="19"/>
                    <a:pt x="132" y="18"/>
                    <a:pt x="132" y="18"/>
                  </a:cubicBezTo>
                  <a:cubicBezTo>
                    <a:pt x="132" y="18"/>
                    <a:pt x="132" y="18"/>
                    <a:pt x="132" y="18"/>
                  </a:cubicBezTo>
                  <a:cubicBezTo>
                    <a:pt x="133" y="18"/>
                    <a:pt x="133" y="18"/>
                    <a:pt x="134" y="18"/>
                  </a:cubicBezTo>
                  <a:cubicBezTo>
                    <a:pt x="134" y="18"/>
                    <a:pt x="135" y="19"/>
                    <a:pt x="136" y="19"/>
                  </a:cubicBezTo>
                  <a:cubicBezTo>
                    <a:pt x="137" y="19"/>
                    <a:pt x="137" y="18"/>
                    <a:pt x="138" y="18"/>
                  </a:cubicBezTo>
                  <a:cubicBezTo>
                    <a:pt x="139" y="19"/>
                    <a:pt x="139" y="20"/>
                    <a:pt x="140" y="20"/>
                  </a:cubicBezTo>
                  <a:cubicBezTo>
                    <a:pt x="141" y="21"/>
                    <a:pt x="142" y="21"/>
                    <a:pt x="142" y="21"/>
                  </a:cubicBezTo>
                  <a:cubicBezTo>
                    <a:pt x="142" y="22"/>
                    <a:pt x="141" y="22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4"/>
                    <a:pt x="142" y="25"/>
                    <a:pt x="142" y="25"/>
                  </a:cubicBezTo>
                  <a:cubicBezTo>
                    <a:pt x="143" y="25"/>
                    <a:pt x="144" y="25"/>
                    <a:pt x="145" y="25"/>
                  </a:cubicBezTo>
                  <a:cubicBezTo>
                    <a:pt x="146" y="24"/>
                    <a:pt x="146" y="23"/>
                    <a:pt x="147" y="23"/>
                  </a:cubicBezTo>
                  <a:cubicBezTo>
                    <a:pt x="148" y="24"/>
                    <a:pt x="149" y="24"/>
                    <a:pt x="150" y="25"/>
                  </a:cubicBezTo>
                  <a:cubicBezTo>
                    <a:pt x="150" y="26"/>
                    <a:pt x="150" y="26"/>
                    <a:pt x="150" y="26"/>
                  </a:cubicBezTo>
                  <a:cubicBezTo>
                    <a:pt x="150" y="27"/>
                    <a:pt x="150" y="28"/>
                    <a:pt x="150" y="29"/>
                  </a:cubicBezTo>
                  <a:cubicBezTo>
                    <a:pt x="150" y="31"/>
                    <a:pt x="152" y="31"/>
                    <a:pt x="153" y="32"/>
                  </a:cubicBezTo>
                  <a:cubicBezTo>
                    <a:pt x="154" y="32"/>
                    <a:pt x="154" y="33"/>
                    <a:pt x="154" y="33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6"/>
                    <a:pt x="154" y="36"/>
                    <a:pt x="154" y="38"/>
                  </a:cubicBezTo>
                  <a:cubicBezTo>
                    <a:pt x="154" y="39"/>
                    <a:pt x="153" y="39"/>
                    <a:pt x="153" y="40"/>
                  </a:cubicBezTo>
                  <a:cubicBezTo>
                    <a:pt x="153" y="41"/>
                    <a:pt x="155" y="40"/>
                    <a:pt x="156" y="41"/>
                  </a:cubicBezTo>
                  <a:cubicBezTo>
                    <a:pt x="156" y="42"/>
                    <a:pt x="156" y="43"/>
                    <a:pt x="155" y="44"/>
                  </a:cubicBezTo>
                  <a:cubicBezTo>
                    <a:pt x="156" y="44"/>
                    <a:pt x="156" y="46"/>
                    <a:pt x="155" y="46"/>
                  </a:cubicBezTo>
                  <a:cubicBezTo>
                    <a:pt x="154" y="46"/>
                    <a:pt x="154" y="45"/>
                    <a:pt x="153" y="45"/>
                  </a:cubicBezTo>
                  <a:cubicBezTo>
                    <a:pt x="152" y="45"/>
                    <a:pt x="152" y="45"/>
                    <a:pt x="151" y="45"/>
                  </a:cubicBezTo>
                  <a:cubicBezTo>
                    <a:pt x="151" y="45"/>
                    <a:pt x="150" y="44"/>
                    <a:pt x="150" y="44"/>
                  </a:cubicBezTo>
                  <a:cubicBezTo>
                    <a:pt x="148" y="44"/>
                    <a:pt x="147" y="45"/>
                    <a:pt x="146" y="44"/>
                  </a:cubicBezTo>
                  <a:cubicBezTo>
                    <a:pt x="147" y="42"/>
                    <a:pt x="149" y="41"/>
                    <a:pt x="151" y="39"/>
                  </a:cubicBezTo>
                  <a:cubicBezTo>
                    <a:pt x="151" y="39"/>
                    <a:pt x="152" y="39"/>
                    <a:pt x="152" y="38"/>
                  </a:cubicBezTo>
                  <a:cubicBezTo>
                    <a:pt x="151" y="37"/>
                    <a:pt x="150" y="38"/>
                    <a:pt x="149" y="38"/>
                  </a:cubicBezTo>
                  <a:cubicBezTo>
                    <a:pt x="148" y="39"/>
                    <a:pt x="147" y="39"/>
                    <a:pt x="146" y="40"/>
                  </a:cubicBezTo>
                  <a:cubicBezTo>
                    <a:pt x="145" y="40"/>
                    <a:pt x="142" y="39"/>
                    <a:pt x="141" y="40"/>
                  </a:cubicBezTo>
                  <a:cubicBezTo>
                    <a:pt x="141" y="41"/>
                    <a:pt x="143" y="40"/>
                    <a:pt x="142" y="42"/>
                  </a:cubicBezTo>
                  <a:cubicBezTo>
                    <a:pt x="142" y="42"/>
                    <a:pt x="141" y="42"/>
                    <a:pt x="141" y="41"/>
                  </a:cubicBezTo>
                  <a:cubicBezTo>
                    <a:pt x="140" y="41"/>
                    <a:pt x="140" y="40"/>
                    <a:pt x="140" y="40"/>
                  </a:cubicBezTo>
                  <a:cubicBezTo>
                    <a:pt x="140" y="40"/>
                    <a:pt x="138" y="39"/>
                    <a:pt x="137" y="40"/>
                  </a:cubicBezTo>
                  <a:cubicBezTo>
                    <a:pt x="136" y="40"/>
                    <a:pt x="135" y="40"/>
                    <a:pt x="135" y="41"/>
                  </a:cubicBezTo>
                  <a:cubicBezTo>
                    <a:pt x="136" y="42"/>
                    <a:pt x="138" y="41"/>
                    <a:pt x="138" y="42"/>
                  </a:cubicBezTo>
                  <a:cubicBezTo>
                    <a:pt x="138" y="43"/>
                    <a:pt x="136" y="44"/>
                    <a:pt x="136" y="46"/>
                  </a:cubicBezTo>
                  <a:cubicBezTo>
                    <a:pt x="136" y="46"/>
                    <a:pt x="137" y="47"/>
                    <a:pt x="138" y="47"/>
                  </a:cubicBezTo>
                  <a:cubicBezTo>
                    <a:pt x="138" y="48"/>
                    <a:pt x="139" y="47"/>
                    <a:pt x="139" y="47"/>
                  </a:cubicBezTo>
                  <a:cubicBezTo>
                    <a:pt x="140" y="47"/>
                    <a:pt x="140" y="48"/>
                    <a:pt x="140" y="48"/>
                  </a:cubicBezTo>
                  <a:cubicBezTo>
                    <a:pt x="141" y="47"/>
                    <a:pt x="142" y="46"/>
                    <a:pt x="143" y="46"/>
                  </a:cubicBezTo>
                  <a:cubicBezTo>
                    <a:pt x="144" y="48"/>
                    <a:pt x="142" y="48"/>
                    <a:pt x="140" y="49"/>
                  </a:cubicBezTo>
                  <a:cubicBezTo>
                    <a:pt x="139" y="49"/>
                    <a:pt x="137" y="50"/>
                    <a:pt x="135" y="50"/>
                  </a:cubicBezTo>
                  <a:cubicBezTo>
                    <a:pt x="135" y="51"/>
                    <a:pt x="132" y="53"/>
                    <a:pt x="132" y="51"/>
                  </a:cubicBezTo>
                  <a:cubicBezTo>
                    <a:pt x="132" y="50"/>
                    <a:pt x="133" y="50"/>
                    <a:pt x="133" y="49"/>
                  </a:cubicBezTo>
                  <a:cubicBezTo>
                    <a:pt x="132" y="49"/>
                    <a:pt x="130" y="50"/>
                    <a:pt x="129" y="50"/>
                  </a:cubicBezTo>
                  <a:cubicBezTo>
                    <a:pt x="127" y="51"/>
                    <a:pt x="124" y="51"/>
                    <a:pt x="123" y="54"/>
                  </a:cubicBezTo>
                  <a:cubicBezTo>
                    <a:pt x="123" y="54"/>
                    <a:pt x="123" y="55"/>
                    <a:pt x="123" y="55"/>
                  </a:cubicBezTo>
                  <a:cubicBezTo>
                    <a:pt x="123" y="56"/>
                    <a:pt x="121" y="56"/>
                    <a:pt x="121" y="56"/>
                  </a:cubicBezTo>
                  <a:cubicBezTo>
                    <a:pt x="120" y="56"/>
                    <a:pt x="119" y="57"/>
                    <a:pt x="118" y="57"/>
                  </a:cubicBezTo>
                  <a:cubicBezTo>
                    <a:pt x="118" y="57"/>
                    <a:pt x="117" y="57"/>
                    <a:pt x="117" y="57"/>
                  </a:cubicBezTo>
                  <a:cubicBezTo>
                    <a:pt x="116" y="58"/>
                    <a:pt x="116" y="59"/>
                    <a:pt x="115" y="59"/>
                  </a:cubicBezTo>
                  <a:cubicBezTo>
                    <a:pt x="114" y="60"/>
                    <a:pt x="114" y="60"/>
                    <a:pt x="113" y="60"/>
                  </a:cubicBezTo>
                  <a:cubicBezTo>
                    <a:pt x="113" y="61"/>
                    <a:pt x="113" y="62"/>
                    <a:pt x="112" y="62"/>
                  </a:cubicBezTo>
                  <a:cubicBezTo>
                    <a:pt x="111" y="62"/>
                    <a:pt x="111" y="62"/>
                    <a:pt x="110" y="62"/>
                  </a:cubicBezTo>
                  <a:cubicBezTo>
                    <a:pt x="110" y="63"/>
                    <a:pt x="111" y="65"/>
                    <a:pt x="110" y="66"/>
                  </a:cubicBezTo>
                  <a:cubicBezTo>
                    <a:pt x="109" y="67"/>
                    <a:pt x="108" y="68"/>
                    <a:pt x="106" y="69"/>
                  </a:cubicBezTo>
                  <a:cubicBezTo>
                    <a:pt x="105" y="69"/>
                    <a:pt x="105" y="69"/>
                    <a:pt x="103" y="70"/>
                  </a:cubicBezTo>
                  <a:cubicBezTo>
                    <a:pt x="103" y="70"/>
                    <a:pt x="102" y="71"/>
                    <a:pt x="101" y="72"/>
                  </a:cubicBezTo>
                  <a:cubicBezTo>
                    <a:pt x="101" y="72"/>
                    <a:pt x="100" y="72"/>
                    <a:pt x="100" y="73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100" y="116"/>
                    <a:pt x="101" y="115"/>
                    <a:pt x="101" y="115"/>
                  </a:cubicBezTo>
                  <a:cubicBezTo>
                    <a:pt x="102" y="114"/>
                    <a:pt x="102" y="113"/>
                    <a:pt x="103" y="112"/>
                  </a:cubicBezTo>
                  <a:cubicBezTo>
                    <a:pt x="104" y="112"/>
                    <a:pt x="105" y="112"/>
                    <a:pt x="106" y="111"/>
                  </a:cubicBezTo>
                  <a:cubicBezTo>
                    <a:pt x="107" y="111"/>
                    <a:pt x="107" y="111"/>
                    <a:pt x="108" y="110"/>
                  </a:cubicBezTo>
                  <a:cubicBezTo>
                    <a:pt x="108" y="110"/>
                    <a:pt x="109" y="109"/>
                    <a:pt x="109" y="110"/>
                  </a:cubicBezTo>
                  <a:cubicBezTo>
                    <a:pt x="110" y="111"/>
                    <a:pt x="108" y="111"/>
                    <a:pt x="109" y="112"/>
                  </a:cubicBezTo>
                  <a:cubicBezTo>
                    <a:pt x="110" y="113"/>
                    <a:pt x="111" y="111"/>
                    <a:pt x="112" y="111"/>
                  </a:cubicBezTo>
                  <a:cubicBezTo>
                    <a:pt x="112" y="111"/>
                    <a:pt x="114" y="111"/>
                    <a:pt x="114" y="112"/>
                  </a:cubicBezTo>
                  <a:cubicBezTo>
                    <a:pt x="115" y="112"/>
                    <a:pt x="115" y="113"/>
                    <a:pt x="116" y="113"/>
                  </a:cubicBezTo>
                  <a:cubicBezTo>
                    <a:pt x="117" y="113"/>
                    <a:pt x="117" y="113"/>
                    <a:pt x="118" y="113"/>
                  </a:cubicBezTo>
                  <a:cubicBezTo>
                    <a:pt x="119" y="113"/>
                    <a:pt x="120" y="114"/>
                    <a:pt x="121" y="114"/>
                  </a:cubicBezTo>
                  <a:cubicBezTo>
                    <a:pt x="122" y="114"/>
                    <a:pt x="122" y="113"/>
                    <a:pt x="123" y="113"/>
                  </a:cubicBezTo>
                  <a:cubicBezTo>
                    <a:pt x="125" y="112"/>
                    <a:pt x="125" y="113"/>
                    <a:pt x="126" y="114"/>
                  </a:cubicBezTo>
                  <a:cubicBezTo>
                    <a:pt x="127" y="114"/>
                    <a:pt x="127" y="113"/>
                    <a:pt x="128" y="113"/>
                  </a:cubicBezTo>
                  <a:cubicBezTo>
                    <a:pt x="127" y="114"/>
                    <a:pt x="128" y="115"/>
                    <a:pt x="128" y="115"/>
                  </a:cubicBezTo>
                  <a:cubicBezTo>
                    <a:pt x="129" y="116"/>
                    <a:pt x="128" y="116"/>
                    <a:pt x="129" y="116"/>
                  </a:cubicBezTo>
                  <a:cubicBezTo>
                    <a:pt x="129" y="117"/>
                    <a:pt x="130" y="117"/>
                    <a:pt x="131" y="117"/>
                  </a:cubicBezTo>
                  <a:cubicBezTo>
                    <a:pt x="132" y="118"/>
                    <a:pt x="132" y="119"/>
                    <a:pt x="133" y="120"/>
                  </a:cubicBezTo>
                  <a:cubicBezTo>
                    <a:pt x="134" y="121"/>
                    <a:pt x="135" y="122"/>
                    <a:pt x="136" y="122"/>
                  </a:cubicBezTo>
                  <a:cubicBezTo>
                    <a:pt x="137" y="122"/>
                    <a:pt x="138" y="121"/>
                    <a:pt x="139" y="121"/>
                  </a:cubicBezTo>
                  <a:cubicBezTo>
                    <a:pt x="141" y="122"/>
                    <a:pt x="143" y="123"/>
                    <a:pt x="144" y="124"/>
                  </a:cubicBezTo>
                  <a:cubicBezTo>
                    <a:pt x="145" y="124"/>
                    <a:pt x="146" y="125"/>
                    <a:pt x="146" y="126"/>
                  </a:cubicBezTo>
                  <a:cubicBezTo>
                    <a:pt x="146" y="126"/>
                    <a:pt x="146" y="127"/>
                    <a:pt x="146" y="127"/>
                  </a:cubicBezTo>
                  <a:cubicBezTo>
                    <a:pt x="147" y="129"/>
                    <a:pt x="148" y="129"/>
                    <a:pt x="148" y="131"/>
                  </a:cubicBezTo>
                  <a:cubicBezTo>
                    <a:pt x="148" y="132"/>
                    <a:pt x="149" y="132"/>
                    <a:pt x="149" y="133"/>
                  </a:cubicBezTo>
                  <a:cubicBezTo>
                    <a:pt x="150" y="133"/>
                    <a:pt x="151" y="134"/>
                    <a:pt x="151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4" y="134"/>
                    <a:pt x="154" y="134"/>
                    <a:pt x="155" y="135"/>
                  </a:cubicBezTo>
                  <a:cubicBezTo>
                    <a:pt x="156" y="135"/>
                    <a:pt x="157" y="135"/>
                    <a:pt x="157" y="135"/>
                  </a:cubicBezTo>
                  <a:cubicBezTo>
                    <a:pt x="158" y="136"/>
                    <a:pt x="158" y="137"/>
                    <a:pt x="158" y="137"/>
                  </a:cubicBezTo>
                  <a:cubicBezTo>
                    <a:pt x="159" y="137"/>
                    <a:pt x="160" y="137"/>
                    <a:pt x="160" y="137"/>
                  </a:cubicBezTo>
                  <a:cubicBezTo>
                    <a:pt x="161" y="137"/>
                    <a:pt x="163" y="138"/>
                    <a:pt x="164" y="138"/>
                  </a:cubicBezTo>
                  <a:cubicBezTo>
                    <a:pt x="164" y="138"/>
                    <a:pt x="165" y="138"/>
                    <a:pt x="165" y="138"/>
                  </a:cubicBezTo>
                  <a:cubicBezTo>
                    <a:pt x="167" y="138"/>
                    <a:pt x="168" y="139"/>
                    <a:pt x="169" y="139"/>
                  </a:cubicBezTo>
                  <a:cubicBezTo>
                    <a:pt x="156" y="159"/>
                    <a:pt x="137" y="173"/>
                    <a:pt x="114" y="179"/>
                  </a:cubicBezTo>
                  <a:cubicBezTo>
                    <a:pt x="114" y="178"/>
                    <a:pt x="114" y="177"/>
                    <a:pt x="114" y="176"/>
                  </a:cubicBezTo>
                  <a:cubicBezTo>
                    <a:pt x="114" y="174"/>
                    <a:pt x="114" y="173"/>
                    <a:pt x="114" y="171"/>
                  </a:cubicBezTo>
                  <a:cubicBezTo>
                    <a:pt x="113" y="170"/>
                    <a:pt x="113" y="168"/>
                    <a:pt x="113" y="167"/>
                  </a:cubicBezTo>
                  <a:cubicBezTo>
                    <a:pt x="112" y="166"/>
                    <a:pt x="110" y="165"/>
                    <a:pt x="109" y="164"/>
                  </a:cubicBezTo>
                  <a:cubicBezTo>
                    <a:pt x="108" y="164"/>
                    <a:pt x="107" y="163"/>
                    <a:pt x="107" y="163"/>
                  </a:cubicBezTo>
                  <a:cubicBezTo>
                    <a:pt x="105" y="162"/>
                    <a:pt x="102" y="161"/>
                    <a:pt x="101" y="159"/>
                  </a:cubicBezTo>
                  <a:cubicBezTo>
                    <a:pt x="101" y="159"/>
                    <a:pt x="101" y="158"/>
                    <a:pt x="101" y="157"/>
                  </a:cubicBezTo>
                  <a:cubicBezTo>
                    <a:pt x="100" y="157"/>
                    <a:pt x="100" y="156"/>
                    <a:pt x="100" y="156"/>
                  </a:cubicBezTo>
                  <a:lnTo>
                    <a:pt x="100" y="186"/>
                  </a:lnTo>
                  <a:close/>
                  <a:moveTo>
                    <a:pt x="2" y="74"/>
                  </a:moveTo>
                  <a:cubicBezTo>
                    <a:pt x="2" y="76"/>
                    <a:pt x="1" y="77"/>
                    <a:pt x="1" y="79"/>
                  </a:cubicBezTo>
                  <a:cubicBezTo>
                    <a:pt x="1" y="80"/>
                    <a:pt x="1" y="82"/>
                    <a:pt x="0" y="83"/>
                  </a:cubicBezTo>
                  <a:cubicBezTo>
                    <a:pt x="0" y="87"/>
                    <a:pt x="0" y="90"/>
                    <a:pt x="0" y="93"/>
                  </a:cubicBezTo>
                  <a:cubicBezTo>
                    <a:pt x="0" y="96"/>
                    <a:pt x="0" y="99"/>
                    <a:pt x="0" y="103"/>
                  </a:cubicBezTo>
                  <a:cubicBezTo>
                    <a:pt x="1" y="104"/>
                    <a:pt x="1" y="106"/>
                    <a:pt x="1" y="107"/>
                  </a:cubicBezTo>
                  <a:cubicBezTo>
                    <a:pt x="1" y="109"/>
                    <a:pt x="2" y="110"/>
                    <a:pt x="2" y="112"/>
                  </a:cubicBezTo>
                  <a:cubicBezTo>
                    <a:pt x="2" y="113"/>
                    <a:pt x="3" y="115"/>
                    <a:pt x="3" y="116"/>
                  </a:cubicBezTo>
                  <a:cubicBezTo>
                    <a:pt x="4" y="119"/>
                    <a:pt x="5" y="122"/>
                    <a:pt x="6" y="125"/>
                  </a:cubicBezTo>
                  <a:cubicBezTo>
                    <a:pt x="6" y="127"/>
                    <a:pt x="7" y="128"/>
                    <a:pt x="7" y="129"/>
                  </a:cubicBezTo>
                  <a:cubicBezTo>
                    <a:pt x="8" y="131"/>
                    <a:pt x="9" y="132"/>
                    <a:pt x="9" y="134"/>
                  </a:cubicBezTo>
                  <a:cubicBezTo>
                    <a:pt x="10" y="134"/>
                    <a:pt x="10" y="135"/>
                    <a:pt x="10" y="136"/>
                  </a:cubicBezTo>
                  <a:cubicBezTo>
                    <a:pt x="11" y="137"/>
                    <a:pt x="12" y="138"/>
                    <a:pt x="12" y="140"/>
                  </a:cubicBezTo>
                  <a:cubicBezTo>
                    <a:pt x="15" y="143"/>
                    <a:pt x="17" y="147"/>
                    <a:pt x="20" y="151"/>
                  </a:cubicBezTo>
                  <a:cubicBezTo>
                    <a:pt x="21" y="152"/>
                    <a:pt x="23" y="154"/>
                    <a:pt x="24" y="156"/>
                  </a:cubicBezTo>
                  <a:cubicBezTo>
                    <a:pt x="25" y="157"/>
                    <a:pt x="26" y="158"/>
                    <a:pt x="27" y="159"/>
                  </a:cubicBezTo>
                  <a:cubicBezTo>
                    <a:pt x="28" y="160"/>
                    <a:pt x="29" y="161"/>
                    <a:pt x="31" y="162"/>
                  </a:cubicBezTo>
                  <a:cubicBezTo>
                    <a:pt x="36" y="167"/>
                    <a:pt x="41" y="171"/>
                    <a:pt x="47" y="174"/>
                  </a:cubicBezTo>
                  <a:cubicBezTo>
                    <a:pt x="48" y="175"/>
                    <a:pt x="50" y="176"/>
                    <a:pt x="51" y="176"/>
                  </a:cubicBezTo>
                  <a:cubicBezTo>
                    <a:pt x="54" y="178"/>
                    <a:pt x="56" y="179"/>
                    <a:pt x="59" y="180"/>
                  </a:cubicBezTo>
                  <a:cubicBezTo>
                    <a:pt x="61" y="181"/>
                    <a:pt x="62" y="181"/>
                    <a:pt x="63" y="182"/>
                  </a:cubicBezTo>
                  <a:cubicBezTo>
                    <a:pt x="73" y="185"/>
                    <a:pt x="83" y="186"/>
                    <a:pt x="93" y="186"/>
                  </a:cubicBezTo>
                  <a:cubicBezTo>
                    <a:pt x="96" y="186"/>
                    <a:pt x="98" y="186"/>
                    <a:pt x="100" y="186"/>
                  </a:cubicBezTo>
                  <a:cubicBezTo>
                    <a:pt x="100" y="156"/>
                    <a:pt x="100" y="156"/>
                    <a:pt x="100" y="156"/>
                  </a:cubicBezTo>
                  <a:cubicBezTo>
                    <a:pt x="99" y="156"/>
                    <a:pt x="99" y="155"/>
                    <a:pt x="99" y="154"/>
                  </a:cubicBezTo>
                  <a:cubicBezTo>
                    <a:pt x="97" y="153"/>
                    <a:pt x="96" y="150"/>
                    <a:pt x="95" y="148"/>
                  </a:cubicBezTo>
                  <a:cubicBezTo>
                    <a:pt x="95" y="147"/>
                    <a:pt x="94" y="146"/>
                    <a:pt x="93" y="145"/>
                  </a:cubicBezTo>
                  <a:cubicBezTo>
                    <a:pt x="93" y="145"/>
                    <a:pt x="92" y="144"/>
                    <a:pt x="91" y="144"/>
                  </a:cubicBezTo>
                  <a:cubicBezTo>
                    <a:pt x="91" y="143"/>
                    <a:pt x="90" y="142"/>
                    <a:pt x="91" y="141"/>
                  </a:cubicBezTo>
                  <a:cubicBezTo>
                    <a:pt x="91" y="140"/>
                    <a:pt x="93" y="139"/>
                    <a:pt x="93" y="138"/>
                  </a:cubicBezTo>
                  <a:cubicBezTo>
                    <a:pt x="93" y="138"/>
                    <a:pt x="92" y="137"/>
                    <a:pt x="91" y="136"/>
                  </a:cubicBezTo>
                  <a:cubicBezTo>
                    <a:pt x="91" y="135"/>
                    <a:pt x="92" y="134"/>
                    <a:pt x="92" y="133"/>
                  </a:cubicBezTo>
                  <a:cubicBezTo>
                    <a:pt x="92" y="132"/>
                    <a:pt x="93" y="132"/>
                    <a:pt x="93" y="131"/>
                  </a:cubicBezTo>
                  <a:cubicBezTo>
                    <a:pt x="93" y="131"/>
                    <a:pt x="94" y="131"/>
                    <a:pt x="94" y="130"/>
                  </a:cubicBezTo>
                  <a:cubicBezTo>
                    <a:pt x="95" y="130"/>
                    <a:pt x="95" y="129"/>
                    <a:pt x="95" y="129"/>
                  </a:cubicBezTo>
                  <a:cubicBezTo>
                    <a:pt x="96" y="128"/>
                    <a:pt x="97" y="127"/>
                    <a:pt x="98" y="126"/>
                  </a:cubicBezTo>
                  <a:cubicBezTo>
                    <a:pt x="98" y="126"/>
                    <a:pt x="98" y="122"/>
                    <a:pt x="98" y="121"/>
                  </a:cubicBezTo>
                  <a:cubicBezTo>
                    <a:pt x="98" y="120"/>
                    <a:pt x="97" y="119"/>
                    <a:pt x="97" y="119"/>
                  </a:cubicBezTo>
                  <a:cubicBezTo>
                    <a:pt x="96" y="117"/>
                    <a:pt x="96" y="116"/>
                    <a:pt x="95" y="116"/>
                  </a:cubicBezTo>
                  <a:cubicBezTo>
                    <a:pt x="94" y="116"/>
                    <a:pt x="93" y="117"/>
                    <a:pt x="93" y="117"/>
                  </a:cubicBezTo>
                  <a:cubicBezTo>
                    <a:pt x="93" y="118"/>
                    <a:pt x="93" y="119"/>
                    <a:pt x="92" y="119"/>
                  </a:cubicBezTo>
                  <a:cubicBezTo>
                    <a:pt x="91" y="119"/>
                    <a:pt x="91" y="118"/>
                    <a:pt x="89" y="118"/>
                  </a:cubicBezTo>
                  <a:cubicBezTo>
                    <a:pt x="89" y="117"/>
                    <a:pt x="88" y="117"/>
                    <a:pt x="88" y="117"/>
                  </a:cubicBezTo>
                  <a:cubicBezTo>
                    <a:pt x="87" y="117"/>
                    <a:pt x="86" y="115"/>
                    <a:pt x="85" y="115"/>
                  </a:cubicBezTo>
                  <a:cubicBezTo>
                    <a:pt x="84" y="114"/>
                    <a:pt x="84" y="115"/>
                    <a:pt x="83" y="114"/>
                  </a:cubicBezTo>
                  <a:cubicBezTo>
                    <a:pt x="83" y="113"/>
                    <a:pt x="83" y="112"/>
                    <a:pt x="83" y="112"/>
                  </a:cubicBezTo>
                  <a:cubicBezTo>
                    <a:pt x="82" y="111"/>
                    <a:pt x="81" y="109"/>
                    <a:pt x="80" y="108"/>
                  </a:cubicBezTo>
                  <a:cubicBezTo>
                    <a:pt x="79" y="108"/>
                    <a:pt x="78" y="108"/>
                    <a:pt x="77" y="108"/>
                  </a:cubicBezTo>
                  <a:cubicBezTo>
                    <a:pt x="76" y="107"/>
                    <a:pt x="76" y="107"/>
                    <a:pt x="75" y="107"/>
                  </a:cubicBezTo>
                  <a:cubicBezTo>
                    <a:pt x="74" y="107"/>
                    <a:pt x="74" y="107"/>
                    <a:pt x="73" y="107"/>
                  </a:cubicBezTo>
                  <a:cubicBezTo>
                    <a:pt x="71" y="106"/>
                    <a:pt x="70" y="102"/>
                    <a:pt x="68" y="103"/>
                  </a:cubicBezTo>
                  <a:cubicBezTo>
                    <a:pt x="67" y="103"/>
                    <a:pt x="66" y="104"/>
                    <a:pt x="65" y="104"/>
                  </a:cubicBezTo>
                  <a:cubicBezTo>
                    <a:pt x="64" y="104"/>
                    <a:pt x="62" y="103"/>
                    <a:pt x="61" y="102"/>
                  </a:cubicBezTo>
                  <a:cubicBezTo>
                    <a:pt x="60" y="102"/>
                    <a:pt x="58" y="101"/>
                    <a:pt x="57" y="101"/>
                  </a:cubicBezTo>
                  <a:cubicBezTo>
                    <a:pt x="57" y="100"/>
                    <a:pt x="56" y="100"/>
                    <a:pt x="55" y="99"/>
                  </a:cubicBezTo>
                  <a:cubicBezTo>
                    <a:pt x="55" y="99"/>
                    <a:pt x="54" y="99"/>
                    <a:pt x="54" y="99"/>
                  </a:cubicBezTo>
                  <a:cubicBezTo>
                    <a:pt x="53" y="99"/>
                    <a:pt x="52" y="98"/>
                    <a:pt x="51" y="97"/>
                  </a:cubicBezTo>
                  <a:cubicBezTo>
                    <a:pt x="51" y="97"/>
                    <a:pt x="50" y="96"/>
                    <a:pt x="50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49" y="89"/>
                    <a:pt x="48" y="88"/>
                  </a:cubicBezTo>
                  <a:cubicBezTo>
                    <a:pt x="47" y="87"/>
                    <a:pt x="46" y="86"/>
                    <a:pt x="45" y="85"/>
                  </a:cubicBezTo>
                  <a:cubicBezTo>
                    <a:pt x="45" y="84"/>
                    <a:pt x="45" y="84"/>
                    <a:pt x="45" y="83"/>
                  </a:cubicBezTo>
                  <a:cubicBezTo>
                    <a:pt x="45" y="83"/>
                    <a:pt x="44" y="82"/>
                    <a:pt x="44" y="81"/>
                  </a:cubicBezTo>
                  <a:cubicBezTo>
                    <a:pt x="43" y="80"/>
                    <a:pt x="42" y="79"/>
                    <a:pt x="42" y="78"/>
                  </a:cubicBezTo>
                  <a:cubicBezTo>
                    <a:pt x="42" y="77"/>
                    <a:pt x="42" y="76"/>
                    <a:pt x="42" y="75"/>
                  </a:cubicBezTo>
                  <a:cubicBezTo>
                    <a:pt x="41" y="73"/>
                    <a:pt x="38" y="74"/>
                    <a:pt x="39" y="76"/>
                  </a:cubicBezTo>
                  <a:cubicBezTo>
                    <a:pt x="39" y="77"/>
                    <a:pt x="40" y="78"/>
                    <a:pt x="40" y="79"/>
                  </a:cubicBezTo>
                  <a:cubicBezTo>
                    <a:pt x="40" y="79"/>
                    <a:pt x="40" y="80"/>
                    <a:pt x="41" y="81"/>
                  </a:cubicBezTo>
                  <a:cubicBezTo>
                    <a:pt x="41" y="82"/>
                    <a:pt x="42" y="82"/>
                    <a:pt x="42" y="83"/>
                  </a:cubicBezTo>
                  <a:cubicBezTo>
                    <a:pt x="42" y="85"/>
                    <a:pt x="42" y="86"/>
                    <a:pt x="43" y="87"/>
                  </a:cubicBezTo>
                  <a:cubicBezTo>
                    <a:pt x="43" y="88"/>
                    <a:pt x="44" y="88"/>
                    <a:pt x="44" y="89"/>
                  </a:cubicBezTo>
                  <a:cubicBezTo>
                    <a:pt x="43" y="90"/>
                    <a:pt x="42" y="89"/>
                    <a:pt x="42" y="88"/>
                  </a:cubicBezTo>
                  <a:cubicBezTo>
                    <a:pt x="41" y="88"/>
                    <a:pt x="40" y="87"/>
                    <a:pt x="40" y="86"/>
                  </a:cubicBezTo>
                  <a:cubicBezTo>
                    <a:pt x="40" y="86"/>
                    <a:pt x="40" y="85"/>
                    <a:pt x="40" y="84"/>
                  </a:cubicBezTo>
                  <a:cubicBezTo>
                    <a:pt x="40" y="83"/>
                    <a:pt x="37" y="83"/>
                    <a:pt x="37" y="81"/>
                  </a:cubicBezTo>
                  <a:cubicBezTo>
                    <a:pt x="37" y="81"/>
                    <a:pt x="38" y="80"/>
                    <a:pt x="38" y="80"/>
                  </a:cubicBezTo>
                  <a:cubicBezTo>
                    <a:pt x="38" y="79"/>
                    <a:pt x="37" y="78"/>
                    <a:pt x="37" y="77"/>
                  </a:cubicBezTo>
                  <a:cubicBezTo>
                    <a:pt x="36" y="76"/>
                    <a:pt x="36" y="75"/>
                    <a:pt x="36" y="74"/>
                  </a:cubicBezTo>
                  <a:cubicBezTo>
                    <a:pt x="36" y="73"/>
                    <a:pt x="36" y="72"/>
                    <a:pt x="36" y="71"/>
                  </a:cubicBezTo>
                  <a:cubicBezTo>
                    <a:pt x="36" y="70"/>
                    <a:pt x="35" y="69"/>
                    <a:pt x="34" y="69"/>
                  </a:cubicBezTo>
                  <a:cubicBezTo>
                    <a:pt x="33" y="69"/>
                    <a:pt x="32" y="69"/>
                    <a:pt x="32" y="68"/>
                  </a:cubicBezTo>
                  <a:cubicBezTo>
                    <a:pt x="32" y="67"/>
                    <a:pt x="31" y="66"/>
                    <a:pt x="31" y="65"/>
                  </a:cubicBezTo>
                  <a:cubicBezTo>
                    <a:pt x="31" y="64"/>
                    <a:pt x="31" y="63"/>
                    <a:pt x="31" y="62"/>
                  </a:cubicBezTo>
                  <a:cubicBezTo>
                    <a:pt x="31" y="60"/>
                    <a:pt x="31" y="59"/>
                    <a:pt x="31" y="58"/>
                  </a:cubicBezTo>
                  <a:cubicBezTo>
                    <a:pt x="32" y="57"/>
                    <a:pt x="33" y="56"/>
                    <a:pt x="33" y="55"/>
                  </a:cubicBezTo>
                  <a:cubicBezTo>
                    <a:pt x="34" y="55"/>
                    <a:pt x="34" y="54"/>
                    <a:pt x="34" y="53"/>
                  </a:cubicBezTo>
                  <a:cubicBezTo>
                    <a:pt x="35" y="52"/>
                    <a:pt x="36" y="51"/>
                    <a:pt x="37" y="49"/>
                  </a:cubicBezTo>
                  <a:cubicBezTo>
                    <a:pt x="39" y="48"/>
                    <a:pt x="40" y="47"/>
                    <a:pt x="40" y="45"/>
                  </a:cubicBezTo>
                  <a:cubicBezTo>
                    <a:pt x="41" y="44"/>
                    <a:pt x="41" y="43"/>
                    <a:pt x="41" y="43"/>
                  </a:cubicBezTo>
                  <a:cubicBezTo>
                    <a:pt x="41" y="42"/>
                    <a:pt x="39" y="41"/>
                    <a:pt x="39" y="40"/>
                  </a:cubicBezTo>
                  <a:cubicBezTo>
                    <a:pt x="39" y="39"/>
                    <a:pt x="40" y="39"/>
                    <a:pt x="41" y="38"/>
                  </a:cubicBezTo>
                  <a:cubicBezTo>
                    <a:pt x="41" y="38"/>
                    <a:pt x="41" y="37"/>
                    <a:pt x="41" y="36"/>
                  </a:cubicBezTo>
                  <a:cubicBezTo>
                    <a:pt x="41" y="35"/>
                    <a:pt x="40" y="34"/>
                    <a:pt x="41" y="33"/>
                  </a:cubicBezTo>
                  <a:cubicBezTo>
                    <a:pt x="41" y="33"/>
                    <a:pt x="42" y="32"/>
                    <a:pt x="41" y="31"/>
                  </a:cubicBezTo>
                  <a:cubicBezTo>
                    <a:pt x="41" y="30"/>
                    <a:pt x="40" y="32"/>
                    <a:pt x="39" y="31"/>
                  </a:cubicBezTo>
                  <a:cubicBezTo>
                    <a:pt x="38" y="31"/>
                    <a:pt x="39" y="30"/>
                    <a:pt x="39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7"/>
                    <a:pt x="40" y="26"/>
                    <a:pt x="40" y="26"/>
                  </a:cubicBezTo>
                  <a:cubicBezTo>
                    <a:pt x="39" y="26"/>
                    <a:pt x="39" y="25"/>
                    <a:pt x="38" y="24"/>
                  </a:cubicBezTo>
                  <a:cubicBezTo>
                    <a:pt x="49" y="15"/>
                    <a:pt x="63" y="9"/>
                    <a:pt x="78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8" y="6"/>
                    <a:pt x="78" y="7"/>
                    <a:pt x="78" y="7"/>
                  </a:cubicBezTo>
                  <a:cubicBezTo>
                    <a:pt x="79" y="6"/>
                    <a:pt x="80" y="7"/>
                    <a:pt x="81" y="7"/>
                  </a:cubicBezTo>
                  <a:cubicBezTo>
                    <a:pt x="82" y="7"/>
                    <a:pt x="83" y="6"/>
                    <a:pt x="84" y="7"/>
                  </a:cubicBezTo>
                  <a:cubicBezTo>
                    <a:pt x="86" y="7"/>
                    <a:pt x="88" y="9"/>
                    <a:pt x="90" y="8"/>
                  </a:cubicBezTo>
                  <a:cubicBezTo>
                    <a:pt x="90" y="7"/>
                    <a:pt x="90" y="7"/>
                    <a:pt x="90" y="6"/>
                  </a:cubicBezTo>
                  <a:cubicBezTo>
                    <a:pt x="91" y="6"/>
                    <a:pt x="91" y="5"/>
                    <a:pt x="91" y="5"/>
                  </a:cubicBezTo>
                  <a:cubicBezTo>
                    <a:pt x="92" y="5"/>
                    <a:pt x="93" y="5"/>
                    <a:pt x="93" y="5"/>
                  </a:cubicBezTo>
                  <a:cubicBezTo>
                    <a:pt x="96" y="5"/>
                    <a:pt x="98" y="5"/>
                    <a:pt x="100" y="5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8" y="0"/>
                    <a:pt x="97" y="0"/>
                    <a:pt x="95" y="0"/>
                  </a:cubicBezTo>
                  <a:cubicBezTo>
                    <a:pt x="94" y="0"/>
                    <a:pt x="94" y="0"/>
                    <a:pt x="93" y="0"/>
                  </a:cubicBezTo>
                  <a:cubicBezTo>
                    <a:pt x="92" y="0"/>
                    <a:pt x="91" y="0"/>
                    <a:pt x="90" y="0"/>
                  </a:cubicBezTo>
                  <a:cubicBezTo>
                    <a:pt x="81" y="0"/>
                    <a:pt x="72" y="2"/>
                    <a:pt x="63" y="5"/>
                  </a:cubicBezTo>
                  <a:cubicBezTo>
                    <a:pt x="62" y="5"/>
                    <a:pt x="61" y="6"/>
                    <a:pt x="59" y="6"/>
                  </a:cubicBezTo>
                  <a:cubicBezTo>
                    <a:pt x="59" y="6"/>
                    <a:pt x="58" y="6"/>
                    <a:pt x="58" y="7"/>
                  </a:cubicBezTo>
                  <a:cubicBezTo>
                    <a:pt x="57" y="7"/>
                    <a:pt x="56" y="7"/>
                    <a:pt x="55" y="8"/>
                  </a:cubicBezTo>
                  <a:cubicBezTo>
                    <a:pt x="54" y="9"/>
                    <a:pt x="52" y="9"/>
                    <a:pt x="51" y="10"/>
                  </a:cubicBezTo>
                  <a:cubicBezTo>
                    <a:pt x="49" y="11"/>
                    <a:pt x="48" y="11"/>
                    <a:pt x="47" y="12"/>
                  </a:cubicBezTo>
                  <a:cubicBezTo>
                    <a:pt x="42" y="15"/>
                    <a:pt x="37" y="19"/>
                    <a:pt x="32" y="22"/>
                  </a:cubicBezTo>
                  <a:cubicBezTo>
                    <a:pt x="32" y="23"/>
                    <a:pt x="31" y="23"/>
                    <a:pt x="31" y="24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8"/>
                    <a:pt x="25" y="29"/>
                    <a:pt x="24" y="30"/>
                  </a:cubicBezTo>
                  <a:cubicBezTo>
                    <a:pt x="23" y="32"/>
                    <a:pt x="21" y="34"/>
                    <a:pt x="20" y="35"/>
                  </a:cubicBezTo>
                  <a:cubicBezTo>
                    <a:pt x="17" y="39"/>
                    <a:pt x="15" y="43"/>
                    <a:pt x="12" y="47"/>
                  </a:cubicBezTo>
                  <a:cubicBezTo>
                    <a:pt x="12" y="48"/>
                    <a:pt x="11" y="49"/>
                    <a:pt x="10" y="51"/>
                  </a:cubicBezTo>
                  <a:cubicBezTo>
                    <a:pt x="10" y="51"/>
                    <a:pt x="10" y="52"/>
                    <a:pt x="9" y="53"/>
                  </a:cubicBezTo>
                  <a:cubicBezTo>
                    <a:pt x="8" y="55"/>
                    <a:pt x="7" y="57"/>
                    <a:pt x="6" y="59"/>
                  </a:cubicBezTo>
                  <a:cubicBezTo>
                    <a:pt x="6" y="60"/>
                    <a:pt x="6" y="60"/>
                    <a:pt x="6" y="61"/>
                  </a:cubicBezTo>
                  <a:cubicBezTo>
                    <a:pt x="5" y="64"/>
                    <a:pt x="4" y="67"/>
                    <a:pt x="3" y="70"/>
                  </a:cubicBezTo>
                  <a:cubicBezTo>
                    <a:pt x="3" y="71"/>
                    <a:pt x="2" y="73"/>
                    <a:pt x="2" y="74"/>
                  </a:cubicBezTo>
                  <a:close/>
                  <a:moveTo>
                    <a:pt x="100" y="73"/>
                  </a:moveTo>
                  <a:cubicBezTo>
                    <a:pt x="100" y="116"/>
                    <a:pt x="100" y="116"/>
                    <a:pt x="100" y="116"/>
                  </a:cubicBezTo>
                  <a:cubicBezTo>
                    <a:pt x="100" y="117"/>
                    <a:pt x="99" y="117"/>
                    <a:pt x="99" y="117"/>
                  </a:cubicBezTo>
                  <a:cubicBezTo>
                    <a:pt x="98" y="117"/>
                    <a:pt x="97" y="116"/>
                    <a:pt x="96" y="115"/>
                  </a:cubicBezTo>
                  <a:cubicBezTo>
                    <a:pt x="94" y="114"/>
                    <a:pt x="93" y="116"/>
                    <a:pt x="91" y="116"/>
                  </a:cubicBezTo>
                  <a:cubicBezTo>
                    <a:pt x="89" y="116"/>
                    <a:pt x="87" y="113"/>
                    <a:pt x="87" y="112"/>
                  </a:cubicBezTo>
                  <a:cubicBezTo>
                    <a:pt x="87" y="111"/>
                    <a:pt x="88" y="109"/>
                    <a:pt x="88" y="108"/>
                  </a:cubicBezTo>
                  <a:cubicBezTo>
                    <a:pt x="88" y="107"/>
                    <a:pt x="88" y="106"/>
                    <a:pt x="88" y="105"/>
                  </a:cubicBezTo>
                  <a:cubicBezTo>
                    <a:pt x="88" y="104"/>
                    <a:pt x="87" y="103"/>
                    <a:pt x="86" y="103"/>
                  </a:cubicBezTo>
                  <a:cubicBezTo>
                    <a:pt x="84" y="103"/>
                    <a:pt x="82" y="104"/>
                    <a:pt x="79" y="103"/>
                  </a:cubicBezTo>
                  <a:cubicBezTo>
                    <a:pt x="79" y="102"/>
                    <a:pt x="80" y="102"/>
                    <a:pt x="80" y="101"/>
                  </a:cubicBezTo>
                  <a:cubicBezTo>
                    <a:pt x="80" y="101"/>
                    <a:pt x="80" y="100"/>
                    <a:pt x="80" y="100"/>
                  </a:cubicBezTo>
                  <a:cubicBezTo>
                    <a:pt x="81" y="99"/>
                    <a:pt x="81" y="99"/>
                    <a:pt x="82" y="98"/>
                  </a:cubicBezTo>
                  <a:cubicBezTo>
                    <a:pt x="82" y="97"/>
                    <a:pt x="82" y="97"/>
                    <a:pt x="82" y="96"/>
                  </a:cubicBezTo>
                  <a:cubicBezTo>
                    <a:pt x="82" y="95"/>
                    <a:pt x="83" y="95"/>
                    <a:pt x="83" y="94"/>
                  </a:cubicBezTo>
                  <a:cubicBezTo>
                    <a:pt x="83" y="94"/>
                    <a:pt x="83" y="93"/>
                    <a:pt x="82" y="93"/>
                  </a:cubicBezTo>
                  <a:cubicBezTo>
                    <a:pt x="80" y="93"/>
                    <a:pt x="79" y="93"/>
                    <a:pt x="78" y="93"/>
                  </a:cubicBezTo>
                  <a:cubicBezTo>
                    <a:pt x="76" y="94"/>
                    <a:pt x="77" y="97"/>
                    <a:pt x="75" y="98"/>
                  </a:cubicBezTo>
                  <a:cubicBezTo>
                    <a:pt x="74" y="98"/>
                    <a:pt x="73" y="98"/>
                    <a:pt x="72" y="98"/>
                  </a:cubicBezTo>
                  <a:cubicBezTo>
                    <a:pt x="71" y="98"/>
                    <a:pt x="70" y="99"/>
                    <a:pt x="70" y="99"/>
                  </a:cubicBezTo>
                  <a:cubicBezTo>
                    <a:pt x="69" y="99"/>
                    <a:pt x="67" y="98"/>
                    <a:pt x="67" y="97"/>
                  </a:cubicBezTo>
                  <a:cubicBezTo>
                    <a:pt x="66" y="97"/>
                    <a:pt x="65" y="94"/>
                    <a:pt x="65" y="94"/>
                  </a:cubicBezTo>
                  <a:cubicBezTo>
                    <a:pt x="64" y="91"/>
                    <a:pt x="65" y="88"/>
                    <a:pt x="66" y="86"/>
                  </a:cubicBezTo>
                  <a:cubicBezTo>
                    <a:pt x="66" y="86"/>
                    <a:pt x="67" y="85"/>
                    <a:pt x="67" y="85"/>
                  </a:cubicBezTo>
                  <a:cubicBezTo>
                    <a:pt x="67" y="84"/>
                    <a:pt x="67" y="83"/>
                    <a:pt x="67" y="82"/>
                  </a:cubicBezTo>
                  <a:cubicBezTo>
                    <a:pt x="68" y="81"/>
                    <a:pt x="69" y="80"/>
                    <a:pt x="71" y="79"/>
                  </a:cubicBezTo>
                  <a:cubicBezTo>
                    <a:pt x="72" y="79"/>
                    <a:pt x="73" y="77"/>
                    <a:pt x="75" y="77"/>
                  </a:cubicBezTo>
                  <a:cubicBezTo>
                    <a:pt x="76" y="77"/>
                    <a:pt x="77" y="78"/>
                    <a:pt x="78" y="78"/>
                  </a:cubicBezTo>
                  <a:cubicBezTo>
                    <a:pt x="79" y="78"/>
                    <a:pt x="79" y="78"/>
                    <a:pt x="80" y="78"/>
                  </a:cubicBezTo>
                  <a:cubicBezTo>
                    <a:pt x="82" y="79"/>
                    <a:pt x="82" y="77"/>
                    <a:pt x="84" y="76"/>
                  </a:cubicBezTo>
                  <a:cubicBezTo>
                    <a:pt x="85" y="76"/>
                    <a:pt x="87" y="76"/>
                    <a:pt x="88" y="76"/>
                  </a:cubicBezTo>
                  <a:cubicBezTo>
                    <a:pt x="89" y="76"/>
                    <a:pt x="90" y="77"/>
                    <a:pt x="90" y="77"/>
                  </a:cubicBezTo>
                  <a:cubicBezTo>
                    <a:pt x="91" y="77"/>
                    <a:pt x="92" y="77"/>
                    <a:pt x="92" y="77"/>
                  </a:cubicBezTo>
                  <a:cubicBezTo>
                    <a:pt x="93" y="77"/>
                    <a:pt x="94" y="78"/>
                    <a:pt x="94" y="79"/>
                  </a:cubicBezTo>
                  <a:cubicBezTo>
                    <a:pt x="94" y="80"/>
                    <a:pt x="93" y="81"/>
                    <a:pt x="93" y="82"/>
                  </a:cubicBezTo>
                  <a:cubicBezTo>
                    <a:pt x="94" y="83"/>
                    <a:pt x="96" y="83"/>
                    <a:pt x="97" y="83"/>
                  </a:cubicBezTo>
                  <a:cubicBezTo>
                    <a:pt x="98" y="83"/>
                    <a:pt x="98" y="81"/>
                    <a:pt x="97" y="80"/>
                  </a:cubicBezTo>
                  <a:cubicBezTo>
                    <a:pt x="97" y="80"/>
                    <a:pt x="98" y="79"/>
                    <a:pt x="97" y="79"/>
                  </a:cubicBezTo>
                  <a:cubicBezTo>
                    <a:pt x="97" y="78"/>
                    <a:pt x="97" y="78"/>
                    <a:pt x="97" y="77"/>
                  </a:cubicBezTo>
                  <a:cubicBezTo>
                    <a:pt x="97" y="75"/>
                    <a:pt x="98" y="74"/>
                    <a:pt x="100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4" name="íṣḷidê">
              <a:extLst>
                <a:ext uri="{FF2B5EF4-FFF2-40B4-BE49-F238E27FC236}">
                  <a16:creationId xmlns:a16="http://schemas.microsoft.com/office/drawing/2014/main" id="{456C7822-D93C-49EA-8564-0B3A1600B052}"/>
                </a:ext>
              </a:extLst>
            </p:cNvPr>
            <p:cNvSpPr/>
            <p:nvPr/>
          </p:nvSpPr>
          <p:spPr bwMode="auto">
            <a:xfrm flipH="1">
              <a:off x="3378887" y="4716561"/>
              <a:ext cx="133120" cy="123791"/>
            </a:xfrm>
            <a:custGeom>
              <a:avLst/>
              <a:gdLst>
                <a:gd name="T0" fmla="*/ 14 w 62"/>
                <a:gd name="T1" fmla="*/ 56 h 61"/>
                <a:gd name="T2" fmla="*/ 31 w 62"/>
                <a:gd name="T3" fmla="*/ 61 h 61"/>
                <a:gd name="T4" fmla="*/ 62 w 62"/>
                <a:gd name="T5" fmla="*/ 31 h 61"/>
                <a:gd name="T6" fmla="*/ 31 w 62"/>
                <a:gd name="T7" fmla="*/ 0 h 61"/>
                <a:gd name="T8" fmla="*/ 0 w 62"/>
                <a:gd name="T9" fmla="*/ 26 h 61"/>
                <a:gd name="T10" fmla="*/ 31 w 62"/>
                <a:gd name="T11" fmla="*/ 26 h 61"/>
                <a:gd name="T12" fmla="*/ 41 w 62"/>
                <a:gd name="T13" fmla="*/ 26 h 61"/>
                <a:gd name="T14" fmla="*/ 34 w 62"/>
                <a:gd name="T15" fmla="*/ 34 h 61"/>
                <a:gd name="T16" fmla="*/ 14 w 62"/>
                <a:gd name="T17" fmla="*/ 5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61">
                  <a:moveTo>
                    <a:pt x="14" y="56"/>
                  </a:moveTo>
                  <a:cubicBezTo>
                    <a:pt x="19" y="60"/>
                    <a:pt x="25" y="61"/>
                    <a:pt x="31" y="61"/>
                  </a:cubicBezTo>
                  <a:cubicBezTo>
                    <a:pt x="48" y="61"/>
                    <a:pt x="62" y="48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15" y="0"/>
                    <a:pt x="3" y="11"/>
                    <a:pt x="0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34" y="34"/>
                    <a:pt x="34" y="34"/>
                    <a:pt x="34" y="34"/>
                  </a:cubicBezTo>
                  <a:lnTo>
                    <a:pt x="1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5" name="işḻíḋè">
              <a:extLst>
                <a:ext uri="{FF2B5EF4-FFF2-40B4-BE49-F238E27FC236}">
                  <a16:creationId xmlns:a16="http://schemas.microsoft.com/office/drawing/2014/main" id="{6042867B-A84C-4017-8D1C-1371F89A19ED}"/>
                </a:ext>
              </a:extLst>
            </p:cNvPr>
            <p:cNvSpPr/>
            <p:nvPr/>
          </p:nvSpPr>
          <p:spPr bwMode="auto">
            <a:xfrm flipH="1">
              <a:off x="3445447" y="4779316"/>
              <a:ext cx="274447" cy="242424"/>
            </a:xfrm>
            <a:custGeom>
              <a:avLst/>
              <a:gdLst>
                <a:gd name="T0" fmla="*/ 57 w 127"/>
                <a:gd name="T1" fmla="*/ 63 h 119"/>
                <a:gd name="T2" fmla="*/ 57 w 127"/>
                <a:gd name="T3" fmla="*/ 67 h 119"/>
                <a:gd name="T4" fmla="*/ 57 w 127"/>
                <a:gd name="T5" fmla="*/ 70 h 119"/>
                <a:gd name="T6" fmla="*/ 57 w 127"/>
                <a:gd name="T7" fmla="*/ 109 h 119"/>
                <a:gd name="T8" fmla="*/ 42 w 127"/>
                <a:gd name="T9" fmla="*/ 119 h 119"/>
                <a:gd name="T10" fmla="*/ 83 w 127"/>
                <a:gd name="T11" fmla="*/ 119 h 119"/>
                <a:gd name="T12" fmla="*/ 70 w 127"/>
                <a:gd name="T13" fmla="*/ 109 h 119"/>
                <a:gd name="T14" fmla="*/ 70 w 127"/>
                <a:gd name="T15" fmla="*/ 70 h 119"/>
                <a:gd name="T16" fmla="*/ 70 w 127"/>
                <a:gd name="T17" fmla="*/ 67 h 119"/>
                <a:gd name="T18" fmla="*/ 70 w 127"/>
                <a:gd name="T19" fmla="*/ 63 h 119"/>
                <a:gd name="T20" fmla="*/ 106 w 127"/>
                <a:gd name="T21" fmla="*/ 23 h 119"/>
                <a:gd name="T22" fmla="*/ 127 w 127"/>
                <a:gd name="T23" fmla="*/ 0 h 119"/>
                <a:gd name="T24" fmla="*/ 96 w 127"/>
                <a:gd name="T25" fmla="*/ 0 h 119"/>
                <a:gd name="T26" fmla="*/ 0 w 127"/>
                <a:gd name="T27" fmla="*/ 0 h 119"/>
                <a:gd name="T28" fmla="*/ 57 w 127"/>
                <a:gd name="T29" fmla="*/ 6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119">
                  <a:moveTo>
                    <a:pt x="57" y="63"/>
                  </a:moveTo>
                  <a:cubicBezTo>
                    <a:pt x="57" y="67"/>
                    <a:pt x="57" y="67"/>
                    <a:pt x="57" y="67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48" y="110"/>
                    <a:pt x="42" y="114"/>
                    <a:pt x="42" y="119"/>
                  </a:cubicBezTo>
                  <a:cubicBezTo>
                    <a:pt x="83" y="119"/>
                    <a:pt x="83" y="119"/>
                    <a:pt x="83" y="119"/>
                  </a:cubicBezTo>
                  <a:cubicBezTo>
                    <a:pt x="83" y="114"/>
                    <a:pt x="78" y="110"/>
                    <a:pt x="70" y="109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6" name="ïsliḓè">
              <a:extLst>
                <a:ext uri="{FF2B5EF4-FFF2-40B4-BE49-F238E27FC236}">
                  <a16:creationId xmlns:a16="http://schemas.microsoft.com/office/drawing/2014/main" id="{16E42E1F-26CB-4EF3-AB59-024BC2D71F51}"/>
                </a:ext>
              </a:extLst>
            </p:cNvPr>
            <p:cNvSpPr/>
            <p:nvPr/>
          </p:nvSpPr>
          <p:spPr bwMode="auto">
            <a:xfrm flipH="1">
              <a:off x="1943748" y="6115225"/>
              <a:ext cx="310004" cy="77368"/>
            </a:xfrm>
            <a:custGeom>
              <a:avLst/>
              <a:gdLst>
                <a:gd name="T0" fmla="*/ 222 w 340"/>
                <a:gd name="T1" fmla="*/ 45 h 90"/>
                <a:gd name="T2" fmla="*/ 118 w 340"/>
                <a:gd name="T3" fmla="*/ 45 h 90"/>
                <a:gd name="T4" fmla="*/ 118 w 340"/>
                <a:gd name="T5" fmla="*/ 0 h 90"/>
                <a:gd name="T6" fmla="*/ 0 w 340"/>
                <a:gd name="T7" fmla="*/ 0 h 90"/>
                <a:gd name="T8" fmla="*/ 0 w 340"/>
                <a:gd name="T9" fmla="*/ 90 h 90"/>
                <a:gd name="T10" fmla="*/ 340 w 340"/>
                <a:gd name="T11" fmla="*/ 90 h 90"/>
                <a:gd name="T12" fmla="*/ 340 w 340"/>
                <a:gd name="T13" fmla="*/ 0 h 90"/>
                <a:gd name="T14" fmla="*/ 222 w 340"/>
                <a:gd name="T15" fmla="*/ 0 h 90"/>
                <a:gd name="T16" fmla="*/ 222 w 340"/>
                <a:gd name="T17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0" h="90">
                  <a:moveTo>
                    <a:pt x="222" y="45"/>
                  </a:moveTo>
                  <a:lnTo>
                    <a:pt x="118" y="45"/>
                  </a:lnTo>
                  <a:lnTo>
                    <a:pt x="118" y="0"/>
                  </a:lnTo>
                  <a:lnTo>
                    <a:pt x="0" y="0"/>
                  </a:lnTo>
                  <a:lnTo>
                    <a:pt x="0" y="90"/>
                  </a:lnTo>
                  <a:lnTo>
                    <a:pt x="340" y="90"/>
                  </a:lnTo>
                  <a:lnTo>
                    <a:pt x="340" y="0"/>
                  </a:lnTo>
                  <a:lnTo>
                    <a:pt x="222" y="0"/>
                  </a:lnTo>
                  <a:lnTo>
                    <a:pt x="22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7" name="îs1íḋè">
              <a:extLst>
                <a:ext uri="{FF2B5EF4-FFF2-40B4-BE49-F238E27FC236}">
                  <a16:creationId xmlns:a16="http://schemas.microsoft.com/office/drawing/2014/main" id="{33CE1F24-23D5-4851-A9C2-3A0463657FF4}"/>
                </a:ext>
              </a:extLst>
            </p:cNvPr>
            <p:cNvSpPr/>
            <p:nvPr/>
          </p:nvSpPr>
          <p:spPr bwMode="auto">
            <a:xfrm flipH="1">
              <a:off x="2068661" y="6115225"/>
              <a:ext cx="60177" cy="223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8" name="îŝļïḍè">
              <a:extLst>
                <a:ext uri="{FF2B5EF4-FFF2-40B4-BE49-F238E27FC236}">
                  <a16:creationId xmlns:a16="http://schemas.microsoft.com/office/drawing/2014/main" id="{F36CC47D-30CF-4DD0-BACB-66881126EDE4}"/>
                </a:ext>
              </a:extLst>
            </p:cNvPr>
            <p:cNvSpPr/>
            <p:nvPr/>
          </p:nvSpPr>
          <p:spPr bwMode="auto">
            <a:xfrm flipH="1">
              <a:off x="1943748" y="5944153"/>
              <a:ext cx="310004" cy="154738"/>
            </a:xfrm>
            <a:custGeom>
              <a:avLst/>
              <a:gdLst>
                <a:gd name="T0" fmla="*/ 253 w 340"/>
                <a:gd name="T1" fmla="*/ 0 h 180"/>
                <a:gd name="T2" fmla="*/ 170 w 340"/>
                <a:gd name="T3" fmla="*/ 0 h 180"/>
                <a:gd name="T4" fmla="*/ 170 w 340"/>
                <a:gd name="T5" fmla="*/ 31 h 180"/>
                <a:gd name="T6" fmla="*/ 224 w 340"/>
                <a:gd name="T7" fmla="*/ 31 h 180"/>
                <a:gd name="T8" fmla="*/ 224 w 340"/>
                <a:gd name="T9" fmla="*/ 67 h 180"/>
                <a:gd name="T10" fmla="*/ 170 w 340"/>
                <a:gd name="T11" fmla="*/ 67 h 180"/>
                <a:gd name="T12" fmla="*/ 170 w 340"/>
                <a:gd name="T13" fmla="*/ 180 h 180"/>
                <a:gd name="T14" fmla="*/ 222 w 340"/>
                <a:gd name="T15" fmla="*/ 180 h 180"/>
                <a:gd name="T16" fmla="*/ 340 w 340"/>
                <a:gd name="T17" fmla="*/ 180 h 180"/>
                <a:gd name="T18" fmla="*/ 340 w 340"/>
                <a:gd name="T19" fmla="*/ 67 h 180"/>
                <a:gd name="T20" fmla="*/ 253 w 340"/>
                <a:gd name="T21" fmla="*/ 67 h 180"/>
                <a:gd name="T22" fmla="*/ 253 w 340"/>
                <a:gd name="T23" fmla="*/ 0 h 180"/>
                <a:gd name="T24" fmla="*/ 170 w 340"/>
                <a:gd name="T25" fmla="*/ 0 h 180"/>
                <a:gd name="T26" fmla="*/ 87 w 340"/>
                <a:gd name="T27" fmla="*/ 0 h 180"/>
                <a:gd name="T28" fmla="*/ 87 w 340"/>
                <a:gd name="T29" fmla="*/ 67 h 180"/>
                <a:gd name="T30" fmla="*/ 0 w 340"/>
                <a:gd name="T31" fmla="*/ 67 h 180"/>
                <a:gd name="T32" fmla="*/ 0 w 340"/>
                <a:gd name="T33" fmla="*/ 180 h 180"/>
                <a:gd name="T34" fmla="*/ 118 w 340"/>
                <a:gd name="T35" fmla="*/ 180 h 180"/>
                <a:gd name="T36" fmla="*/ 170 w 340"/>
                <a:gd name="T37" fmla="*/ 180 h 180"/>
                <a:gd name="T38" fmla="*/ 170 w 340"/>
                <a:gd name="T39" fmla="*/ 67 h 180"/>
                <a:gd name="T40" fmla="*/ 116 w 340"/>
                <a:gd name="T41" fmla="*/ 67 h 180"/>
                <a:gd name="T42" fmla="*/ 116 w 340"/>
                <a:gd name="T43" fmla="*/ 67 h 180"/>
                <a:gd name="T44" fmla="*/ 116 w 340"/>
                <a:gd name="T45" fmla="*/ 31 h 180"/>
                <a:gd name="T46" fmla="*/ 170 w 340"/>
                <a:gd name="T47" fmla="*/ 31 h 180"/>
                <a:gd name="T48" fmla="*/ 170 w 340"/>
                <a:gd name="T4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0" h="180">
                  <a:moveTo>
                    <a:pt x="253" y="0"/>
                  </a:moveTo>
                  <a:lnTo>
                    <a:pt x="170" y="0"/>
                  </a:lnTo>
                  <a:lnTo>
                    <a:pt x="170" y="31"/>
                  </a:lnTo>
                  <a:lnTo>
                    <a:pt x="224" y="31"/>
                  </a:lnTo>
                  <a:lnTo>
                    <a:pt x="224" y="67"/>
                  </a:lnTo>
                  <a:lnTo>
                    <a:pt x="170" y="67"/>
                  </a:lnTo>
                  <a:lnTo>
                    <a:pt x="170" y="180"/>
                  </a:lnTo>
                  <a:lnTo>
                    <a:pt x="222" y="180"/>
                  </a:lnTo>
                  <a:lnTo>
                    <a:pt x="340" y="180"/>
                  </a:lnTo>
                  <a:lnTo>
                    <a:pt x="340" y="67"/>
                  </a:lnTo>
                  <a:lnTo>
                    <a:pt x="253" y="67"/>
                  </a:lnTo>
                  <a:lnTo>
                    <a:pt x="253" y="0"/>
                  </a:lnTo>
                  <a:close/>
                  <a:moveTo>
                    <a:pt x="170" y="0"/>
                  </a:moveTo>
                  <a:lnTo>
                    <a:pt x="87" y="0"/>
                  </a:lnTo>
                  <a:lnTo>
                    <a:pt x="87" y="67"/>
                  </a:lnTo>
                  <a:lnTo>
                    <a:pt x="0" y="67"/>
                  </a:lnTo>
                  <a:lnTo>
                    <a:pt x="0" y="180"/>
                  </a:lnTo>
                  <a:lnTo>
                    <a:pt x="118" y="180"/>
                  </a:lnTo>
                  <a:lnTo>
                    <a:pt x="170" y="180"/>
                  </a:lnTo>
                  <a:lnTo>
                    <a:pt x="170" y="67"/>
                  </a:lnTo>
                  <a:lnTo>
                    <a:pt x="116" y="67"/>
                  </a:lnTo>
                  <a:lnTo>
                    <a:pt x="116" y="67"/>
                  </a:lnTo>
                  <a:lnTo>
                    <a:pt x="116" y="31"/>
                  </a:lnTo>
                  <a:lnTo>
                    <a:pt x="170" y="31"/>
                  </a:lnTo>
                  <a:lnTo>
                    <a:pt x="1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9" name="ïṥľíḋê">
              <a:extLst>
                <a:ext uri="{FF2B5EF4-FFF2-40B4-BE49-F238E27FC236}">
                  <a16:creationId xmlns:a16="http://schemas.microsoft.com/office/drawing/2014/main" id="{C67B5054-651E-43D4-B4C8-23680293FF45}"/>
                </a:ext>
              </a:extLst>
            </p:cNvPr>
            <p:cNvSpPr/>
            <p:nvPr/>
          </p:nvSpPr>
          <p:spPr bwMode="auto">
            <a:xfrm flipH="1">
              <a:off x="4155723" y="2373993"/>
              <a:ext cx="226121" cy="189124"/>
            </a:xfrm>
            <a:custGeom>
              <a:avLst/>
              <a:gdLst>
                <a:gd name="T0" fmla="*/ 0 w 248"/>
                <a:gd name="T1" fmla="*/ 88 h 220"/>
                <a:gd name="T2" fmla="*/ 0 w 248"/>
                <a:gd name="T3" fmla="*/ 189 h 220"/>
                <a:gd name="T4" fmla="*/ 5 w 248"/>
                <a:gd name="T5" fmla="*/ 189 h 220"/>
                <a:gd name="T6" fmla="*/ 40 w 248"/>
                <a:gd name="T7" fmla="*/ 189 h 220"/>
                <a:gd name="T8" fmla="*/ 50 w 248"/>
                <a:gd name="T9" fmla="*/ 189 h 220"/>
                <a:gd name="T10" fmla="*/ 50 w 248"/>
                <a:gd name="T11" fmla="*/ 199 h 220"/>
                <a:gd name="T12" fmla="*/ 50 w 248"/>
                <a:gd name="T13" fmla="*/ 220 h 220"/>
                <a:gd name="T14" fmla="*/ 64 w 248"/>
                <a:gd name="T15" fmla="*/ 220 h 220"/>
                <a:gd name="T16" fmla="*/ 64 w 248"/>
                <a:gd name="T17" fmla="*/ 199 h 220"/>
                <a:gd name="T18" fmla="*/ 64 w 248"/>
                <a:gd name="T19" fmla="*/ 189 h 220"/>
                <a:gd name="T20" fmla="*/ 73 w 248"/>
                <a:gd name="T21" fmla="*/ 189 h 220"/>
                <a:gd name="T22" fmla="*/ 109 w 248"/>
                <a:gd name="T23" fmla="*/ 189 h 220"/>
                <a:gd name="T24" fmla="*/ 118 w 248"/>
                <a:gd name="T25" fmla="*/ 189 h 220"/>
                <a:gd name="T26" fmla="*/ 118 w 248"/>
                <a:gd name="T27" fmla="*/ 199 h 220"/>
                <a:gd name="T28" fmla="*/ 118 w 248"/>
                <a:gd name="T29" fmla="*/ 220 h 220"/>
                <a:gd name="T30" fmla="*/ 130 w 248"/>
                <a:gd name="T31" fmla="*/ 220 h 220"/>
                <a:gd name="T32" fmla="*/ 130 w 248"/>
                <a:gd name="T33" fmla="*/ 199 h 220"/>
                <a:gd name="T34" fmla="*/ 130 w 248"/>
                <a:gd name="T35" fmla="*/ 189 h 220"/>
                <a:gd name="T36" fmla="*/ 139 w 248"/>
                <a:gd name="T37" fmla="*/ 189 h 220"/>
                <a:gd name="T38" fmla="*/ 175 w 248"/>
                <a:gd name="T39" fmla="*/ 189 h 220"/>
                <a:gd name="T40" fmla="*/ 184 w 248"/>
                <a:gd name="T41" fmla="*/ 189 h 220"/>
                <a:gd name="T42" fmla="*/ 184 w 248"/>
                <a:gd name="T43" fmla="*/ 199 h 220"/>
                <a:gd name="T44" fmla="*/ 184 w 248"/>
                <a:gd name="T45" fmla="*/ 220 h 220"/>
                <a:gd name="T46" fmla="*/ 199 w 248"/>
                <a:gd name="T47" fmla="*/ 220 h 220"/>
                <a:gd name="T48" fmla="*/ 199 w 248"/>
                <a:gd name="T49" fmla="*/ 199 h 220"/>
                <a:gd name="T50" fmla="*/ 199 w 248"/>
                <a:gd name="T51" fmla="*/ 189 h 220"/>
                <a:gd name="T52" fmla="*/ 208 w 248"/>
                <a:gd name="T53" fmla="*/ 189 h 220"/>
                <a:gd name="T54" fmla="*/ 241 w 248"/>
                <a:gd name="T55" fmla="*/ 189 h 220"/>
                <a:gd name="T56" fmla="*/ 248 w 248"/>
                <a:gd name="T57" fmla="*/ 189 h 220"/>
                <a:gd name="T58" fmla="*/ 248 w 248"/>
                <a:gd name="T59" fmla="*/ 88 h 220"/>
                <a:gd name="T60" fmla="*/ 232 w 248"/>
                <a:gd name="T61" fmla="*/ 88 h 220"/>
                <a:gd name="T62" fmla="*/ 232 w 248"/>
                <a:gd name="T63" fmla="*/ 109 h 220"/>
                <a:gd name="T64" fmla="*/ 208 w 248"/>
                <a:gd name="T65" fmla="*/ 109 h 220"/>
                <a:gd name="T66" fmla="*/ 208 w 248"/>
                <a:gd name="T67" fmla="*/ 88 h 220"/>
                <a:gd name="T68" fmla="*/ 184 w 248"/>
                <a:gd name="T69" fmla="*/ 88 h 220"/>
                <a:gd name="T70" fmla="*/ 184 w 248"/>
                <a:gd name="T71" fmla="*/ 109 h 220"/>
                <a:gd name="T72" fmla="*/ 161 w 248"/>
                <a:gd name="T73" fmla="*/ 109 h 220"/>
                <a:gd name="T74" fmla="*/ 161 w 248"/>
                <a:gd name="T75" fmla="*/ 88 h 220"/>
                <a:gd name="T76" fmla="*/ 139 w 248"/>
                <a:gd name="T77" fmla="*/ 88 h 220"/>
                <a:gd name="T78" fmla="*/ 139 w 248"/>
                <a:gd name="T79" fmla="*/ 0 h 220"/>
                <a:gd name="T80" fmla="*/ 109 w 248"/>
                <a:gd name="T81" fmla="*/ 0 h 220"/>
                <a:gd name="T82" fmla="*/ 109 w 248"/>
                <a:gd name="T83" fmla="*/ 88 h 220"/>
                <a:gd name="T84" fmla="*/ 87 w 248"/>
                <a:gd name="T85" fmla="*/ 88 h 220"/>
                <a:gd name="T86" fmla="*/ 87 w 248"/>
                <a:gd name="T87" fmla="*/ 109 h 220"/>
                <a:gd name="T88" fmla="*/ 64 w 248"/>
                <a:gd name="T89" fmla="*/ 109 h 220"/>
                <a:gd name="T90" fmla="*/ 64 w 248"/>
                <a:gd name="T91" fmla="*/ 88 h 220"/>
                <a:gd name="T92" fmla="*/ 40 w 248"/>
                <a:gd name="T93" fmla="*/ 88 h 220"/>
                <a:gd name="T94" fmla="*/ 40 w 248"/>
                <a:gd name="T95" fmla="*/ 109 h 220"/>
                <a:gd name="T96" fmla="*/ 16 w 248"/>
                <a:gd name="T97" fmla="*/ 109 h 220"/>
                <a:gd name="T98" fmla="*/ 16 w 248"/>
                <a:gd name="T99" fmla="*/ 88 h 220"/>
                <a:gd name="T100" fmla="*/ 0 w 248"/>
                <a:gd name="T101" fmla="*/ 8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8" h="220">
                  <a:moveTo>
                    <a:pt x="0" y="88"/>
                  </a:moveTo>
                  <a:lnTo>
                    <a:pt x="0" y="189"/>
                  </a:lnTo>
                  <a:lnTo>
                    <a:pt x="5" y="189"/>
                  </a:lnTo>
                  <a:lnTo>
                    <a:pt x="40" y="189"/>
                  </a:lnTo>
                  <a:lnTo>
                    <a:pt x="50" y="189"/>
                  </a:lnTo>
                  <a:lnTo>
                    <a:pt x="50" y="199"/>
                  </a:lnTo>
                  <a:lnTo>
                    <a:pt x="50" y="220"/>
                  </a:lnTo>
                  <a:lnTo>
                    <a:pt x="64" y="220"/>
                  </a:lnTo>
                  <a:lnTo>
                    <a:pt x="64" y="199"/>
                  </a:lnTo>
                  <a:lnTo>
                    <a:pt x="64" y="189"/>
                  </a:lnTo>
                  <a:lnTo>
                    <a:pt x="73" y="189"/>
                  </a:lnTo>
                  <a:lnTo>
                    <a:pt x="109" y="189"/>
                  </a:lnTo>
                  <a:lnTo>
                    <a:pt x="118" y="189"/>
                  </a:lnTo>
                  <a:lnTo>
                    <a:pt x="118" y="199"/>
                  </a:lnTo>
                  <a:lnTo>
                    <a:pt x="118" y="220"/>
                  </a:lnTo>
                  <a:lnTo>
                    <a:pt x="130" y="220"/>
                  </a:lnTo>
                  <a:lnTo>
                    <a:pt x="130" y="199"/>
                  </a:lnTo>
                  <a:lnTo>
                    <a:pt x="130" y="189"/>
                  </a:lnTo>
                  <a:lnTo>
                    <a:pt x="139" y="189"/>
                  </a:lnTo>
                  <a:lnTo>
                    <a:pt x="175" y="189"/>
                  </a:lnTo>
                  <a:lnTo>
                    <a:pt x="184" y="189"/>
                  </a:lnTo>
                  <a:lnTo>
                    <a:pt x="184" y="199"/>
                  </a:lnTo>
                  <a:lnTo>
                    <a:pt x="184" y="220"/>
                  </a:lnTo>
                  <a:lnTo>
                    <a:pt x="199" y="220"/>
                  </a:lnTo>
                  <a:lnTo>
                    <a:pt x="199" y="199"/>
                  </a:lnTo>
                  <a:lnTo>
                    <a:pt x="199" y="189"/>
                  </a:lnTo>
                  <a:lnTo>
                    <a:pt x="208" y="189"/>
                  </a:lnTo>
                  <a:lnTo>
                    <a:pt x="241" y="189"/>
                  </a:lnTo>
                  <a:lnTo>
                    <a:pt x="248" y="189"/>
                  </a:lnTo>
                  <a:lnTo>
                    <a:pt x="248" y="88"/>
                  </a:lnTo>
                  <a:lnTo>
                    <a:pt x="232" y="88"/>
                  </a:lnTo>
                  <a:lnTo>
                    <a:pt x="232" y="109"/>
                  </a:lnTo>
                  <a:lnTo>
                    <a:pt x="208" y="109"/>
                  </a:lnTo>
                  <a:lnTo>
                    <a:pt x="208" y="88"/>
                  </a:lnTo>
                  <a:lnTo>
                    <a:pt x="184" y="88"/>
                  </a:lnTo>
                  <a:lnTo>
                    <a:pt x="184" y="109"/>
                  </a:lnTo>
                  <a:lnTo>
                    <a:pt x="161" y="109"/>
                  </a:lnTo>
                  <a:lnTo>
                    <a:pt x="161" y="88"/>
                  </a:lnTo>
                  <a:lnTo>
                    <a:pt x="139" y="88"/>
                  </a:lnTo>
                  <a:lnTo>
                    <a:pt x="139" y="0"/>
                  </a:lnTo>
                  <a:lnTo>
                    <a:pt x="109" y="0"/>
                  </a:lnTo>
                  <a:lnTo>
                    <a:pt x="109" y="88"/>
                  </a:lnTo>
                  <a:lnTo>
                    <a:pt x="87" y="88"/>
                  </a:lnTo>
                  <a:lnTo>
                    <a:pt x="87" y="109"/>
                  </a:lnTo>
                  <a:lnTo>
                    <a:pt x="64" y="109"/>
                  </a:lnTo>
                  <a:lnTo>
                    <a:pt x="64" y="88"/>
                  </a:lnTo>
                  <a:lnTo>
                    <a:pt x="40" y="88"/>
                  </a:lnTo>
                  <a:lnTo>
                    <a:pt x="40" y="109"/>
                  </a:lnTo>
                  <a:lnTo>
                    <a:pt x="16" y="109"/>
                  </a:lnTo>
                  <a:lnTo>
                    <a:pt x="16" y="88"/>
                  </a:lnTo>
                  <a:lnTo>
                    <a:pt x="0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0" name="ï$ļíďé">
              <a:extLst>
                <a:ext uri="{FF2B5EF4-FFF2-40B4-BE49-F238E27FC236}">
                  <a16:creationId xmlns:a16="http://schemas.microsoft.com/office/drawing/2014/main" id="{4E1AA239-41B2-41A9-A510-D7DC9ED9D4CF}"/>
                </a:ext>
              </a:extLst>
            </p:cNvPr>
            <p:cNvSpPr/>
            <p:nvPr/>
          </p:nvSpPr>
          <p:spPr bwMode="auto">
            <a:xfrm flipH="1">
              <a:off x="4110134" y="2545064"/>
              <a:ext cx="317299" cy="154738"/>
            </a:xfrm>
            <a:custGeom>
              <a:avLst/>
              <a:gdLst>
                <a:gd name="T0" fmla="*/ 348 w 348"/>
                <a:gd name="T1" fmla="*/ 0 h 180"/>
                <a:gd name="T2" fmla="*/ 324 w 348"/>
                <a:gd name="T3" fmla="*/ 0 h 180"/>
                <a:gd name="T4" fmla="*/ 324 w 348"/>
                <a:gd name="T5" fmla="*/ 31 h 180"/>
                <a:gd name="T6" fmla="*/ 298 w 348"/>
                <a:gd name="T7" fmla="*/ 31 h 180"/>
                <a:gd name="T8" fmla="*/ 291 w 348"/>
                <a:gd name="T9" fmla="*/ 31 h 180"/>
                <a:gd name="T10" fmla="*/ 291 w 348"/>
                <a:gd name="T11" fmla="*/ 0 h 180"/>
                <a:gd name="T12" fmla="*/ 258 w 348"/>
                <a:gd name="T13" fmla="*/ 0 h 180"/>
                <a:gd name="T14" fmla="*/ 258 w 348"/>
                <a:gd name="T15" fmla="*/ 31 h 180"/>
                <a:gd name="T16" fmla="*/ 225 w 348"/>
                <a:gd name="T17" fmla="*/ 31 h 180"/>
                <a:gd name="T18" fmla="*/ 225 w 348"/>
                <a:gd name="T19" fmla="*/ 0 h 180"/>
                <a:gd name="T20" fmla="*/ 189 w 348"/>
                <a:gd name="T21" fmla="*/ 0 h 180"/>
                <a:gd name="T22" fmla="*/ 189 w 348"/>
                <a:gd name="T23" fmla="*/ 31 h 180"/>
                <a:gd name="T24" fmla="*/ 159 w 348"/>
                <a:gd name="T25" fmla="*/ 31 h 180"/>
                <a:gd name="T26" fmla="*/ 159 w 348"/>
                <a:gd name="T27" fmla="*/ 0 h 180"/>
                <a:gd name="T28" fmla="*/ 123 w 348"/>
                <a:gd name="T29" fmla="*/ 0 h 180"/>
                <a:gd name="T30" fmla="*/ 123 w 348"/>
                <a:gd name="T31" fmla="*/ 31 h 180"/>
                <a:gd name="T32" fmla="*/ 90 w 348"/>
                <a:gd name="T33" fmla="*/ 31 h 180"/>
                <a:gd name="T34" fmla="*/ 90 w 348"/>
                <a:gd name="T35" fmla="*/ 0 h 180"/>
                <a:gd name="T36" fmla="*/ 55 w 348"/>
                <a:gd name="T37" fmla="*/ 0 h 180"/>
                <a:gd name="T38" fmla="*/ 55 w 348"/>
                <a:gd name="T39" fmla="*/ 31 h 180"/>
                <a:gd name="T40" fmla="*/ 50 w 348"/>
                <a:gd name="T41" fmla="*/ 31 h 180"/>
                <a:gd name="T42" fmla="*/ 24 w 348"/>
                <a:gd name="T43" fmla="*/ 31 h 180"/>
                <a:gd name="T44" fmla="*/ 24 w 348"/>
                <a:gd name="T45" fmla="*/ 0 h 180"/>
                <a:gd name="T46" fmla="*/ 0 w 348"/>
                <a:gd name="T47" fmla="*/ 0 h 180"/>
                <a:gd name="T48" fmla="*/ 0 w 348"/>
                <a:gd name="T49" fmla="*/ 180 h 180"/>
                <a:gd name="T50" fmla="*/ 133 w 348"/>
                <a:gd name="T51" fmla="*/ 180 h 180"/>
                <a:gd name="T52" fmla="*/ 133 w 348"/>
                <a:gd name="T53" fmla="*/ 109 h 180"/>
                <a:gd name="T54" fmla="*/ 225 w 348"/>
                <a:gd name="T55" fmla="*/ 109 h 180"/>
                <a:gd name="T56" fmla="*/ 225 w 348"/>
                <a:gd name="T57" fmla="*/ 180 h 180"/>
                <a:gd name="T58" fmla="*/ 348 w 348"/>
                <a:gd name="T59" fmla="*/ 180 h 180"/>
                <a:gd name="T60" fmla="*/ 348 w 348"/>
                <a:gd name="T61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8" h="180">
                  <a:moveTo>
                    <a:pt x="348" y="0"/>
                  </a:moveTo>
                  <a:lnTo>
                    <a:pt x="324" y="0"/>
                  </a:lnTo>
                  <a:lnTo>
                    <a:pt x="324" y="31"/>
                  </a:lnTo>
                  <a:lnTo>
                    <a:pt x="298" y="31"/>
                  </a:lnTo>
                  <a:lnTo>
                    <a:pt x="291" y="31"/>
                  </a:lnTo>
                  <a:lnTo>
                    <a:pt x="291" y="0"/>
                  </a:lnTo>
                  <a:lnTo>
                    <a:pt x="258" y="0"/>
                  </a:lnTo>
                  <a:lnTo>
                    <a:pt x="258" y="31"/>
                  </a:lnTo>
                  <a:lnTo>
                    <a:pt x="225" y="31"/>
                  </a:lnTo>
                  <a:lnTo>
                    <a:pt x="225" y="0"/>
                  </a:lnTo>
                  <a:lnTo>
                    <a:pt x="189" y="0"/>
                  </a:lnTo>
                  <a:lnTo>
                    <a:pt x="189" y="31"/>
                  </a:lnTo>
                  <a:lnTo>
                    <a:pt x="159" y="31"/>
                  </a:lnTo>
                  <a:lnTo>
                    <a:pt x="159" y="0"/>
                  </a:lnTo>
                  <a:lnTo>
                    <a:pt x="123" y="0"/>
                  </a:lnTo>
                  <a:lnTo>
                    <a:pt x="123" y="31"/>
                  </a:lnTo>
                  <a:lnTo>
                    <a:pt x="90" y="31"/>
                  </a:lnTo>
                  <a:lnTo>
                    <a:pt x="90" y="0"/>
                  </a:lnTo>
                  <a:lnTo>
                    <a:pt x="55" y="0"/>
                  </a:lnTo>
                  <a:lnTo>
                    <a:pt x="55" y="31"/>
                  </a:lnTo>
                  <a:lnTo>
                    <a:pt x="50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80"/>
                  </a:lnTo>
                  <a:lnTo>
                    <a:pt x="133" y="180"/>
                  </a:lnTo>
                  <a:lnTo>
                    <a:pt x="133" y="109"/>
                  </a:lnTo>
                  <a:lnTo>
                    <a:pt x="225" y="109"/>
                  </a:lnTo>
                  <a:lnTo>
                    <a:pt x="225" y="180"/>
                  </a:lnTo>
                  <a:lnTo>
                    <a:pt x="348" y="180"/>
                  </a:lnTo>
                  <a:lnTo>
                    <a:pt x="3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1" name="iṡḷîḓê">
              <a:extLst>
                <a:ext uri="{FF2B5EF4-FFF2-40B4-BE49-F238E27FC236}">
                  <a16:creationId xmlns:a16="http://schemas.microsoft.com/office/drawing/2014/main" id="{0BD25089-0AA0-44DC-8CC1-29DBA81CEB73}"/>
                </a:ext>
              </a:extLst>
            </p:cNvPr>
            <p:cNvSpPr/>
            <p:nvPr/>
          </p:nvSpPr>
          <p:spPr bwMode="auto">
            <a:xfrm flipH="1">
              <a:off x="4149340" y="2380010"/>
              <a:ext cx="90266" cy="55018"/>
            </a:xfrm>
            <a:custGeom>
              <a:avLst/>
              <a:gdLst>
                <a:gd name="T0" fmla="*/ 0 w 99"/>
                <a:gd name="T1" fmla="*/ 0 h 64"/>
                <a:gd name="T2" fmla="*/ 0 w 99"/>
                <a:gd name="T3" fmla="*/ 64 h 64"/>
                <a:gd name="T4" fmla="*/ 99 w 99"/>
                <a:gd name="T5" fmla="*/ 33 h 64"/>
                <a:gd name="T6" fmla="*/ 0 w 99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64">
                  <a:moveTo>
                    <a:pt x="0" y="0"/>
                  </a:moveTo>
                  <a:lnTo>
                    <a:pt x="0" y="64"/>
                  </a:lnTo>
                  <a:lnTo>
                    <a:pt x="99" y="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2" name="îṣ1îďê">
              <a:extLst>
                <a:ext uri="{FF2B5EF4-FFF2-40B4-BE49-F238E27FC236}">
                  <a16:creationId xmlns:a16="http://schemas.microsoft.com/office/drawing/2014/main" id="{2FC70759-AF38-4031-973B-87F75A17ECC6}"/>
                </a:ext>
              </a:extLst>
            </p:cNvPr>
            <p:cNvSpPr/>
            <p:nvPr/>
          </p:nvSpPr>
          <p:spPr bwMode="auto">
            <a:xfrm flipH="1">
              <a:off x="1653801" y="4995090"/>
              <a:ext cx="330976" cy="318933"/>
            </a:xfrm>
            <a:custGeom>
              <a:avLst/>
              <a:gdLst>
                <a:gd name="T0" fmla="*/ 77 w 153"/>
                <a:gd name="T1" fmla="*/ 0 h 157"/>
                <a:gd name="T2" fmla="*/ 60 w 153"/>
                <a:gd name="T3" fmla="*/ 34 h 157"/>
                <a:gd name="T4" fmla="*/ 60 w 153"/>
                <a:gd name="T5" fmla="*/ 58 h 157"/>
                <a:gd name="T6" fmla="*/ 0 w 153"/>
                <a:gd name="T7" fmla="*/ 83 h 157"/>
                <a:gd name="T8" fmla="*/ 0 w 153"/>
                <a:gd name="T9" fmla="*/ 100 h 157"/>
                <a:gd name="T10" fmla="*/ 60 w 153"/>
                <a:gd name="T11" fmla="*/ 88 h 157"/>
                <a:gd name="T12" fmla="*/ 60 w 153"/>
                <a:gd name="T13" fmla="*/ 122 h 157"/>
                <a:gd name="T14" fmla="*/ 34 w 153"/>
                <a:gd name="T15" fmla="*/ 140 h 157"/>
                <a:gd name="T16" fmla="*/ 34 w 153"/>
                <a:gd name="T17" fmla="*/ 157 h 157"/>
                <a:gd name="T18" fmla="*/ 76 w 153"/>
                <a:gd name="T19" fmla="*/ 142 h 157"/>
                <a:gd name="T20" fmla="*/ 118 w 153"/>
                <a:gd name="T21" fmla="*/ 157 h 157"/>
                <a:gd name="T22" fmla="*/ 118 w 153"/>
                <a:gd name="T23" fmla="*/ 140 h 157"/>
                <a:gd name="T24" fmla="*/ 94 w 153"/>
                <a:gd name="T25" fmla="*/ 122 h 157"/>
                <a:gd name="T26" fmla="*/ 94 w 153"/>
                <a:gd name="T27" fmla="*/ 88 h 157"/>
                <a:gd name="T28" fmla="*/ 153 w 153"/>
                <a:gd name="T29" fmla="*/ 100 h 157"/>
                <a:gd name="T30" fmla="*/ 153 w 153"/>
                <a:gd name="T31" fmla="*/ 83 h 157"/>
                <a:gd name="T32" fmla="*/ 94 w 153"/>
                <a:gd name="T33" fmla="*/ 58 h 157"/>
                <a:gd name="T34" fmla="*/ 94 w 153"/>
                <a:gd name="T35" fmla="*/ 34 h 157"/>
                <a:gd name="T36" fmla="*/ 77 w 153"/>
                <a:gd name="T3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3" h="157">
                  <a:moveTo>
                    <a:pt x="77" y="0"/>
                  </a:moveTo>
                  <a:cubicBezTo>
                    <a:pt x="67" y="0"/>
                    <a:pt x="60" y="24"/>
                    <a:pt x="60" y="3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40"/>
                    <a:pt x="118" y="140"/>
                    <a:pt x="118" y="140"/>
                  </a:cubicBezTo>
                  <a:cubicBezTo>
                    <a:pt x="94" y="122"/>
                    <a:pt x="94" y="122"/>
                    <a:pt x="94" y="122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53" y="83"/>
                    <a:pt x="153" y="83"/>
                    <a:pt x="153" y="83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24"/>
                    <a:pt x="86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3" name="îşľíḍè">
              <a:extLst>
                <a:ext uri="{FF2B5EF4-FFF2-40B4-BE49-F238E27FC236}">
                  <a16:creationId xmlns:a16="http://schemas.microsoft.com/office/drawing/2014/main" id="{C66D425A-BA60-4FB1-B409-CDA5222FBAA1}"/>
                </a:ext>
              </a:extLst>
            </p:cNvPr>
            <p:cNvSpPr/>
            <p:nvPr/>
          </p:nvSpPr>
          <p:spPr bwMode="auto">
            <a:xfrm flipH="1">
              <a:off x="3063412" y="1668214"/>
              <a:ext cx="328241" cy="81668"/>
            </a:xfrm>
            <a:custGeom>
              <a:avLst/>
              <a:gdLst>
                <a:gd name="T0" fmla="*/ 50 w 360"/>
                <a:gd name="T1" fmla="*/ 95 h 95"/>
                <a:gd name="T2" fmla="*/ 57 w 360"/>
                <a:gd name="T3" fmla="*/ 95 h 95"/>
                <a:gd name="T4" fmla="*/ 303 w 360"/>
                <a:gd name="T5" fmla="*/ 95 h 95"/>
                <a:gd name="T6" fmla="*/ 308 w 360"/>
                <a:gd name="T7" fmla="*/ 95 h 95"/>
                <a:gd name="T8" fmla="*/ 360 w 360"/>
                <a:gd name="T9" fmla="*/ 0 h 95"/>
                <a:gd name="T10" fmla="*/ 358 w 360"/>
                <a:gd name="T11" fmla="*/ 0 h 95"/>
                <a:gd name="T12" fmla="*/ 306 w 360"/>
                <a:gd name="T13" fmla="*/ 0 h 95"/>
                <a:gd name="T14" fmla="*/ 263 w 360"/>
                <a:gd name="T15" fmla="*/ 0 h 95"/>
                <a:gd name="T16" fmla="*/ 97 w 360"/>
                <a:gd name="T17" fmla="*/ 0 h 95"/>
                <a:gd name="T18" fmla="*/ 55 w 360"/>
                <a:gd name="T19" fmla="*/ 0 h 95"/>
                <a:gd name="T20" fmla="*/ 0 w 360"/>
                <a:gd name="T21" fmla="*/ 0 h 95"/>
                <a:gd name="T22" fmla="*/ 50 w 360"/>
                <a:gd name="T2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0" h="95">
                  <a:moveTo>
                    <a:pt x="50" y="95"/>
                  </a:moveTo>
                  <a:lnTo>
                    <a:pt x="57" y="95"/>
                  </a:lnTo>
                  <a:lnTo>
                    <a:pt x="303" y="95"/>
                  </a:lnTo>
                  <a:lnTo>
                    <a:pt x="308" y="95"/>
                  </a:lnTo>
                  <a:lnTo>
                    <a:pt x="360" y="0"/>
                  </a:lnTo>
                  <a:lnTo>
                    <a:pt x="358" y="0"/>
                  </a:lnTo>
                  <a:lnTo>
                    <a:pt x="306" y="0"/>
                  </a:lnTo>
                  <a:lnTo>
                    <a:pt x="263" y="0"/>
                  </a:lnTo>
                  <a:lnTo>
                    <a:pt x="97" y="0"/>
                  </a:lnTo>
                  <a:lnTo>
                    <a:pt x="55" y="0"/>
                  </a:lnTo>
                  <a:lnTo>
                    <a:pt x="0" y="0"/>
                  </a:lnTo>
                  <a:lnTo>
                    <a:pt x="5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4" name="í$ľíḓê">
              <a:extLst>
                <a:ext uri="{FF2B5EF4-FFF2-40B4-BE49-F238E27FC236}">
                  <a16:creationId xmlns:a16="http://schemas.microsoft.com/office/drawing/2014/main" id="{DF6844C7-4440-43B5-9FEB-B4322EABA16C}"/>
                </a:ext>
              </a:extLst>
            </p:cNvPr>
            <p:cNvSpPr/>
            <p:nvPr/>
          </p:nvSpPr>
          <p:spPr bwMode="auto">
            <a:xfrm flipH="1">
              <a:off x="3065235" y="1687125"/>
              <a:ext cx="326417" cy="146142"/>
            </a:xfrm>
            <a:custGeom>
              <a:avLst/>
              <a:gdLst>
                <a:gd name="T0" fmla="*/ 0 w 151"/>
                <a:gd name="T1" fmla="*/ 72 h 72"/>
                <a:gd name="T2" fmla="*/ 151 w 151"/>
                <a:gd name="T3" fmla="*/ 72 h 72"/>
                <a:gd name="T4" fmla="*/ 151 w 151"/>
                <a:gd name="T5" fmla="*/ 0 h 72"/>
                <a:gd name="T6" fmla="*/ 134 w 151"/>
                <a:gd name="T7" fmla="*/ 33 h 72"/>
                <a:gd name="T8" fmla="*/ 133 w 151"/>
                <a:gd name="T9" fmla="*/ 36 h 72"/>
                <a:gd name="T10" fmla="*/ 130 w 151"/>
                <a:gd name="T11" fmla="*/ 36 h 72"/>
                <a:gd name="T12" fmla="*/ 125 w 151"/>
                <a:gd name="T13" fmla="*/ 36 h 72"/>
                <a:gd name="T14" fmla="*/ 87 w 151"/>
                <a:gd name="T15" fmla="*/ 36 h 72"/>
                <a:gd name="T16" fmla="*/ 88 w 151"/>
                <a:gd name="T17" fmla="*/ 37 h 72"/>
                <a:gd name="T18" fmla="*/ 86 w 151"/>
                <a:gd name="T19" fmla="*/ 44 h 72"/>
                <a:gd name="T20" fmla="*/ 76 w 151"/>
                <a:gd name="T21" fmla="*/ 49 h 72"/>
                <a:gd name="T22" fmla="*/ 66 w 151"/>
                <a:gd name="T23" fmla="*/ 44 h 72"/>
                <a:gd name="T24" fmla="*/ 64 w 151"/>
                <a:gd name="T25" fmla="*/ 37 h 72"/>
                <a:gd name="T26" fmla="*/ 64 w 151"/>
                <a:gd name="T27" fmla="*/ 36 h 72"/>
                <a:gd name="T28" fmla="*/ 27 w 151"/>
                <a:gd name="T29" fmla="*/ 36 h 72"/>
                <a:gd name="T30" fmla="*/ 21 w 151"/>
                <a:gd name="T31" fmla="*/ 36 h 72"/>
                <a:gd name="T32" fmla="*/ 18 w 151"/>
                <a:gd name="T33" fmla="*/ 36 h 72"/>
                <a:gd name="T34" fmla="*/ 16 w 151"/>
                <a:gd name="T35" fmla="*/ 33 h 72"/>
                <a:gd name="T36" fmla="*/ 0 w 151"/>
                <a:gd name="T37" fmla="*/ 0 h 72"/>
                <a:gd name="T38" fmla="*/ 0 w 151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72">
                  <a:moveTo>
                    <a:pt x="0" y="72"/>
                  </a:moveTo>
                  <a:cubicBezTo>
                    <a:pt x="151" y="72"/>
                    <a:pt x="151" y="72"/>
                    <a:pt x="151" y="72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8" y="36"/>
                    <a:pt x="88" y="37"/>
                    <a:pt x="88" y="37"/>
                  </a:cubicBezTo>
                  <a:cubicBezTo>
                    <a:pt x="88" y="40"/>
                    <a:pt x="87" y="42"/>
                    <a:pt x="86" y="44"/>
                  </a:cubicBezTo>
                  <a:cubicBezTo>
                    <a:pt x="84" y="47"/>
                    <a:pt x="80" y="49"/>
                    <a:pt x="76" y="49"/>
                  </a:cubicBezTo>
                  <a:cubicBezTo>
                    <a:pt x="72" y="49"/>
                    <a:pt x="68" y="47"/>
                    <a:pt x="66" y="44"/>
                  </a:cubicBezTo>
                  <a:cubicBezTo>
                    <a:pt x="65" y="42"/>
                    <a:pt x="64" y="40"/>
                    <a:pt x="64" y="37"/>
                  </a:cubicBezTo>
                  <a:cubicBezTo>
                    <a:pt x="64" y="37"/>
                    <a:pt x="64" y="36"/>
                    <a:pt x="64" y="36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5" name="ïŝḻíḋé">
              <a:extLst>
                <a:ext uri="{FF2B5EF4-FFF2-40B4-BE49-F238E27FC236}">
                  <a16:creationId xmlns:a16="http://schemas.microsoft.com/office/drawing/2014/main" id="{29C880AB-FC02-4F84-819E-4A7FD894B26C}"/>
                </a:ext>
              </a:extLst>
            </p:cNvPr>
            <p:cNvSpPr/>
            <p:nvPr/>
          </p:nvSpPr>
          <p:spPr bwMode="auto">
            <a:xfrm flipH="1">
              <a:off x="3112647" y="1559038"/>
              <a:ext cx="228857" cy="99720"/>
            </a:xfrm>
            <a:custGeom>
              <a:avLst/>
              <a:gdLst>
                <a:gd name="T0" fmla="*/ 106 w 106"/>
                <a:gd name="T1" fmla="*/ 49 h 49"/>
                <a:gd name="T2" fmla="*/ 106 w 106"/>
                <a:gd name="T3" fmla="*/ 21 h 49"/>
                <a:gd name="T4" fmla="*/ 85 w 106"/>
                <a:gd name="T5" fmla="*/ 0 h 49"/>
                <a:gd name="T6" fmla="*/ 20 w 106"/>
                <a:gd name="T7" fmla="*/ 0 h 49"/>
                <a:gd name="T8" fmla="*/ 0 w 106"/>
                <a:gd name="T9" fmla="*/ 21 h 49"/>
                <a:gd name="T10" fmla="*/ 0 w 106"/>
                <a:gd name="T11" fmla="*/ 49 h 49"/>
                <a:gd name="T12" fmla="*/ 18 w 106"/>
                <a:gd name="T13" fmla="*/ 49 h 49"/>
                <a:gd name="T14" fmla="*/ 18 w 106"/>
                <a:gd name="T15" fmla="*/ 21 h 49"/>
                <a:gd name="T16" fmla="*/ 20 w 106"/>
                <a:gd name="T17" fmla="*/ 18 h 49"/>
                <a:gd name="T18" fmla="*/ 85 w 106"/>
                <a:gd name="T19" fmla="*/ 18 h 49"/>
                <a:gd name="T20" fmla="*/ 88 w 106"/>
                <a:gd name="T21" fmla="*/ 21 h 49"/>
                <a:gd name="T22" fmla="*/ 88 w 106"/>
                <a:gd name="T23" fmla="*/ 49 h 49"/>
                <a:gd name="T24" fmla="*/ 106 w 106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49">
                  <a:moveTo>
                    <a:pt x="106" y="49"/>
                  </a:moveTo>
                  <a:cubicBezTo>
                    <a:pt x="106" y="21"/>
                    <a:pt x="106" y="21"/>
                    <a:pt x="106" y="21"/>
                  </a:cubicBezTo>
                  <a:cubicBezTo>
                    <a:pt x="106" y="10"/>
                    <a:pt x="97" y="0"/>
                    <a:pt x="8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10"/>
                    <a:pt x="0" y="2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9" y="18"/>
                    <a:pt x="20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7" y="18"/>
                    <a:pt x="88" y="20"/>
                    <a:pt x="88" y="21"/>
                  </a:cubicBezTo>
                  <a:cubicBezTo>
                    <a:pt x="88" y="49"/>
                    <a:pt x="88" y="49"/>
                    <a:pt x="88" y="49"/>
                  </a:cubicBezTo>
                  <a:lnTo>
                    <a:pt x="106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6" name="ï$lîḋê">
              <a:extLst>
                <a:ext uri="{FF2B5EF4-FFF2-40B4-BE49-F238E27FC236}">
                  <a16:creationId xmlns:a16="http://schemas.microsoft.com/office/drawing/2014/main" id="{06E03643-80F7-410B-929C-EFB7F467E063}"/>
                </a:ext>
              </a:extLst>
            </p:cNvPr>
            <p:cNvSpPr/>
            <p:nvPr/>
          </p:nvSpPr>
          <p:spPr bwMode="auto">
            <a:xfrm flipH="1">
              <a:off x="3546654" y="2189166"/>
              <a:ext cx="405742" cy="382548"/>
            </a:xfrm>
            <a:custGeom>
              <a:avLst/>
              <a:gdLst>
                <a:gd name="T0" fmla="*/ 94 w 188"/>
                <a:gd name="T1" fmla="*/ 188 h 188"/>
                <a:gd name="T2" fmla="*/ 188 w 188"/>
                <a:gd name="T3" fmla="*/ 94 h 188"/>
                <a:gd name="T4" fmla="*/ 94 w 188"/>
                <a:gd name="T5" fmla="*/ 0 h 188"/>
                <a:gd name="T6" fmla="*/ 94 w 188"/>
                <a:gd name="T7" fmla="*/ 67 h 188"/>
                <a:gd name="T8" fmla="*/ 121 w 188"/>
                <a:gd name="T9" fmla="*/ 94 h 188"/>
                <a:gd name="T10" fmla="*/ 94 w 188"/>
                <a:gd name="T11" fmla="*/ 121 h 188"/>
                <a:gd name="T12" fmla="*/ 94 w 188"/>
                <a:gd name="T13" fmla="*/ 188 h 188"/>
                <a:gd name="T14" fmla="*/ 94 w 188"/>
                <a:gd name="T15" fmla="*/ 0 h 188"/>
                <a:gd name="T16" fmla="*/ 0 w 188"/>
                <a:gd name="T17" fmla="*/ 94 h 188"/>
                <a:gd name="T18" fmla="*/ 94 w 188"/>
                <a:gd name="T19" fmla="*/ 188 h 188"/>
                <a:gd name="T20" fmla="*/ 94 w 188"/>
                <a:gd name="T21" fmla="*/ 188 h 188"/>
                <a:gd name="T22" fmla="*/ 94 w 188"/>
                <a:gd name="T23" fmla="*/ 121 h 188"/>
                <a:gd name="T24" fmla="*/ 94 w 188"/>
                <a:gd name="T25" fmla="*/ 121 h 188"/>
                <a:gd name="T26" fmla="*/ 94 w 188"/>
                <a:gd name="T27" fmla="*/ 121 h 188"/>
                <a:gd name="T28" fmla="*/ 67 w 188"/>
                <a:gd name="T29" fmla="*/ 94 h 188"/>
                <a:gd name="T30" fmla="*/ 94 w 188"/>
                <a:gd name="T31" fmla="*/ 67 h 188"/>
                <a:gd name="T32" fmla="*/ 94 w 188"/>
                <a:gd name="T33" fmla="*/ 67 h 188"/>
                <a:gd name="T34" fmla="*/ 94 w 188"/>
                <a:gd name="T35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8" h="188">
                  <a:moveTo>
                    <a:pt x="94" y="188"/>
                  </a:moveTo>
                  <a:cubicBezTo>
                    <a:pt x="146" y="188"/>
                    <a:pt x="188" y="146"/>
                    <a:pt x="188" y="94"/>
                  </a:cubicBezTo>
                  <a:cubicBezTo>
                    <a:pt x="188" y="42"/>
                    <a:pt x="146" y="0"/>
                    <a:pt x="94" y="0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109" y="67"/>
                    <a:pt x="121" y="79"/>
                    <a:pt x="121" y="94"/>
                  </a:cubicBezTo>
                  <a:cubicBezTo>
                    <a:pt x="121" y="109"/>
                    <a:pt x="109" y="121"/>
                    <a:pt x="94" y="121"/>
                  </a:cubicBezTo>
                  <a:lnTo>
                    <a:pt x="94" y="188"/>
                  </a:lnTo>
                  <a:close/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cubicBezTo>
                    <a:pt x="94" y="188"/>
                    <a:pt x="94" y="188"/>
                    <a:pt x="94" y="188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79" y="121"/>
                    <a:pt x="67" y="109"/>
                    <a:pt x="67" y="94"/>
                  </a:cubicBezTo>
                  <a:cubicBezTo>
                    <a:pt x="67" y="79"/>
                    <a:pt x="79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0"/>
                    <a:pt x="94" y="0"/>
                    <a:pt x="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7" name="îS1îḍê">
              <a:extLst>
                <a:ext uri="{FF2B5EF4-FFF2-40B4-BE49-F238E27FC236}">
                  <a16:creationId xmlns:a16="http://schemas.microsoft.com/office/drawing/2014/main" id="{C953B797-C6FF-4FC5-8E19-5A5A98C8EE2B}"/>
                </a:ext>
              </a:extLst>
            </p:cNvPr>
            <p:cNvSpPr/>
            <p:nvPr/>
          </p:nvSpPr>
          <p:spPr bwMode="auto">
            <a:xfrm flipH="1">
              <a:off x="3702568" y="2335308"/>
              <a:ext cx="94825" cy="89403"/>
            </a:xfrm>
            <a:custGeom>
              <a:avLst/>
              <a:gdLst>
                <a:gd name="T0" fmla="*/ 22 w 44"/>
                <a:gd name="T1" fmla="*/ 44 h 44"/>
                <a:gd name="T2" fmla="*/ 44 w 44"/>
                <a:gd name="T3" fmla="*/ 22 h 44"/>
                <a:gd name="T4" fmla="*/ 22 w 44"/>
                <a:gd name="T5" fmla="*/ 0 h 44"/>
                <a:gd name="T6" fmla="*/ 22 w 44"/>
                <a:gd name="T7" fmla="*/ 6 h 44"/>
                <a:gd name="T8" fmla="*/ 38 w 44"/>
                <a:gd name="T9" fmla="*/ 22 h 44"/>
                <a:gd name="T10" fmla="*/ 22 w 44"/>
                <a:gd name="T11" fmla="*/ 37 h 44"/>
                <a:gd name="T12" fmla="*/ 22 w 44"/>
                <a:gd name="T13" fmla="*/ 44 h 44"/>
                <a:gd name="T14" fmla="*/ 22 w 44"/>
                <a:gd name="T15" fmla="*/ 0 h 44"/>
                <a:gd name="T16" fmla="*/ 0 w 44"/>
                <a:gd name="T17" fmla="*/ 22 h 44"/>
                <a:gd name="T18" fmla="*/ 22 w 44"/>
                <a:gd name="T19" fmla="*/ 44 h 44"/>
                <a:gd name="T20" fmla="*/ 22 w 44"/>
                <a:gd name="T21" fmla="*/ 44 h 44"/>
                <a:gd name="T22" fmla="*/ 22 w 44"/>
                <a:gd name="T23" fmla="*/ 37 h 44"/>
                <a:gd name="T24" fmla="*/ 22 w 44"/>
                <a:gd name="T25" fmla="*/ 37 h 44"/>
                <a:gd name="T26" fmla="*/ 22 w 44"/>
                <a:gd name="T27" fmla="*/ 37 h 44"/>
                <a:gd name="T28" fmla="*/ 7 w 44"/>
                <a:gd name="T29" fmla="*/ 22 h 44"/>
                <a:gd name="T30" fmla="*/ 22 w 44"/>
                <a:gd name="T31" fmla="*/ 6 h 44"/>
                <a:gd name="T32" fmla="*/ 22 w 44"/>
                <a:gd name="T33" fmla="*/ 6 h 44"/>
                <a:gd name="T34" fmla="*/ 22 w 44"/>
                <a:gd name="T3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44">
                  <a:moveTo>
                    <a:pt x="22" y="44"/>
                  </a:move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31" y="6"/>
                    <a:pt x="38" y="13"/>
                    <a:pt x="38" y="22"/>
                  </a:cubicBezTo>
                  <a:cubicBezTo>
                    <a:pt x="38" y="30"/>
                    <a:pt x="31" y="37"/>
                    <a:pt x="22" y="37"/>
                  </a:cubicBezTo>
                  <a:lnTo>
                    <a:pt x="22" y="44"/>
                  </a:lnTo>
                  <a:close/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14" y="37"/>
                    <a:pt x="7" y="30"/>
                    <a:pt x="7" y="22"/>
                  </a:cubicBezTo>
                  <a:cubicBezTo>
                    <a:pt x="7" y="13"/>
                    <a:pt x="14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8" name="íśļíḑè">
              <a:extLst>
                <a:ext uri="{FF2B5EF4-FFF2-40B4-BE49-F238E27FC236}">
                  <a16:creationId xmlns:a16="http://schemas.microsoft.com/office/drawing/2014/main" id="{161534DA-2CCE-4346-A7A3-76D555DCB612}"/>
                </a:ext>
              </a:extLst>
            </p:cNvPr>
            <p:cNvSpPr/>
            <p:nvPr/>
          </p:nvSpPr>
          <p:spPr bwMode="auto">
            <a:xfrm flipH="1">
              <a:off x="3594068" y="1335526"/>
              <a:ext cx="309093" cy="298302"/>
            </a:xfrm>
            <a:custGeom>
              <a:avLst/>
              <a:gdLst>
                <a:gd name="T0" fmla="*/ 140 w 143"/>
                <a:gd name="T1" fmla="*/ 103 h 147"/>
                <a:gd name="T2" fmla="*/ 112 w 143"/>
                <a:gd name="T3" fmla="*/ 75 h 147"/>
                <a:gd name="T4" fmla="*/ 107 w 143"/>
                <a:gd name="T5" fmla="*/ 70 h 147"/>
                <a:gd name="T6" fmla="*/ 79 w 143"/>
                <a:gd name="T7" fmla="*/ 37 h 147"/>
                <a:gd name="T8" fmla="*/ 67 w 143"/>
                <a:gd name="T9" fmla="*/ 10 h 147"/>
                <a:gd name="T10" fmla="*/ 52 w 143"/>
                <a:gd name="T11" fmla="*/ 9 h 147"/>
                <a:gd name="T12" fmla="*/ 47 w 143"/>
                <a:gd name="T13" fmla="*/ 21 h 147"/>
                <a:gd name="T14" fmla="*/ 55 w 143"/>
                <a:gd name="T15" fmla="*/ 42 h 147"/>
                <a:gd name="T16" fmla="*/ 56 w 143"/>
                <a:gd name="T17" fmla="*/ 56 h 147"/>
                <a:gd name="T18" fmla="*/ 13 w 143"/>
                <a:gd name="T19" fmla="*/ 56 h 147"/>
                <a:gd name="T20" fmla="*/ 3 w 143"/>
                <a:gd name="T21" fmla="*/ 71 h 147"/>
                <a:gd name="T22" fmla="*/ 25 w 143"/>
                <a:gd name="T23" fmla="*/ 131 h 147"/>
                <a:gd name="T24" fmla="*/ 34 w 143"/>
                <a:gd name="T25" fmla="*/ 137 h 147"/>
                <a:gd name="T26" fmla="*/ 85 w 143"/>
                <a:gd name="T27" fmla="*/ 137 h 147"/>
                <a:gd name="T28" fmla="*/ 97 w 143"/>
                <a:gd name="T29" fmla="*/ 142 h 147"/>
                <a:gd name="T30" fmla="*/ 99 w 143"/>
                <a:gd name="T31" fmla="*/ 144 h 147"/>
                <a:gd name="T32" fmla="*/ 108 w 143"/>
                <a:gd name="T33" fmla="*/ 144 h 147"/>
                <a:gd name="T34" fmla="*/ 140 w 143"/>
                <a:gd name="T35" fmla="*/ 112 h 147"/>
                <a:gd name="T36" fmla="*/ 140 w 143"/>
                <a:gd name="T37" fmla="*/ 10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" h="147">
                  <a:moveTo>
                    <a:pt x="140" y="103"/>
                  </a:moveTo>
                  <a:cubicBezTo>
                    <a:pt x="112" y="75"/>
                    <a:pt x="112" y="75"/>
                    <a:pt x="112" y="75"/>
                  </a:cubicBezTo>
                  <a:cubicBezTo>
                    <a:pt x="109" y="72"/>
                    <a:pt x="107" y="70"/>
                    <a:pt x="107" y="70"/>
                  </a:cubicBezTo>
                  <a:cubicBezTo>
                    <a:pt x="107" y="70"/>
                    <a:pt x="96" y="48"/>
                    <a:pt x="79" y="37"/>
                  </a:cubicBezTo>
                  <a:cubicBezTo>
                    <a:pt x="63" y="27"/>
                    <a:pt x="67" y="18"/>
                    <a:pt x="67" y="10"/>
                  </a:cubicBezTo>
                  <a:cubicBezTo>
                    <a:pt x="67" y="2"/>
                    <a:pt x="58" y="0"/>
                    <a:pt x="52" y="9"/>
                  </a:cubicBezTo>
                  <a:cubicBezTo>
                    <a:pt x="49" y="11"/>
                    <a:pt x="47" y="17"/>
                    <a:pt x="47" y="21"/>
                  </a:cubicBezTo>
                  <a:cubicBezTo>
                    <a:pt x="45" y="32"/>
                    <a:pt x="53" y="38"/>
                    <a:pt x="55" y="42"/>
                  </a:cubicBezTo>
                  <a:cubicBezTo>
                    <a:pt x="57" y="45"/>
                    <a:pt x="58" y="50"/>
                    <a:pt x="56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5" y="56"/>
                    <a:pt x="0" y="63"/>
                    <a:pt x="3" y="71"/>
                  </a:cubicBezTo>
                  <a:cubicBezTo>
                    <a:pt x="25" y="131"/>
                    <a:pt x="25" y="131"/>
                    <a:pt x="25" y="131"/>
                  </a:cubicBezTo>
                  <a:cubicBezTo>
                    <a:pt x="26" y="134"/>
                    <a:pt x="30" y="137"/>
                    <a:pt x="34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9" y="137"/>
                    <a:pt x="94" y="139"/>
                    <a:pt x="97" y="142"/>
                  </a:cubicBezTo>
                  <a:cubicBezTo>
                    <a:pt x="99" y="144"/>
                    <a:pt x="99" y="144"/>
                    <a:pt x="99" y="144"/>
                  </a:cubicBezTo>
                  <a:cubicBezTo>
                    <a:pt x="102" y="147"/>
                    <a:pt x="106" y="147"/>
                    <a:pt x="108" y="144"/>
                  </a:cubicBezTo>
                  <a:cubicBezTo>
                    <a:pt x="140" y="112"/>
                    <a:pt x="140" y="112"/>
                    <a:pt x="140" y="112"/>
                  </a:cubicBezTo>
                  <a:cubicBezTo>
                    <a:pt x="143" y="110"/>
                    <a:pt x="143" y="106"/>
                    <a:pt x="140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9" name="íṩḷidé">
              <a:extLst>
                <a:ext uri="{FF2B5EF4-FFF2-40B4-BE49-F238E27FC236}">
                  <a16:creationId xmlns:a16="http://schemas.microsoft.com/office/drawing/2014/main" id="{72AB9723-5B9B-45F8-92B8-D634697404BC}"/>
                </a:ext>
              </a:extLst>
            </p:cNvPr>
            <p:cNvSpPr/>
            <p:nvPr/>
          </p:nvSpPr>
          <p:spPr bwMode="auto">
            <a:xfrm flipH="1">
              <a:off x="3566713" y="1566773"/>
              <a:ext cx="101208" cy="93703"/>
            </a:xfrm>
            <a:custGeom>
              <a:avLst/>
              <a:gdLst>
                <a:gd name="T0" fmla="*/ 22 w 111"/>
                <a:gd name="T1" fmla="*/ 109 h 109"/>
                <a:gd name="T2" fmla="*/ 0 w 111"/>
                <a:gd name="T3" fmla="*/ 90 h 109"/>
                <a:gd name="T4" fmla="*/ 90 w 111"/>
                <a:gd name="T5" fmla="*/ 0 h 109"/>
                <a:gd name="T6" fmla="*/ 111 w 111"/>
                <a:gd name="T7" fmla="*/ 21 h 109"/>
                <a:gd name="T8" fmla="*/ 22 w 111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09">
                  <a:moveTo>
                    <a:pt x="22" y="109"/>
                  </a:moveTo>
                  <a:lnTo>
                    <a:pt x="0" y="90"/>
                  </a:lnTo>
                  <a:lnTo>
                    <a:pt x="90" y="0"/>
                  </a:lnTo>
                  <a:lnTo>
                    <a:pt x="111" y="21"/>
                  </a:lnTo>
                  <a:lnTo>
                    <a:pt x="22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0" name="iŝḷïḓe">
              <a:extLst>
                <a:ext uri="{FF2B5EF4-FFF2-40B4-BE49-F238E27FC236}">
                  <a16:creationId xmlns:a16="http://schemas.microsoft.com/office/drawing/2014/main" id="{348D01C3-8FDD-4FB6-A4CB-538F92BBFDFD}"/>
                </a:ext>
              </a:extLst>
            </p:cNvPr>
            <p:cNvSpPr/>
            <p:nvPr/>
          </p:nvSpPr>
          <p:spPr bwMode="auto">
            <a:xfrm flipH="1">
              <a:off x="1941012" y="4236872"/>
              <a:ext cx="317299" cy="278529"/>
            </a:xfrm>
            <a:custGeom>
              <a:avLst/>
              <a:gdLst>
                <a:gd name="T0" fmla="*/ 132 w 147"/>
                <a:gd name="T1" fmla="*/ 22 h 137"/>
                <a:gd name="T2" fmla="*/ 110 w 147"/>
                <a:gd name="T3" fmla="*/ 0 h 137"/>
                <a:gd name="T4" fmla="*/ 73 w 147"/>
                <a:gd name="T5" fmla="*/ 0 h 137"/>
                <a:gd name="T6" fmla="*/ 73 w 147"/>
                <a:gd name="T7" fmla="*/ 18 h 137"/>
                <a:gd name="T8" fmla="*/ 110 w 147"/>
                <a:gd name="T9" fmla="*/ 18 h 137"/>
                <a:gd name="T10" fmla="*/ 115 w 147"/>
                <a:gd name="T11" fmla="*/ 22 h 137"/>
                <a:gd name="T12" fmla="*/ 115 w 147"/>
                <a:gd name="T13" fmla="*/ 59 h 137"/>
                <a:gd name="T14" fmla="*/ 73 w 147"/>
                <a:gd name="T15" fmla="*/ 59 h 137"/>
                <a:gd name="T16" fmla="*/ 73 w 147"/>
                <a:gd name="T17" fmla="*/ 76 h 137"/>
                <a:gd name="T18" fmla="*/ 73 w 147"/>
                <a:gd name="T19" fmla="*/ 76 h 137"/>
                <a:gd name="T20" fmla="*/ 87 w 147"/>
                <a:gd name="T21" fmla="*/ 89 h 137"/>
                <a:gd name="T22" fmla="*/ 81 w 147"/>
                <a:gd name="T23" fmla="*/ 100 h 137"/>
                <a:gd name="T24" fmla="*/ 79 w 147"/>
                <a:gd name="T25" fmla="*/ 101 h 137"/>
                <a:gd name="T26" fmla="*/ 79 w 147"/>
                <a:gd name="T27" fmla="*/ 118 h 137"/>
                <a:gd name="T28" fmla="*/ 79 w 147"/>
                <a:gd name="T29" fmla="*/ 121 h 137"/>
                <a:gd name="T30" fmla="*/ 79 w 147"/>
                <a:gd name="T31" fmla="*/ 121 h 137"/>
                <a:gd name="T32" fmla="*/ 73 w 147"/>
                <a:gd name="T33" fmla="*/ 121 h 137"/>
                <a:gd name="T34" fmla="*/ 73 w 147"/>
                <a:gd name="T35" fmla="*/ 137 h 137"/>
                <a:gd name="T36" fmla="*/ 147 w 147"/>
                <a:gd name="T37" fmla="*/ 137 h 137"/>
                <a:gd name="T38" fmla="*/ 147 w 147"/>
                <a:gd name="T39" fmla="*/ 59 h 137"/>
                <a:gd name="T40" fmla="*/ 132 w 147"/>
                <a:gd name="T41" fmla="*/ 59 h 137"/>
                <a:gd name="T42" fmla="*/ 132 w 147"/>
                <a:gd name="T43" fmla="*/ 22 h 137"/>
                <a:gd name="T44" fmla="*/ 73 w 147"/>
                <a:gd name="T45" fmla="*/ 0 h 137"/>
                <a:gd name="T46" fmla="*/ 37 w 147"/>
                <a:gd name="T47" fmla="*/ 0 h 137"/>
                <a:gd name="T48" fmla="*/ 15 w 147"/>
                <a:gd name="T49" fmla="*/ 22 h 137"/>
                <a:gd name="T50" fmla="*/ 15 w 147"/>
                <a:gd name="T51" fmla="*/ 59 h 137"/>
                <a:gd name="T52" fmla="*/ 0 w 147"/>
                <a:gd name="T53" fmla="*/ 59 h 137"/>
                <a:gd name="T54" fmla="*/ 0 w 147"/>
                <a:gd name="T55" fmla="*/ 137 h 137"/>
                <a:gd name="T56" fmla="*/ 73 w 147"/>
                <a:gd name="T57" fmla="*/ 137 h 137"/>
                <a:gd name="T58" fmla="*/ 73 w 147"/>
                <a:gd name="T59" fmla="*/ 121 h 137"/>
                <a:gd name="T60" fmla="*/ 67 w 147"/>
                <a:gd name="T61" fmla="*/ 121 h 137"/>
                <a:gd name="T62" fmla="*/ 67 w 147"/>
                <a:gd name="T63" fmla="*/ 118 h 137"/>
                <a:gd name="T64" fmla="*/ 67 w 147"/>
                <a:gd name="T65" fmla="*/ 101 h 137"/>
                <a:gd name="T66" fmla="*/ 66 w 147"/>
                <a:gd name="T67" fmla="*/ 100 h 137"/>
                <a:gd name="T68" fmla="*/ 60 w 147"/>
                <a:gd name="T69" fmla="*/ 89 h 137"/>
                <a:gd name="T70" fmla="*/ 73 w 147"/>
                <a:gd name="T71" fmla="*/ 76 h 137"/>
                <a:gd name="T72" fmla="*/ 73 w 147"/>
                <a:gd name="T73" fmla="*/ 59 h 137"/>
                <a:gd name="T74" fmla="*/ 32 w 147"/>
                <a:gd name="T75" fmla="*/ 59 h 137"/>
                <a:gd name="T76" fmla="*/ 32 w 147"/>
                <a:gd name="T77" fmla="*/ 59 h 137"/>
                <a:gd name="T78" fmla="*/ 32 w 147"/>
                <a:gd name="T79" fmla="*/ 22 h 137"/>
                <a:gd name="T80" fmla="*/ 37 w 147"/>
                <a:gd name="T81" fmla="*/ 18 h 137"/>
                <a:gd name="T82" fmla="*/ 73 w 147"/>
                <a:gd name="T83" fmla="*/ 18 h 137"/>
                <a:gd name="T84" fmla="*/ 73 w 147"/>
                <a:gd name="T8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7" h="137">
                  <a:moveTo>
                    <a:pt x="132" y="22"/>
                  </a:moveTo>
                  <a:cubicBezTo>
                    <a:pt x="132" y="10"/>
                    <a:pt x="122" y="0"/>
                    <a:pt x="110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3" y="18"/>
                    <a:pt x="115" y="20"/>
                    <a:pt x="115" y="22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81" y="76"/>
                    <a:pt x="87" y="82"/>
                    <a:pt x="87" y="89"/>
                  </a:cubicBezTo>
                  <a:cubicBezTo>
                    <a:pt x="87" y="94"/>
                    <a:pt x="84" y="98"/>
                    <a:pt x="81" y="100"/>
                  </a:cubicBezTo>
                  <a:cubicBezTo>
                    <a:pt x="80" y="101"/>
                    <a:pt x="80" y="101"/>
                    <a:pt x="79" y="101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32" y="59"/>
                    <a:pt x="132" y="59"/>
                    <a:pt x="132" y="59"/>
                  </a:cubicBezTo>
                  <a:lnTo>
                    <a:pt x="132" y="22"/>
                  </a:lnTo>
                  <a:close/>
                  <a:moveTo>
                    <a:pt x="73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24" y="0"/>
                    <a:pt x="15" y="10"/>
                    <a:pt x="15" y="22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67" y="101"/>
                    <a:pt x="67" y="101"/>
                    <a:pt x="67" y="101"/>
                  </a:cubicBezTo>
                  <a:cubicBezTo>
                    <a:pt x="67" y="101"/>
                    <a:pt x="66" y="101"/>
                    <a:pt x="66" y="100"/>
                  </a:cubicBezTo>
                  <a:cubicBezTo>
                    <a:pt x="62" y="98"/>
                    <a:pt x="60" y="94"/>
                    <a:pt x="60" y="89"/>
                  </a:cubicBezTo>
                  <a:cubicBezTo>
                    <a:pt x="60" y="82"/>
                    <a:pt x="66" y="76"/>
                    <a:pt x="73" y="76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0"/>
                    <a:pt x="34" y="18"/>
                    <a:pt x="37" y="18"/>
                  </a:cubicBezTo>
                  <a:cubicBezTo>
                    <a:pt x="73" y="18"/>
                    <a:pt x="73" y="18"/>
                    <a:pt x="73" y="18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1" name="ï$líḓé">
              <a:extLst>
                <a:ext uri="{FF2B5EF4-FFF2-40B4-BE49-F238E27FC236}">
                  <a16:creationId xmlns:a16="http://schemas.microsoft.com/office/drawing/2014/main" id="{33A28CBB-AFC7-419C-AEB4-F1CDF273466F}"/>
                </a:ext>
              </a:extLst>
            </p:cNvPr>
            <p:cNvSpPr/>
            <p:nvPr/>
          </p:nvSpPr>
          <p:spPr bwMode="auto">
            <a:xfrm flipH="1">
              <a:off x="2543697" y="1099119"/>
              <a:ext cx="338270" cy="268213"/>
            </a:xfrm>
            <a:custGeom>
              <a:avLst/>
              <a:gdLst>
                <a:gd name="T0" fmla="*/ 105 w 157"/>
                <a:gd name="T1" fmla="*/ 0 h 132"/>
                <a:gd name="T2" fmla="*/ 56 w 157"/>
                <a:gd name="T3" fmla="*/ 0 h 132"/>
                <a:gd name="T4" fmla="*/ 0 w 157"/>
                <a:gd name="T5" fmla="*/ 47 h 132"/>
                <a:gd name="T6" fmla="*/ 15 w 157"/>
                <a:gd name="T7" fmla="*/ 69 h 132"/>
                <a:gd name="T8" fmla="*/ 35 w 157"/>
                <a:gd name="T9" fmla="*/ 49 h 132"/>
                <a:gd name="T10" fmla="*/ 35 w 157"/>
                <a:gd name="T11" fmla="*/ 132 h 132"/>
                <a:gd name="T12" fmla="*/ 79 w 157"/>
                <a:gd name="T13" fmla="*/ 132 h 132"/>
                <a:gd name="T14" fmla="*/ 122 w 157"/>
                <a:gd name="T15" fmla="*/ 132 h 132"/>
                <a:gd name="T16" fmla="*/ 122 w 157"/>
                <a:gd name="T17" fmla="*/ 49 h 132"/>
                <a:gd name="T18" fmla="*/ 142 w 157"/>
                <a:gd name="T19" fmla="*/ 69 h 132"/>
                <a:gd name="T20" fmla="*/ 157 w 157"/>
                <a:gd name="T21" fmla="*/ 47 h 132"/>
                <a:gd name="T22" fmla="*/ 105 w 157"/>
                <a:gd name="T23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32">
                  <a:moveTo>
                    <a:pt x="105" y="0"/>
                  </a:moveTo>
                  <a:cubicBezTo>
                    <a:pt x="97" y="14"/>
                    <a:pt x="64" y="14"/>
                    <a:pt x="56" y="0"/>
                  </a:cubicBezTo>
                  <a:cubicBezTo>
                    <a:pt x="56" y="0"/>
                    <a:pt x="8" y="27"/>
                    <a:pt x="0" y="47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29" y="54"/>
                    <a:pt x="35" y="49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79" y="132"/>
                    <a:pt x="79" y="132"/>
                    <a:pt x="79" y="132"/>
                  </a:cubicBezTo>
                  <a:cubicBezTo>
                    <a:pt x="122" y="132"/>
                    <a:pt x="122" y="132"/>
                    <a:pt x="122" y="132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8" y="54"/>
                    <a:pt x="142" y="69"/>
                    <a:pt x="142" y="69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49" y="27"/>
                    <a:pt x="105" y="0"/>
                    <a:pt x="10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2" name="îsḷîďè">
              <a:extLst>
                <a:ext uri="{FF2B5EF4-FFF2-40B4-BE49-F238E27FC236}">
                  <a16:creationId xmlns:a16="http://schemas.microsoft.com/office/drawing/2014/main" id="{D9834046-3503-4676-B899-77688C62AE5A}"/>
                </a:ext>
              </a:extLst>
            </p:cNvPr>
            <p:cNvSpPr/>
            <p:nvPr/>
          </p:nvSpPr>
          <p:spPr bwMode="auto">
            <a:xfrm flipH="1">
              <a:off x="2662229" y="1087085"/>
              <a:ext cx="94825" cy="26650"/>
            </a:xfrm>
            <a:custGeom>
              <a:avLst/>
              <a:gdLst>
                <a:gd name="T0" fmla="*/ 22 w 44"/>
                <a:gd name="T1" fmla="*/ 13 h 13"/>
                <a:gd name="T2" fmla="*/ 44 w 44"/>
                <a:gd name="T3" fmla="*/ 4 h 13"/>
                <a:gd name="T4" fmla="*/ 43 w 44"/>
                <a:gd name="T5" fmla="*/ 1 h 13"/>
                <a:gd name="T6" fmla="*/ 40 w 44"/>
                <a:gd name="T7" fmla="*/ 2 h 13"/>
                <a:gd name="T8" fmla="*/ 22 w 44"/>
                <a:gd name="T9" fmla="*/ 8 h 13"/>
                <a:gd name="T10" fmla="*/ 5 w 44"/>
                <a:gd name="T11" fmla="*/ 2 h 13"/>
                <a:gd name="T12" fmla="*/ 2 w 44"/>
                <a:gd name="T13" fmla="*/ 1 h 13"/>
                <a:gd name="T14" fmla="*/ 1 w 44"/>
                <a:gd name="T15" fmla="*/ 4 h 13"/>
                <a:gd name="T16" fmla="*/ 22 w 44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3">
                  <a:moveTo>
                    <a:pt x="22" y="13"/>
                  </a:moveTo>
                  <a:cubicBezTo>
                    <a:pt x="32" y="13"/>
                    <a:pt x="41" y="9"/>
                    <a:pt x="44" y="4"/>
                  </a:cubicBezTo>
                  <a:cubicBezTo>
                    <a:pt x="44" y="3"/>
                    <a:pt x="44" y="1"/>
                    <a:pt x="43" y="1"/>
                  </a:cubicBezTo>
                  <a:cubicBezTo>
                    <a:pt x="42" y="0"/>
                    <a:pt x="40" y="0"/>
                    <a:pt x="40" y="2"/>
                  </a:cubicBezTo>
                  <a:cubicBezTo>
                    <a:pt x="38" y="5"/>
                    <a:pt x="31" y="8"/>
                    <a:pt x="22" y="8"/>
                  </a:cubicBezTo>
                  <a:cubicBezTo>
                    <a:pt x="13" y="8"/>
                    <a:pt x="7" y="5"/>
                    <a:pt x="5" y="2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4" y="9"/>
                    <a:pt x="12" y="13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3" name="íṣḻîďè">
              <a:extLst>
                <a:ext uri="{FF2B5EF4-FFF2-40B4-BE49-F238E27FC236}">
                  <a16:creationId xmlns:a16="http://schemas.microsoft.com/office/drawing/2014/main" id="{FD945B24-CD99-4D3C-90A5-0EDD31BA7CC0}"/>
                </a:ext>
              </a:extLst>
            </p:cNvPr>
            <p:cNvSpPr/>
            <p:nvPr/>
          </p:nvSpPr>
          <p:spPr bwMode="auto">
            <a:xfrm flipH="1">
              <a:off x="2955823" y="4305645"/>
              <a:ext cx="107590" cy="114335"/>
            </a:xfrm>
            <a:custGeom>
              <a:avLst/>
              <a:gdLst>
                <a:gd name="T0" fmla="*/ 32 w 50"/>
                <a:gd name="T1" fmla="*/ 0 h 56"/>
                <a:gd name="T2" fmla="*/ 13 w 50"/>
                <a:gd name="T3" fmla="*/ 15 h 56"/>
                <a:gd name="T4" fmla="*/ 6 w 50"/>
                <a:gd name="T5" fmla="*/ 17 h 56"/>
                <a:gd name="T6" fmla="*/ 6 w 50"/>
                <a:gd name="T7" fmla="*/ 17 h 56"/>
                <a:gd name="T8" fmla="*/ 13 w 50"/>
                <a:gd name="T9" fmla="*/ 51 h 56"/>
                <a:gd name="T10" fmla="*/ 44 w 50"/>
                <a:gd name="T11" fmla="*/ 35 h 56"/>
                <a:gd name="T12" fmla="*/ 37 w 50"/>
                <a:gd name="T13" fmla="*/ 2 h 56"/>
                <a:gd name="T14" fmla="*/ 32 w 50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6">
                  <a:moveTo>
                    <a:pt x="32" y="0"/>
                  </a:moveTo>
                  <a:cubicBezTo>
                    <a:pt x="28" y="7"/>
                    <a:pt x="21" y="12"/>
                    <a:pt x="13" y="15"/>
                  </a:cubicBezTo>
                  <a:cubicBezTo>
                    <a:pt x="11" y="16"/>
                    <a:pt x="9" y="1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0" y="31"/>
                    <a:pt x="3" y="46"/>
                    <a:pt x="13" y="51"/>
                  </a:cubicBezTo>
                  <a:cubicBezTo>
                    <a:pt x="24" y="56"/>
                    <a:pt x="38" y="49"/>
                    <a:pt x="44" y="35"/>
                  </a:cubicBezTo>
                  <a:cubicBezTo>
                    <a:pt x="50" y="21"/>
                    <a:pt x="47" y="6"/>
                    <a:pt x="37" y="2"/>
                  </a:cubicBezTo>
                  <a:cubicBezTo>
                    <a:pt x="35" y="1"/>
                    <a:pt x="34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4" name="iṥ1îďê">
              <a:extLst>
                <a:ext uri="{FF2B5EF4-FFF2-40B4-BE49-F238E27FC236}">
                  <a16:creationId xmlns:a16="http://schemas.microsoft.com/office/drawing/2014/main" id="{9611EA5E-F9E1-4CA2-967E-70BB64DC188F}"/>
                </a:ext>
              </a:extLst>
            </p:cNvPr>
            <p:cNvSpPr/>
            <p:nvPr/>
          </p:nvSpPr>
          <p:spPr bwMode="auto">
            <a:xfrm flipH="1">
              <a:off x="2981351" y="4171538"/>
              <a:ext cx="217915" cy="162476"/>
            </a:xfrm>
            <a:custGeom>
              <a:avLst/>
              <a:gdLst>
                <a:gd name="T0" fmla="*/ 35 w 101"/>
                <a:gd name="T1" fmla="*/ 73 h 80"/>
                <a:gd name="T2" fmla="*/ 73 w 101"/>
                <a:gd name="T3" fmla="*/ 76 h 80"/>
                <a:gd name="T4" fmla="*/ 75 w 101"/>
                <a:gd name="T5" fmla="*/ 76 h 80"/>
                <a:gd name="T6" fmla="*/ 89 w 101"/>
                <a:gd name="T7" fmla="*/ 66 h 80"/>
                <a:gd name="T8" fmla="*/ 93 w 101"/>
                <a:gd name="T9" fmla="*/ 60 h 80"/>
                <a:gd name="T10" fmla="*/ 66 w 101"/>
                <a:gd name="T11" fmla="*/ 7 h 80"/>
                <a:gd name="T12" fmla="*/ 26 w 101"/>
                <a:gd name="T13" fmla="*/ 4 h 80"/>
                <a:gd name="T14" fmla="*/ 8 w 101"/>
                <a:gd name="T15" fmla="*/ 20 h 80"/>
                <a:gd name="T16" fmla="*/ 35 w 101"/>
                <a:gd name="T17" fmla="*/ 7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80">
                  <a:moveTo>
                    <a:pt x="35" y="73"/>
                  </a:moveTo>
                  <a:cubicBezTo>
                    <a:pt x="48" y="79"/>
                    <a:pt x="62" y="80"/>
                    <a:pt x="73" y="76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80" y="74"/>
                    <a:pt x="85" y="71"/>
                    <a:pt x="89" y="66"/>
                  </a:cubicBezTo>
                  <a:cubicBezTo>
                    <a:pt x="91" y="64"/>
                    <a:pt x="92" y="62"/>
                    <a:pt x="93" y="60"/>
                  </a:cubicBezTo>
                  <a:cubicBezTo>
                    <a:pt x="101" y="42"/>
                    <a:pt x="89" y="18"/>
                    <a:pt x="66" y="7"/>
                  </a:cubicBezTo>
                  <a:cubicBezTo>
                    <a:pt x="52" y="1"/>
                    <a:pt x="38" y="0"/>
                    <a:pt x="26" y="4"/>
                  </a:cubicBezTo>
                  <a:cubicBezTo>
                    <a:pt x="18" y="7"/>
                    <a:pt x="12" y="13"/>
                    <a:pt x="8" y="20"/>
                  </a:cubicBezTo>
                  <a:cubicBezTo>
                    <a:pt x="0" y="38"/>
                    <a:pt x="12" y="62"/>
                    <a:pt x="3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5" name="ïṥ1îḑè">
              <a:extLst>
                <a:ext uri="{FF2B5EF4-FFF2-40B4-BE49-F238E27FC236}">
                  <a16:creationId xmlns:a16="http://schemas.microsoft.com/office/drawing/2014/main" id="{D46BED26-8077-492C-A234-892E3B88E371}"/>
                </a:ext>
              </a:extLst>
            </p:cNvPr>
            <p:cNvSpPr/>
            <p:nvPr/>
          </p:nvSpPr>
          <p:spPr bwMode="auto">
            <a:xfrm flipH="1">
              <a:off x="2802642" y="4271258"/>
              <a:ext cx="126738" cy="89403"/>
            </a:xfrm>
            <a:custGeom>
              <a:avLst/>
              <a:gdLst>
                <a:gd name="T0" fmla="*/ 54 w 59"/>
                <a:gd name="T1" fmla="*/ 31 h 44"/>
                <a:gd name="T2" fmla="*/ 38 w 59"/>
                <a:gd name="T3" fmla="*/ 0 h 44"/>
                <a:gd name="T4" fmla="*/ 38 w 59"/>
                <a:gd name="T5" fmla="*/ 0 h 44"/>
                <a:gd name="T6" fmla="*/ 31 w 59"/>
                <a:gd name="T7" fmla="*/ 3 h 44"/>
                <a:gd name="T8" fmla="*/ 7 w 59"/>
                <a:gd name="T9" fmla="*/ 4 h 44"/>
                <a:gd name="T10" fmla="*/ 5 w 59"/>
                <a:gd name="T11" fmla="*/ 8 h 44"/>
                <a:gd name="T12" fmla="*/ 21 w 59"/>
                <a:gd name="T13" fmla="*/ 38 h 44"/>
                <a:gd name="T14" fmla="*/ 54 w 59"/>
                <a:gd name="T15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44">
                  <a:moveTo>
                    <a:pt x="54" y="31"/>
                  </a:moveTo>
                  <a:cubicBezTo>
                    <a:pt x="59" y="20"/>
                    <a:pt x="52" y="7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1"/>
                    <a:pt x="33" y="2"/>
                    <a:pt x="31" y="3"/>
                  </a:cubicBezTo>
                  <a:cubicBezTo>
                    <a:pt x="23" y="6"/>
                    <a:pt x="15" y="6"/>
                    <a:pt x="7" y="4"/>
                  </a:cubicBezTo>
                  <a:cubicBezTo>
                    <a:pt x="6" y="5"/>
                    <a:pt x="6" y="6"/>
                    <a:pt x="5" y="8"/>
                  </a:cubicBezTo>
                  <a:cubicBezTo>
                    <a:pt x="0" y="18"/>
                    <a:pt x="7" y="32"/>
                    <a:pt x="21" y="38"/>
                  </a:cubicBezTo>
                  <a:cubicBezTo>
                    <a:pt x="34" y="44"/>
                    <a:pt x="49" y="41"/>
                    <a:pt x="54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6" name="iŝľïḓe">
              <a:extLst>
                <a:ext uri="{FF2B5EF4-FFF2-40B4-BE49-F238E27FC236}">
                  <a16:creationId xmlns:a16="http://schemas.microsoft.com/office/drawing/2014/main" id="{78855047-A0DB-44ED-8C7C-D9F98F1C244A}"/>
                </a:ext>
              </a:extLst>
            </p:cNvPr>
            <p:cNvSpPr/>
            <p:nvPr/>
          </p:nvSpPr>
          <p:spPr bwMode="auto">
            <a:xfrm flipH="1">
              <a:off x="2780759" y="4086431"/>
              <a:ext cx="189649" cy="186546"/>
            </a:xfrm>
            <a:custGeom>
              <a:avLst/>
              <a:gdLst>
                <a:gd name="T0" fmla="*/ 64 w 88"/>
                <a:gd name="T1" fmla="*/ 4 h 92"/>
                <a:gd name="T2" fmla="*/ 40 w 88"/>
                <a:gd name="T3" fmla="*/ 3 h 92"/>
                <a:gd name="T4" fmla="*/ 11 w 88"/>
                <a:gd name="T5" fmla="*/ 31 h 92"/>
                <a:gd name="T6" fmla="*/ 24 w 88"/>
                <a:gd name="T7" fmla="*/ 89 h 92"/>
                <a:gd name="T8" fmla="*/ 31 w 88"/>
                <a:gd name="T9" fmla="*/ 91 h 92"/>
                <a:gd name="T10" fmla="*/ 48 w 88"/>
                <a:gd name="T11" fmla="*/ 89 h 92"/>
                <a:gd name="T12" fmla="*/ 50 w 88"/>
                <a:gd name="T13" fmla="*/ 89 h 92"/>
                <a:gd name="T14" fmla="*/ 77 w 88"/>
                <a:gd name="T15" fmla="*/ 62 h 92"/>
                <a:gd name="T16" fmla="*/ 64 w 88"/>
                <a:gd name="T17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92">
                  <a:moveTo>
                    <a:pt x="64" y="4"/>
                  </a:moveTo>
                  <a:cubicBezTo>
                    <a:pt x="57" y="0"/>
                    <a:pt x="48" y="0"/>
                    <a:pt x="40" y="3"/>
                  </a:cubicBezTo>
                  <a:cubicBezTo>
                    <a:pt x="29" y="7"/>
                    <a:pt x="18" y="17"/>
                    <a:pt x="11" y="31"/>
                  </a:cubicBezTo>
                  <a:cubicBezTo>
                    <a:pt x="0" y="54"/>
                    <a:pt x="6" y="80"/>
                    <a:pt x="24" y="89"/>
                  </a:cubicBezTo>
                  <a:cubicBezTo>
                    <a:pt x="27" y="90"/>
                    <a:pt x="29" y="90"/>
                    <a:pt x="31" y="91"/>
                  </a:cubicBezTo>
                  <a:cubicBezTo>
                    <a:pt x="37" y="92"/>
                    <a:pt x="43" y="91"/>
                    <a:pt x="48" y="89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61" y="84"/>
                    <a:pt x="71" y="75"/>
                    <a:pt x="77" y="62"/>
                  </a:cubicBezTo>
                  <a:cubicBezTo>
                    <a:pt x="88" y="38"/>
                    <a:pt x="82" y="12"/>
                    <a:pt x="6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7" name="îSļïďè">
              <a:extLst>
                <a:ext uri="{FF2B5EF4-FFF2-40B4-BE49-F238E27FC236}">
                  <a16:creationId xmlns:a16="http://schemas.microsoft.com/office/drawing/2014/main" id="{96A31553-1F77-4ED1-B7C2-0AA3A9ADD5A1}"/>
                </a:ext>
              </a:extLst>
            </p:cNvPr>
            <p:cNvSpPr/>
            <p:nvPr/>
          </p:nvSpPr>
          <p:spPr bwMode="auto">
            <a:xfrm flipH="1">
              <a:off x="2910233" y="4138871"/>
              <a:ext cx="129472" cy="238126"/>
            </a:xfrm>
            <a:custGeom>
              <a:avLst/>
              <a:gdLst>
                <a:gd name="T0" fmla="*/ 30 w 60"/>
                <a:gd name="T1" fmla="*/ 6 h 117"/>
                <a:gd name="T2" fmla="*/ 25 w 60"/>
                <a:gd name="T3" fmla="*/ 3 h 117"/>
                <a:gd name="T4" fmla="*/ 21 w 60"/>
                <a:gd name="T5" fmla="*/ 17 h 117"/>
                <a:gd name="T6" fmla="*/ 19 w 60"/>
                <a:gd name="T7" fmla="*/ 17 h 117"/>
                <a:gd name="T8" fmla="*/ 17 w 60"/>
                <a:gd name="T9" fmla="*/ 18 h 117"/>
                <a:gd name="T10" fmla="*/ 5 w 60"/>
                <a:gd name="T11" fmla="*/ 11 h 117"/>
                <a:gd name="T12" fmla="*/ 3 w 60"/>
                <a:gd name="T13" fmla="*/ 15 h 117"/>
                <a:gd name="T14" fmla="*/ 14 w 60"/>
                <a:gd name="T15" fmla="*/ 23 h 117"/>
                <a:gd name="T16" fmla="*/ 15 w 60"/>
                <a:gd name="T17" fmla="*/ 26 h 117"/>
                <a:gd name="T18" fmla="*/ 20 w 60"/>
                <a:gd name="T19" fmla="*/ 41 h 117"/>
                <a:gd name="T20" fmla="*/ 26 w 60"/>
                <a:gd name="T21" fmla="*/ 59 h 117"/>
                <a:gd name="T22" fmla="*/ 45 w 60"/>
                <a:gd name="T23" fmla="*/ 112 h 117"/>
                <a:gd name="T24" fmla="*/ 54 w 60"/>
                <a:gd name="T25" fmla="*/ 116 h 117"/>
                <a:gd name="T26" fmla="*/ 59 w 60"/>
                <a:gd name="T27" fmla="*/ 107 h 117"/>
                <a:gd name="T28" fmla="*/ 40 w 60"/>
                <a:gd name="T29" fmla="*/ 55 h 117"/>
                <a:gd name="T30" fmla="*/ 33 w 60"/>
                <a:gd name="T31" fmla="*/ 37 h 117"/>
                <a:gd name="T32" fmla="*/ 28 w 60"/>
                <a:gd name="T33" fmla="*/ 21 h 117"/>
                <a:gd name="T34" fmla="*/ 26 w 60"/>
                <a:gd name="T35" fmla="*/ 19 h 117"/>
                <a:gd name="T36" fmla="*/ 30 w 60"/>
                <a:gd name="T37" fmla="*/ 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17">
                  <a:moveTo>
                    <a:pt x="30" y="6"/>
                  </a:moveTo>
                  <a:cubicBezTo>
                    <a:pt x="31" y="3"/>
                    <a:pt x="27" y="0"/>
                    <a:pt x="25" y="3"/>
                  </a:cubicBezTo>
                  <a:cubicBezTo>
                    <a:pt x="23" y="8"/>
                    <a:pt x="22" y="12"/>
                    <a:pt x="21" y="17"/>
                  </a:cubicBezTo>
                  <a:cubicBezTo>
                    <a:pt x="20" y="17"/>
                    <a:pt x="20" y="17"/>
                    <a:pt x="19" y="17"/>
                  </a:cubicBezTo>
                  <a:cubicBezTo>
                    <a:pt x="18" y="17"/>
                    <a:pt x="17" y="18"/>
                    <a:pt x="17" y="18"/>
                  </a:cubicBezTo>
                  <a:cubicBezTo>
                    <a:pt x="13" y="15"/>
                    <a:pt x="10" y="12"/>
                    <a:pt x="5" y="11"/>
                  </a:cubicBezTo>
                  <a:cubicBezTo>
                    <a:pt x="2" y="9"/>
                    <a:pt x="0" y="14"/>
                    <a:pt x="3" y="15"/>
                  </a:cubicBezTo>
                  <a:cubicBezTo>
                    <a:pt x="7" y="17"/>
                    <a:pt x="11" y="20"/>
                    <a:pt x="14" y="23"/>
                  </a:cubicBezTo>
                  <a:cubicBezTo>
                    <a:pt x="14" y="24"/>
                    <a:pt x="14" y="25"/>
                    <a:pt x="15" y="26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7" y="116"/>
                    <a:pt x="51" y="117"/>
                    <a:pt x="54" y="116"/>
                  </a:cubicBezTo>
                  <a:cubicBezTo>
                    <a:pt x="58" y="115"/>
                    <a:pt x="60" y="111"/>
                    <a:pt x="59" y="107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0"/>
                    <a:pt x="27" y="19"/>
                    <a:pt x="26" y="19"/>
                  </a:cubicBezTo>
                  <a:cubicBezTo>
                    <a:pt x="26" y="14"/>
                    <a:pt x="28" y="10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8" name="íṧļíḓé">
              <a:extLst>
                <a:ext uri="{FF2B5EF4-FFF2-40B4-BE49-F238E27FC236}">
                  <a16:creationId xmlns:a16="http://schemas.microsoft.com/office/drawing/2014/main" id="{A92A3939-ACC7-4EB4-88E5-2F4DF06F1568}"/>
                </a:ext>
              </a:extLst>
            </p:cNvPr>
            <p:cNvSpPr/>
            <p:nvPr/>
          </p:nvSpPr>
          <p:spPr bwMode="auto">
            <a:xfrm flipH="1">
              <a:off x="4440198" y="3982413"/>
              <a:ext cx="118531" cy="166774"/>
            </a:xfrm>
            <a:custGeom>
              <a:avLst/>
              <a:gdLst>
                <a:gd name="T0" fmla="*/ 130 w 130"/>
                <a:gd name="T1" fmla="*/ 35 h 194"/>
                <a:gd name="T2" fmla="*/ 99 w 130"/>
                <a:gd name="T3" fmla="*/ 35 h 194"/>
                <a:gd name="T4" fmla="*/ 116 w 130"/>
                <a:gd name="T5" fmla="*/ 0 h 194"/>
                <a:gd name="T6" fmla="*/ 73 w 130"/>
                <a:gd name="T7" fmla="*/ 0 h 194"/>
                <a:gd name="T8" fmla="*/ 68 w 130"/>
                <a:gd name="T9" fmla="*/ 0 h 194"/>
                <a:gd name="T10" fmla="*/ 49 w 130"/>
                <a:gd name="T11" fmla="*/ 0 h 194"/>
                <a:gd name="T12" fmla="*/ 9 w 130"/>
                <a:gd name="T13" fmla="*/ 83 h 194"/>
                <a:gd name="T14" fmla="*/ 45 w 130"/>
                <a:gd name="T15" fmla="*/ 83 h 194"/>
                <a:gd name="T16" fmla="*/ 0 w 130"/>
                <a:gd name="T17" fmla="*/ 194 h 194"/>
                <a:gd name="T18" fmla="*/ 130 w 130"/>
                <a:gd name="T19" fmla="*/ 3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94">
                  <a:moveTo>
                    <a:pt x="130" y="35"/>
                  </a:moveTo>
                  <a:lnTo>
                    <a:pt x="99" y="35"/>
                  </a:lnTo>
                  <a:lnTo>
                    <a:pt x="116" y="0"/>
                  </a:lnTo>
                  <a:lnTo>
                    <a:pt x="73" y="0"/>
                  </a:lnTo>
                  <a:lnTo>
                    <a:pt x="68" y="0"/>
                  </a:lnTo>
                  <a:lnTo>
                    <a:pt x="49" y="0"/>
                  </a:lnTo>
                  <a:lnTo>
                    <a:pt x="9" y="83"/>
                  </a:lnTo>
                  <a:lnTo>
                    <a:pt x="45" y="83"/>
                  </a:lnTo>
                  <a:lnTo>
                    <a:pt x="0" y="194"/>
                  </a:lnTo>
                  <a:lnTo>
                    <a:pt x="13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9" name="ïṡḷíḓe">
              <a:extLst>
                <a:ext uri="{FF2B5EF4-FFF2-40B4-BE49-F238E27FC236}">
                  <a16:creationId xmlns:a16="http://schemas.microsoft.com/office/drawing/2014/main" id="{6CB1D6A8-DAC3-4CB4-81DC-1BA9AC68B215}"/>
                </a:ext>
              </a:extLst>
            </p:cNvPr>
            <p:cNvSpPr/>
            <p:nvPr/>
          </p:nvSpPr>
          <p:spPr bwMode="auto">
            <a:xfrm flipH="1">
              <a:off x="4302519" y="3785552"/>
              <a:ext cx="323682" cy="186546"/>
            </a:xfrm>
            <a:custGeom>
              <a:avLst/>
              <a:gdLst>
                <a:gd name="T0" fmla="*/ 0 w 150"/>
                <a:gd name="T1" fmla="*/ 76 h 92"/>
                <a:gd name="T2" fmla="*/ 16 w 150"/>
                <a:gd name="T3" fmla="*/ 92 h 92"/>
                <a:gd name="T4" fmla="*/ 54 w 150"/>
                <a:gd name="T5" fmla="*/ 92 h 92"/>
                <a:gd name="T6" fmla="*/ 60 w 150"/>
                <a:gd name="T7" fmla="*/ 92 h 92"/>
                <a:gd name="T8" fmla="*/ 62 w 150"/>
                <a:gd name="T9" fmla="*/ 92 h 92"/>
                <a:gd name="T10" fmla="*/ 83 w 150"/>
                <a:gd name="T11" fmla="*/ 92 h 92"/>
                <a:gd name="T12" fmla="*/ 124 w 150"/>
                <a:gd name="T13" fmla="*/ 92 h 92"/>
                <a:gd name="T14" fmla="*/ 150 w 150"/>
                <a:gd name="T15" fmla="*/ 66 h 92"/>
                <a:gd name="T16" fmla="*/ 124 w 150"/>
                <a:gd name="T17" fmla="*/ 39 h 92"/>
                <a:gd name="T18" fmla="*/ 106 w 150"/>
                <a:gd name="T19" fmla="*/ 45 h 92"/>
                <a:gd name="T20" fmla="*/ 60 w 150"/>
                <a:gd name="T21" fmla="*/ 0 h 92"/>
                <a:gd name="T22" fmla="*/ 14 w 150"/>
                <a:gd name="T23" fmla="*/ 46 h 92"/>
                <a:gd name="T24" fmla="*/ 16 w 150"/>
                <a:gd name="T25" fmla="*/ 60 h 92"/>
                <a:gd name="T26" fmla="*/ 0 w 150"/>
                <a:gd name="T2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92">
                  <a:moveTo>
                    <a:pt x="0" y="76"/>
                  </a:moveTo>
                  <a:cubicBezTo>
                    <a:pt x="0" y="85"/>
                    <a:pt x="7" y="92"/>
                    <a:pt x="16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83" y="92"/>
                    <a:pt x="83" y="92"/>
                    <a:pt x="83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38" y="92"/>
                    <a:pt x="150" y="80"/>
                    <a:pt x="150" y="66"/>
                  </a:cubicBezTo>
                  <a:cubicBezTo>
                    <a:pt x="150" y="51"/>
                    <a:pt x="138" y="39"/>
                    <a:pt x="124" y="39"/>
                  </a:cubicBezTo>
                  <a:cubicBezTo>
                    <a:pt x="117" y="39"/>
                    <a:pt x="111" y="41"/>
                    <a:pt x="106" y="45"/>
                  </a:cubicBezTo>
                  <a:cubicBezTo>
                    <a:pt x="106" y="20"/>
                    <a:pt x="85" y="0"/>
                    <a:pt x="60" y="0"/>
                  </a:cubicBezTo>
                  <a:cubicBezTo>
                    <a:pt x="34" y="0"/>
                    <a:pt x="14" y="21"/>
                    <a:pt x="14" y="46"/>
                  </a:cubicBezTo>
                  <a:cubicBezTo>
                    <a:pt x="14" y="51"/>
                    <a:pt x="14" y="55"/>
                    <a:pt x="16" y="60"/>
                  </a:cubicBezTo>
                  <a:cubicBezTo>
                    <a:pt x="7" y="60"/>
                    <a:pt x="0" y="67"/>
                    <a:pt x="0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0" name="ïślíḑe">
              <a:extLst>
                <a:ext uri="{FF2B5EF4-FFF2-40B4-BE49-F238E27FC236}">
                  <a16:creationId xmlns:a16="http://schemas.microsoft.com/office/drawing/2014/main" id="{D9ABA249-A9C6-4F35-B357-1FE340E3748D}"/>
                </a:ext>
              </a:extLst>
            </p:cNvPr>
            <p:cNvSpPr/>
            <p:nvPr/>
          </p:nvSpPr>
          <p:spPr bwMode="auto">
            <a:xfrm flipH="1">
              <a:off x="2109690" y="3252563"/>
              <a:ext cx="372918" cy="174511"/>
            </a:xfrm>
            <a:custGeom>
              <a:avLst/>
              <a:gdLst>
                <a:gd name="T0" fmla="*/ 149 w 173"/>
                <a:gd name="T1" fmla="*/ 61 h 86"/>
                <a:gd name="T2" fmla="*/ 173 w 173"/>
                <a:gd name="T3" fmla="*/ 31 h 86"/>
                <a:gd name="T4" fmla="*/ 149 w 173"/>
                <a:gd name="T5" fmla="*/ 1 h 86"/>
                <a:gd name="T6" fmla="*/ 149 w 173"/>
                <a:gd name="T7" fmla="*/ 15 h 86"/>
                <a:gd name="T8" fmla="*/ 160 w 173"/>
                <a:gd name="T9" fmla="*/ 31 h 86"/>
                <a:gd name="T10" fmla="*/ 149 w 173"/>
                <a:gd name="T11" fmla="*/ 47 h 86"/>
                <a:gd name="T12" fmla="*/ 149 w 173"/>
                <a:gd name="T13" fmla="*/ 61 h 86"/>
                <a:gd name="T14" fmla="*/ 73 w 173"/>
                <a:gd name="T15" fmla="*/ 86 h 86"/>
                <a:gd name="T16" fmla="*/ 130 w 173"/>
                <a:gd name="T17" fmla="*/ 59 h 86"/>
                <a:gd name="T18" fmla="*/ 143 w 173"/>
                <a:gd name="T19" fmla="*/ 61 h 86"/>
                <a:gd name="T20" fmla="*/ 149 w 173"/>
                <a:gd name="T21" fmla="*/ 61 h 86"/>
                <a:gd name="T22" fmla="*/ 149 w 173"/>
                <a:gd name="T23" fmla="*/ 47 h 86"/>
                <a:gd name="T24" fmla="*/ 143 w 173"/>
                <a:gd name="T25" fmla="*/ 48 h 86"/>
                <a:gd name="T26" fmla="*/ 137 w 173"/>
                <a:gd name="T27" fmla="*/ 47 h 86"/>
                <a:gd name="T28" fmla="*/ 145 w 173"/>
                <a:gd name="T29" fmla="*/ 14 h 86"/>
                <a:gd name="T30" fmla="*/ 145 w 173"/>
                <a:gd name="T31" fmla="*/ 14 h 86"/>
                <a:gd name="T32" fmla="*/ 145 w 173"/>
                <a:gd name="T33" fmla="*/ 14 h 86"/>
                <a:gd name="T34" fmla="*/ 149 w 173"/>
                <a:gd name="T35" fmla="*/ 15 h 86"/>
                <a:gd name="T36" fmla="*/ 149 w 173"/>
                <a:gd name="T37" fmla="*/ 1 h 86"/>
                <a:gd name="T38" fmla="*/ 144 w 173"/>
                <a:gd name="T39" fmla="*/ 0 h 86"/>
                <a:gd name="T40" fmla="*/ 144 w 173"/>
                <a:gd name="T41" fmla="*/ 0 h 86"/>
                <a:gd name="T42" fmla="*/ 2 w 173"/>
                <a:gd name="T43" fmla="*/ 0 h 86"/>
                <a:gd name="T44" fmla="*/ 0 w 173"/>
                <a:gd name="T45" fmla="*/ 14 h 86"/>
                <a:gd name="T46" fmla="*/ 73 w 173"/>
                <a:gd name="T4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3" h="86">
                  <a:moveTo>
                    <a:pt x="149" y="61"/>
                  </a:moveTo>
                  <a:cubicBezTo>
                    <a:pt x="163" y="58"/>
                    <a:pt x="173" y="46"/>
                    <a:pt x="173" y="31"/>
                  </a:cubicBezTo>
                  <a:cubicBezTo>
                    <a:pt x="173" y="16"/>
                    <a:pt x="163" y="4"/>
                    <a:pt x="149" y="1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55" y="17"/>
                    <a:pt x="160" y="23"/>
                    <a:pt x="160" y="31"/>
                  </a:cubicBezTo>
                  <a:cubicBezTo>
                    <a:pt x="160" y="38"/>
                    <a:pt x="155" y="45"/>
                    <a:pt x="149" y="47"/>
                  </a:cubicBezTo>
                  <a:lnTo>
                    <a:pt x="149" y="61"/>
                  </a:lnTo>
                  <a:close/>
                  <a:moveTo>
                    <a:pt x="73" y="86"/>
                  </a:moveTo>
                  <a:cubicBezTo>
                    <a:pt x="96" y="86"/>
                    <a:pt x="117" y="75"/>
                    <a:pt x="130" y="59"/>
                  </a:cubicBezTo>
                  <a:cubicBezTo>
                    <a:pt x="134" y="60"/>
                    <a:pt x="138" y="61"/>
                    <a:pt x="143" y="61"/>
                  </a:cubicBezTo>
                  <a:cubicBezTo>
                    <a:pt x="145" y="61"/>
                    <a:pt x="147" y="61"/>
                    <a:pt x="149" y="61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7" y="48"/>
                    <a:pt x="145" y="48"/>
                    <a:pt x="143" y="48"/>
                  </a:cubicBezTo>
                  <a:cubicBezTo>
                    <a:pt x="141" y="48"/>
                    <a:pt x="139" y="48"/>
                    <a:pt x="137" y="47"/>
                  </a:cubicBezTo>
                  <a:cubicBezTo>
                    <a:pt x="142" y="37"/>
                    <a:pt x="145" y="26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6" y="14"/>
                    <a:pt x="148" y="14"/>
                    <a:pt x="149" y="15"/>
                  </a:cubicBezTo>
                  <a:cubicBezTo>
                    <a:pt x="149" y="1"/>
                    <a:pt x="149" y="1"/>
                    <a:pt x="149" y="1"/>
                  </a:cubicBezTo>
                  <a:cubicBezTo>
                    <a:pt x="147" y="1"/>
                    <a:pt x="146" y="0"/>
                    <a:pt x="14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5"/>
                    <a:pt x="0" y="9"/>
                    <a:pt x="0" y="14"/>
                  </a:cubicBezTo>
                  <a:cubicBezTo>
                    <a:pt x="0" y="54"/>
                    <a:pt x="33" y="86"/>
                    <a:pt x="73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1" name="îşļíḍe">
              <a:extLst>
                <a:ext uri="{FF2B5EF4-FFF2-40B4-BE49-F238E27FC236}">
                  <a16:creationId xmlns:a16="http://schemas.microsoft.com/office/drawing/2014/main" id="{C6292E9F-D712-4CD7-BF5C-0B36093C4822}"/>
                </a:ext>
              </a:extLst>
            </p:cNvPr>
            <p:cNvSpPr/>
            <p:nvPr/>
          </p:nvSpPr>
          <p:spPr bwMode="auto">
            <a:xfrm flipH="1">
              <a:off x="2144338" y="3443408"/>
              <a:ext cx="338270" cy="26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2" name="iṩḷîdê">
              <a:extLst>
                <a:ext uri="{FF2B5EF4-FFF2-40B4-BE49-F238E27FC236}">
                  <a16:creationId xmlns:a16="http://schemas.microsoft.com/office/drawing/2014/main" id="{50595D80-AA54-4241-8847-56136878556D}"/>
                </a:ext>
              </a:extLst>
            </p:cNvPr>
            <p:cNvSpPr/>
            <p:nvPr/>
          </p:nvSpPr>
          <p:spPr bwMode="auto">
            <a:xfrm flipH="1">
              <a:off x="2344930" y="3097825"/>
              <a:ext cx="60177" cy="144423"/>
            </a:xfrm>
            <a:custGeom>
              <a:avLst/>
              <a:gdLst>
                <a:gd name="T0" fmla="*/ 10 w 28"/>
                <a:gd name="T1" fmla="*/ 54 h 71"/>
                <a:gd name="T2" fmla="*/ 14 w 28"/>
                <a:gd name="T3" fmla="*/ 68 h 71"/>
                <a:gd name="T4" fmla="*/ 26 w 28"/>
                <a:gd name="T5" fmla="*/ 44 h 71"/>
                <a:gd name="T6" fmla="*/ 19 w 28"/>
                <a:gd name="T7" fmla="*/ 29 h 71"/>
                <a:gd name="T8" fmla="*/ 18 w 28"/>
                <a:gd name="T9" fmla="*/ 18 h 71"/>
                <a:gd name="T10" fmla="*/ 11 w 28"/>
                <a:gd name="T11" fmla="*/ 5 h 71"/>
                <a:gd name="T12" fmla="*/ 3 w 28"/>
                <a:gd name="T13" fmla="*/ 30 h 71"/>
                <a:gd name="T14" fmla="*/ 10 w 28"/>
                <a:gd name="T15" fmla="*/ 5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1">
                  <a:moveTo>
                    <a:pt x="10" y="54"/>
                  </a:moveTo>
                  <a:cubicBezTo>
                    <a:pt x="1" y="57"/>
                    <a:pt x="5" y="71"/>
                    <a:pt x="14" y="68"/>
                  </a:cubicBezTo>
                  <a:cubicBezTo>
                    <a:pt x="25" y="65"/>
                    <a:pt x="28" y="54"/>
                    <a:pt x="26" y="44"/>
                  </a:cubicBezTo>
                  <a:cubicBezTo>
                    <a:pt x="24" y="38"/>
                    <a:pt x="21" y="34"/>
                    <a:pt x="19" y="29"/>
                  </a:cubicBezTo>
                  <a:cubicBezTo>
                    <a:pt x="17" y="26"/>
                    <a:pt x="15" y="20"/>
                    <a:pt x="18" y="18"/>
                  </a:cubicBezTo>
                  <a:cubicBezTo>
                    <a:pt x="26" y="13"/>
                    <a:pt x="19" y="0"/>
                    <a:pt x="11" y="5"/>
                  </a:cubicBezTo>
                  <a:cubicBezTo>
                    <a:pt x="2" y="11"/>
                    <a:pt x="0" y="21"/>
                    <a:pt x="3" y="30"/>
                  </a:cubicBezTo>
                  <a:cubicBezTo>
                    <a:pt x="4" y="34"/>
                    <a:pt x="17" y="52"/>
                    <a:pt x="10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3" name="ï$ļîde">
              <a:extLst>
                <a:ext uri="{FF2B5EF4-FFF2-40B4-BE49-F238E27FC236}">
                  <a16:creationId xmlns:a16="http://schemas.microsoft.com/office/drawing/2014/main" id="{588E54C0-BFFE-4772-B2FD-C5F94E1FA317}"/>
                </a:ext>
              </a:extLst>
            </p:cNvPr>
            <p:cNvSpPr/>
            <p:nvPr/>
          </p:nvSpPr>
          <p:spPr bwMode="auto">
            <a:xfrm flipH="1">
              <a:off x="2256487" y="3097825"/>
              <a:ext cx="60177" cy="144423"/>
            </a:xfrm>
            <a:custGeom>
              <a:avLst/>
              <a:gdLst>
                <a:gd name="T0" fmla="*/ 10 w 28"/>
                <a:gd name="T1" fmla="*/ 54 h 71"/>
                <a:gd name="T2" fmla="*/ 14 w 28"/>
                <a:gd name="T3" fmla="*/ 68 h 71"/>
                <a:gd name="T4" fmla="*/ 25 w 28"/>
                <a:gd name="T5" fmla="*/ 44 h 71"/>
                <a:gd name="T6" fmla="*/ 18 w 28"/>
                <a:gd name="T7" fmla="*/ 29 h 71"/>
                <a:gd name="T8" fmla="*/ 18 w 28"/>
                <a:gd name="T9" fmla="*/ 18 h 71"/>
                <a:gd name="T10" fmla="*/ 10 w 28"/>
                <a:gd name="T11" fmla="*/ 5 h 71"/>
                <a:gd name="T12" fmla="*/ 3 w 28"/>
                <a:gd name="T13" fmla="*/ 30 h 71"/>
                <a:gd name="T14" fmla="*/ 10 w 28"/>
                <a:gd name="T15" fmla="*/ 5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1">
                  <a:moveTo>
                    <a:pt x="10" y="54"/>
                  </a:moveTo>
                  <a:cubicBezTo>
                    <a:pt x="1" y="57"/>
                    <a:pt x="5" y="71"/>
                    <a:pt x="14" y="68"/>
                  </a:cubicBezTo>
                  <a:cubicBezTo>
                    <a:pt x="24" y="65"/>
                    <a:pt x="28" y="54"/>
                    <a:pt x="25" y="44"/>
                  </a:cubicBezTo>
                  <a:cubicBezTo>
                    <a:pt x="24" y="38"/>
                    <a:pt x="21" y="34"/>
                    <a:pt x="18" y="29"/>
                  </a:cubicBezTo>
                  <a:cubicBezTo>
                    <a:pt x="17" y="26"/>
                    <a:pt x="14" y="20"/>
                    <a:pt x="18" y="18"/>
                  </a:cubicBezTo>
                  <a:cubicBezTo>
                    <a:pt x="26" y="13"/>
                    <a:pt x="19" y="0"/>
                    <a:pt x="10" y="5"/>
                  </a:cubicBezTo>
                  <a:cubicBezTo>
                    <a:pt x="2" y="11"/>
                    <a:pt x="0" y="21"/>
                    <a:pt x="3" y="30"/>
                  </a:cubicBezTo>
                  <a:cubicBezTo>
                    <a:pt x="4" y="34"/>
                    <a:pt x="16" y="52"/>
                    <a:pt x="10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4" name="íṩḷîḓe">
              <a:extLst>
                <a:ext uri="{FF2B5EF4-FFF2-40B4-BE49-F238E27FC236}">
                  <a16:creationId xmlns:a16="http://schemas.microsoft.com/office/drawing/2014/main" id="{31ACD34F-4A56-4348-BBF9-BBFCEDAED51E}"/>
                </a:ext>
              </a:extLst>
            </p:cNvPr>
            <p:cNvSpPr/>
            <p:nvPr/>
          </p:nvSpPr>
          <p:spPr bwMode="auto">
            <a:xfrm flipH="1">
              <a:off x="3646038" y="4065800"/>
              <a:ext cx="153179" cy="233827"/>
            </a:xfrm>
            <a:custGeom>
              <a:avLst/>
              <a:gdLst>
                <a:gd name="T0" fmla="*/ 168 w 168"/>
                <a:gd name="T1" fmla="*/ 158 h 272"/>
                <a:gd name="T2" fmla="*/ 168 w 168"/>
                <a:gd name="T3" fmla="*/ 0 h 272"/>
                <a:gd name="T4" fmla="*/ 85 w 168"/>
                <a:gd name="T5" fmla="*/ 0 h 272"/>
                <a:gd name="T6" fmla="*/ 0 w 168"/>
                <a:gd name="T7" fmla="*/ 218 h 272"/>
                <a:gd name="T8" fmla="*/ 123 w 168"/>
                <a:gd name="T9" fmla="*/ 272 h 272"/>
                <a:gd name="T10" fmla="*/ 168 w 168"/>
                <a:gd name="T11" fmla="*/ 15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272">
                  <a:moveTo>
                    <a:pt x="168" y="158"/>
                  </a:moveTo>
                  <a:lnTo>
                    <a:pt x="168" y="0"/>
                  </a:lnTo>
                  <a:lnTo>
                    <a:pt x="85" y="0"/>
                  </a:lnTo>
                  <a:lnTo>
                    <a:pt x="0" y="218"/>
                  </a:lnTo>
                  <a:lnTo>
                    <a:pt x="123" y="272"/>
                  </a:lnTo>
                  <a:lnTo>
                    <a:pt x="168" y="1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5" name="îšḻidè">
              <a:extLst>
                <a:ext uri="{FF2B5EF4-FFF2-40B4-BE49-F238E27FC236}">
                  <a16:creationId xmlns:a16="http://schemas.microsoft.com/office/drawing/2014/main" id="{2E0FF459-55D7-49C6-BC22-00F0EE3C5121}"/>
                </a:ext>
              </a:extLst>
            </p:cNvPr>
            <p:cNvSpPr/>
            <p:nvPr/>
          </p:nvSpPr>
          <p:spPr bwMode="auto">
            <a:xfrm flipH="1">
              <a:off x="3609567" y="4065800"/>
              <a:ext cx="28265" cy="73071"/>
            </a:xfrm>
            <a:custGeom>
              <a:avLst/>
              <a:gdLst>
                <a:gd name="T0" fmla="*/ 0 w 13"/>
                <a:gd name="T1" fmla="*/ 36 h 36"/>
                <a:gd name="T2" fmla="*/ 13 w 13"/>
                <a:gd name="T3" fmla="*/ 2 h 36"/>
                <a:gd name="T4" fmla="*/ 13 w 13"/>
                <a:gd name="T5" fmla="*/ 0 h 36"/>
                <a:gd name="T6" fmla="*/ 0 w 13"/>
                <a:gd name="T7" fmla="*/ 0 h 36"/>
                <a:gd name="T8" fmla="*/ 0 w 13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6">
                  <a:moveTo>
                    <a:pt x="0" y="36"/>
                  </a:moveTo>
                  <a:cubicBezTo>
                    <a:pt x="12" y="30"/>
                    <a:pt x="13" y="14"/>
                    <a:pt x="13" y="2"/>
                  </a:cubicBezTo>
                  <a:cubicBezTo>
                    <a:pt x="13" y="1"/>
                    <a:pt x="13" y="1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6" name="ïsľíḍê">
              <a:extLst>
                <a:ext uri="{FF2B5EF4-FFF2-40B4-BE49-F238E27FC236}">
                  <a16:creationId xmlns:a16="http://schemas.microsoft.com/office/drawing/2014/main" id="{3A46F136-E598-4F06-BAD4-2951EF78BE39}"/>
                </a:ext>
              </a:extLst>
            </p:cNvPr>
            <p:cNvSpPr/>
            <p:nvPr/>
          </p:nvSpPr>
          <p:spPr bwMode="auto">
            <a:xfrm flipH="1">
              <a:off x="3484654" y="4065800"/>
              <a:ext cx="153179" cy="233827"/>
            </a:xfrm>
            <a:custGeom>
              <a:avLst/>
              <a:gdLst>
                <a:gd name="T0" fmla="*/ 17 w 71"/>
                <a:gd name="T1" fmla="*/ 0 h 115"/>
                <a:gd name="T2" fmla="*/ 17 w 71"/>
                <a:gd name="T3" fmla="*/ 2 h 115"/>
                <a:gd name="T4" fmla="*/ 0 w 71"/>
                <a:gd name="T5" fmla="*/ 41 h 115"/>
                <a:gd name="T6" fmla="*/ 0 w 71"/>
                <a:gd name="T7" fmla="*/ 67 h 115"/>
                <a:gd name="T8" fmla="*/ 20 w 71"/>
                <a:gd name="T9" fmla="*/ 115 h 115"/>
                <a:gd name="T10" fmla="*/ 71 w 71"/>
                <a:gd name="T11" fmla="*/ 92 h 115"/>
                <a:gd name="T12" fmla="*/ 35 w 71"/>
                <a:gd name="T13" fmla="*/ 0 h 115"/>
                <a:gd name="T14" fmla="*/ 17 w 71"/>
                <a:gd name="T1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115">
                  <a:moveTo>
                    <a:pt x="17" y="0"/>
                  </a:moveTo>
                  <a:cubicBezTo>
                    <a:pt x="17" y="1"/>
                    <a:pt x="17" y="1"/>
                    <a:pt x="17" y="2"/>
                  </a:cubicBezTo>
                  <a:cubicBezTo>
                    <a:pt x="17" y="16"/>
                    <a:pt x="15" y="34"/>
                    <a:pt x="0" y="4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7" name="ïslíḍè">
              <a:extLst>
                <a:ext uri="{FF2B5EF4-FFF2-40B4-BE49-F238E27FC236}">
                  <a16:creationId xmlns:a16="http://schemas.microsoft.com/office/drawing/2014/main" id="{3208DFC5-BDED-4F0B-A52A-8A4FFA44217F}"/>
                </a:ext>
              </a:extLst>
            </p:cNvPr>
            <p:cNvSpPr/>
            <p:nvPr/>
          </p:nvSpPr>
          <p:spPr bwMode="auto">
            <a:xfrm flipH="1">
              <a:off x="3562155" y="4039150"/>
              <a:ext cx="159562" cy="20632"/>
            </a:xfrm>
            <a:custGeom>
              <a:avLst/>
              <a:gdLst>
                <a:gd name="T0" fmla="*/ 175 w 175"/>
                <a:gd name="T1" fmla="*/ 0 h 24"/>
                <a:gd name="T2" fmla="*/ 0 w 175"/>
                <a:gd name="T3" fmla="*/ 0 h 24"/>
                <a:gd name="T4" fmla="*/ 0 w 175"/>
                <a:gd name="T5" fmla="*/ 24 h 24"/>
                <a:gd name="T6" fmla="*/ 83 w 175"/>
                <a:gd name="T7" fmla="*/ 24 h 24"/>
                <a:gd name="T8" fmla="*/ 92 w 175"/>
                <a:gd name="T9" fmla="*/ 24 h 24"/>
                <a:gd name="T10" fmla="*/ 175 w 175"/>
                <a:gd name="T11" fmla="*/ 24 h 24"/>
                <a:gd name="T12" fmla="*/ 175 w 175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24">
                  <a:moveTo>
                    <a:pt x="175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83" y="24"/>
                  </a:lnTo>
                  <a:lnTo>
                    <a:pt x="92" y="24"/>
                  </a:lnTo>
                  <a:lnTo>
                    <a:pt x="175" y="2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8" name="îslïḍé">
              <a:extLst>
                <a:ext uri="{FF2B5EF4-FFF2-40B4-BE49-F238E27FC236}">
                  <a16:creationId xmlns:a16="http://schemas.microsoft.com/office/drawing/2014/main" id="{FFA77846-FB97-4F36-A0A9-76E71878881F}"/>
                </a:ext>
              </a:extLst>
            </p:cNvPr>
            <p:cNvSpPr/>
            <p:nvPr/>
          </p:nvSpPr>
          <p:spPr bwMode="auto">
            <a:xfrm flipH="1">
              <a:off x="3150943" y="3351423"/>
              <a:ext cx="258945" cy="333547"/>
            </a:xfrm>
            <a:custGeom>
              <a:avLst/>
              <a:gdLst>
                <a:gd name="T0" fmla="*/ 65 w 120"/>
                <a:gd name="T1" fmla="*/ 31 h 164"/>
                <a:gd name="T2" fmla="*/ 65 w 120"/>
                <a:gd name="T3" fmla="*/ 31 h 164"/>
                <a:gd name="T4" fmla="*/ 65 w 120"/>
                <a:gd name="T5" fmla="*/ 131 h 164"/>
                <a:gd name="T6" fmla="*/ 44 w 120"/>
                <a:gd name="T7" fmla="*/ 153 h 164"/>
                <a:gd name="T8" fmla="*/ 15 w 120"/>
                <a:gd name="T9" fmla="*/ 137 h 164"/>
                <a:gd name="T10" fmla="*/ 20 w 120"/>
                <a:gd name="T11" fmla="*/ 137 h 164"/>
                <a:gd name="T12" fmla="*/ 20 w 120"/>
                <a:gd name="T13" fmla="*/ 129 h 164"/>
                <a:gd name="T14" fmla="*/ 0 w 120"/>
                <a:gd name="T15" fmla="*/ 129 h 164"/>
                <a:gd name="T16" fmla="*/ 0 w 120"/>
                <a:gd name="T17" fmla="*/ 137 h 164"/>
                <a:gd name="T18" fmla="*/ 6 w 120"/>
                <a:gd name="T19" fmla="*/ 137 h 164"/>
                <a:gd name="T20" fmla="*/ 41 w 120"/>
                <a:gd name="T21" fmla="*/ 163 h 164"/>
                <a:gd name="T22" fmla="*/ 75 w 120"/>
                <a:gd name="T23" fmla="*/ 129 h 164"/>
                <a:gd name="T24" fmla="*/ 74 w 120"/>
                <a:gd name="T25" fmla="*/ 31 h 164"/>
                <a:gd name="T26" fmla="*/ 92 w 120"/>
                <a:gd name="T27" fmla="*/ 10 h 164"/>
                <a:gd name="T28" fmla="*/ 110 w 120"/>
                <a:gd name="T29" fmla="*/ 32 h 164"/>
                <a:gd name="T30" fmla="*/ 110 w 120"/>
                <a:gd name="T31" fmla="*/ 142 h 164"/>
                <a:gd name="T32" fmla="*/ 120 w 120"/>
                <a:gd name="T33" fmla="*/ 142 h 164"/>
                <a:gd name="T34" fmla="*/ 119 w 120"/>
                <a:gd name="T35" fmla="*/ 30 h 164"/>
                <a:gd name="T36" fmla="*/ 93 w 120"/>
                <a:gd name="T37" fmla="*/ 1 h 164"/>
                <a:gd name="T38" fmla="*/ 65 w 120"/>
                <a:gd name="T39" fmla="*/ 3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64">
                  <a:moveTo>
                    <a:pt x="65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130"/>
                    <a:pt x="65" y="131"/>
                  </a:cubicBezTo>
                  <a:cubicBezTo>
                    <a:pt x="65" y="142"/>
                    <a:pt x="55" y="150"/>
                    <a:pt x="44" y="153"/>
                  </a:cubicBezTo>
                  <a:cubicBezTo>
                    <a:pt x="34" y="156"/>
                    <a:pt x="13" y="151"/>
                    <a:pt x="15" y="137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6" y="137"/>
                    <a:pt x="6" y="137"/>
                    <a:pt x="6" y="137"/>
                  </a:cubicBezTo>
                  <a:cubicBezTo>
                    <a:pt x="5" y="155"/>
                    <a:pt x="25" y="164"/>
                    <a:pt x="41" y="163"/>
                  </a:cubicBezTo>
                  <a:cubicBezTo>
                    <a:pt x="59" y="162"/>
                    <a:pt x="75" y="146"/>
                    <a:pt x="75" y="129"/>
                  </a:cubicBezTo>
                  <a:cubicBezTo>
                    <a:pt x="75" y="127"/>
                    <a:pt x="74" y="32"/>
                    <a:pt x="74" y="31"/>
                  </a:cubicBezTo>
                  <a:cubicBezTo>
                    <a:pt x="74" y="21"/>
                    <a:pt x="80" y="10"/>
                    <a:pt x="92" y="10"/>
                  </a:cubicBezTo>
                  <a:cubicBezTo>
                    <a:pt x="104" y="10"/>
                    <a:pt x="110" y="21"/>
                    <a:pt x="110" y="32"/>
                  </a:cubicBezTo>
                  <a:cubicBezTo>
                    <a:pt x="110" y="33"/>
                    <a:pt x="110" y="142"/>
                    <a:pt x="110" y="142"/>
                  </a:cubicBezTo>
                  <a:cubicBezTo>
                    <a:pt x="110" y="148"/>
                    <a:pt x="120" y="148"/>
                    <a:pt x="120" y="142"/>
                  </a:cubicBezTo>
                  <a:cubicBezTo>
                    <a:pt x="120" y="142"/>
                    <a:pt x="120" y="31"/>
                    <a:pt x="119" y="30"/>
                  </a:cubicBezTo>
                  <a:cubicBezTo>
                    <a:pt x="119" y="15"/>
                    <a:pt x="108" y="2"/>
                    <a:pt x="93" y="1"/>
                  </a:cubicBezTo>
                  <a:cubicBezTo>
                    <a:pt x="76" y="0"/>
                    <a:pt x="65" y="15"/>
                    <a:pt x="6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9" name="îṡliḋe">
              <a:extLst>
                <a:ext uri="{FF2B5EF4-FFF2-40B4-BE49-F238E27FC236}">
                  <a16:creationId xmlns:a16="http://schemas.microsoft.com/office/drawing/2014/main" id="{343ADE68-ADFF-4365-B4BA-3349FF341C67}"/>
                </a:ext>
              </a:extLst>
            </p:cNvPr>
            <p:cNvSpPr/>
            <p:nvPr/>
          </p:nvSpPr>
          <p:spPr bwMode="auto">
            <a:xfrm flipH="1">
              <a:off x="3334210" y="3431371"/>
              <a:ext cx="107590" cy="172792"/>
            </a:xfrm>
            <a:custGeom>
              <a:avLst/>
              <a:gdLst>
                <a:gd name="T0" fmla="*/ 15 w 50"/>
                <a:gd name="T1" fmla="*/ 85 h 85"/>
                <a:gd name="T2" fmla="*/ 35 w 50"/>
                <a:gd name="T3" fmla="*/ 85 h 85"/>
                <a:gd name="T4" fmla="*/ 41 w 50"/>
                <a:gd name="T5" fmla="*/ 85 h 85"/>
                <a:gd name="T6" fmla="*/ 50 w 50"/>
                <a:gd name="T7" fmla="*/ 0 h 85"/>
                <a:gd name="T8" fmla="*/ 25 w 50"/>
                <a:gd name="T9" fmla="*/ 7 h 85"/>
                <a:gd name="T10" fmla="*/ 0 w 50"/>
                <a:gd name="T11" fmla="*/ 0 h 85"/>
                <a:gd name="T12" fmla="*/ 8 w 50"/>
                <a:gd name="T13" fmla="*/ 85 h 85"/>
                <a:gd name="T14" fmla="*/ 15 w 50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85">
                  <a:moveTo>
                    <a:pt x="15" y="85"/>
                  </a:moveTo>
                  <a:cubicBezTo>
                    <a:pt x="35" y="85"/>
                    <a:pt x="35" y="85"/>
                    <a:pt x="35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3" y="4"/>
                    <a:pt x="34" y="7"/>
                    <a:pt x="25" y="7"/>
                  </a:cubicBezTo>
                  <a:cubicBezTo>
                    <a:pt x="16" y="7"/>
                    <a:pt x="7" y="4"/>
                    <a:pt x="0" y="0"/>
                  </a:cubicBezTo>
                  <a:cubicBezTo>
                    <a:pt x="8" y="85"/>
                    <a:pt x="8" y="85"/>
                    <a:pt x="8" y="85"/>
                  </a:cubicBezTo>
                  <a:lnTo>
                    <a:pt x="1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0" name="íslîḓé">
              <a:extLst>
                <a:ext uri="{FF2B5EF4-FFF2-40B4-BE49-F238E27FC236}">
                  <a16:creationId xmlns:a16="http://schemas.microsoft.com/office/drawing/2014/main" id="{12466BD7-73D7-4F57-81B1-C81C2446C843}"/>
                </a:ext>
              </a:extLst>
            </p:cNvPr>
            <p:cNvSpPr/>
            <p:nvPr/>
          </p:nvSpPr>
          <p:spPr bwMode="auto">
            <a:xfrm flipH="1">
              <a:off x="3321445" y="3321335"/>
              <a:ext cx="135855" cy="113474"/>
            </a:xfrm>
            <a:custGeom>
              <a:avLst/>
              <a:gdLst>
                <a:gd name="T0" fmla="*/ 0 w 63"/>
                <a:gd name="T1" fmla="*/ 32 h 56"/>
                <a:gd name="T2" fmla="*/ 3 w 63"/>
                <a:gd name="T3" fmla="*/ 44 h 56"/>
                <a:gd name="T4" fmla="*/ 5 w 63"/>
                <a:gd name="T5" fmla="*/ 46 h 56"/>
                <a:gd name="T6" fmla="*/ 7 w 63"/>
                <a:gd name="T7" fmla="*/ 48 h 56"/>
                <a:gd name="T8" fmla="*/ 7 w 63"/>
                <a:gd name="T9" fmla="*/ 48 h 56"/>
                <a:gd name="T10" fmla="*/ 7 w 63"/>
                <a:gd name="T11" fmla="*/ 49 h 56"/>
                <a:gd name="T12" fmla="*/ 31 w 63"/>
                <a:gd name="T13" fmla="*/ 56 h 56"/>
                <a:gd name="T14" fmla="*/ 32 w 63"/>
                <a:gd name="T15" fmla="*/ 56 h 56"/>
                <a:gd name="T16" fmla="*/ 32 w 63"/>
                <a:gd name="T17" fmla="*/ 56 h 56"/>
                <a:gd name="T18" fmla="*/ 56 w 63"/>
                <a:gd name="T19" fmla="*/ 49 h 56"/>
                <a:gd name="T20" fmla="*/ 57 w 63"/>
                <a:gd name="T21" fmla="*/ 48 h 56"/>
                <a:gd name="T22" fmla="*/ 57 w 63"/>
                <a:gd name="T23" fmla="*/ 48 h 56"/>
                <a:gd name="T24" fmla="*/ 59 w 63"/>
                <a:gd name="T25" fmla="*/ 46 h 56"/>
                <a:gd name="T26" fmla="*/ 60 w 63"/>
                <a:gd name="T27" fmla="*/ 44 h 56"/>
                <a:gd name="T28" fmla="*/ 63 w 63"/>
                <a:gd name="T29" fmla="*/ 32 h 56"/>
                <a:gd name="T30" fmla="*/ 32 w 63"/>
                <a:gd name="T31" fmla="*/ 0 h 56"/>
                <a:gd name="T32" fmla="*/ 0 w 63"/>
                <a:gd name="T33" fmla="*/ 3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56">
                  <a:moveTo>
                    <a:pt x="0" y="32"/>
                  </a:moveTo>
                  <a:cubicBezTo>
                    <a:pt x="0" y="36"/>
                    <a:pt x="1" y="40"/>
                    <a:pt x="3" y="44"/>
                  </a:cubicBezTo>
                  <a:cubicBezTo>
                    <a:pt x="4" y="45"/>
                    <a:pt x="4" y="45"/>
                    <a:pt x="5" y="46"/>
                  </a:cubicBezTo>
                  <a:cubicBezTo>
                    <a:pt x="6" y="47"/>
                    <a:pt x="6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9"/>
                    <a:pt x="7" y="49"/>
                  </a:cubicBezTo>
                  <a:cubicBezTo>
                    <a:pt x="14" y="53"/>
                    <a:pt x="22" y="56"/>
                    <a:pt x="31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41" y="56"/>
                    <a:pt x="50" y="53"/>
                    <a:pt x="56" y="49"/>
                  </a:cubicBezTo>
                  <a:cubicBezTo>
                    <a:pt x="57" y="49"/>
                    <a:pt x="57" y="48"/>
                    <a:pt x="57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48"/>
                    <a:pt x="58" y="47"/>
                    <a:pt x="59" y="46"/>
                  </a:cubicBezTo>
                  <a:cubicBezTo>
                    <a:pt x="59" y="45"/>
                    <a:pt x="60" y="45"/>
                    <a:pt x="60" y="44"/>
                  </a:cubicBezTo>
                  <a:cubicBezTo>
                    <a:pt x="62" y="40"/>
                    <a:pt x="63" y="36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1" name="iṧľíḓê">
              <a:extLst>
                <a:ext uri="{FF2B5EF4-FFF2-40B4-BE49-F238E27FC236}">
                  <a16:creationId xmlns:a16="http://schemas.microsoft.com/office/drawing/2014/main" id="{9A7D2C4F-5D0C-4312-9B2F-C1F422E3DC93}"/>
                </a:ext>
              </a:extLst>
            </p:cNvPr>
            <p:cNvSpPr/>
            <p:nvPr/>
          </p:nvSpPr>
          <p:spPr bwMode="auto">
            <a:xfrm flipH="1">
              <a:off x="3474624" y="1759335"/>
              <a:ext cx="254387" cy="270792"/>
            </a:xfrm>
            <a:custGeom>
              <a:avLst/>
              <a:gdLst>
                <a:gd name="T0" fmla="*/ 260 w 279"/>
                <a:gd name="T1" fmla="*/ 315 h 315"/>
                <a:gd name="T2" fmla="*/ 260 w 279"/>
                <a:gd name="T3" fmla="*/ 0 h 315"/>
                <a:gd name="T4" fmla="*/ 244 w 279"/>
                <a:gd name="T5" fmla="*/ 36 h 315"/>
                <a:gd name="T6" fmla="*/ 244 w 279"/>
                <a:gd name="T7" fmla="*/ 64 h 315"/>
                <a:gd name="T8" fmla="*/ 260 w 279"/>
                <a:gd name="T9" fmla="*/ 119 h 315"/>
                <a:gd name="T10" fmla="*/ 260 w 279"/>
                <a:gd name="T11" fmla="*/ 142 h 315"/>
                <a:gd name="T12" fmla="*/ 244 w 279"/>
                <a:gd name="T13" fmla="*/ 197 h 315"/>
                <a:gd name="T14" fmla="*/ 244 w 279"/>
                <a:gd name="T15" fmla="*/ 225 h 315"/>
                <a:gd name="T16" fmla="*/ 260 w 279"/>
                <a:gd name="T17" fmla="*/ 279 h 315"/>
                <a:gd name="T18" fmla="*/ 140 w 279"/>
                <a:gd name="T19" fmla="*/ 230 h 315"/>
                <a:gd name="T20" fmla="*/ 227 w 279"/>
                <a:gd name="T21" fmla="*/ 315 h 315"/>
                <a:gd name="T22" fmla="*/ 244 w 279"/>
                <a:gd name="T23" fmla="*/ 279 h 315"/>
                <a:gd name="T24" fmla="*/ 227 w 279"/>
                <a:gd name="T25" fmla="*/ 249 h 315"/>
                <a:gd name="T26" fmla="*/ 227 w 279"/>
                <a:gd name="T27" fmla="*/ 225 h 315"/>
                <a:gd name="T28" fmla="*/ 244 w 279"/>
                <a:gd name="T29" fmla="*/ 197 h 315"/>
                <a:gd name="T30" fmla="*/ 227 w 279"/>
                <a:gd name="T31" fmla="*/ 142 h 315"/>
                <a:gd name="T32" fmla="*/ 244 w 279"/>
                <a:gd name="T33" fmla="*/ 119 h 315"/>
                <a:gd name="T34" fmla="*/ 227 w 279"/>
                <a:gd name="T35" fmla="*/ 88 h 315"/>
                <a:gd name="T36" fmla="*/ 227 w 279"/>
                <a:gd name="T37" fmla="*/ 64 h 315"/>
                <a:gd name="T38" fmla="*/ 244 w 279"/>
                <a:gd name="T39" fmla="*/ 36 h 315"/>
                <a:gd name="T40" fmla="*/ 227 w 279"/>
                <a:gd name="T41" fmla="*/ 0 h 315"/>
                <a:gd name="T42" fmla="*/ 140 w 279"/>
                <a:gd name="T43" fmla="*/ 83 h 315"/>
                <a:gd name="T44" fmla="*/ 206 w 279"/>
                <a:gd name="T45" fmla="*/ 114 h 315"/>
                <a:gd name="T46" fmla="*/ 140 w 279"/>
                <a:gd name="T47" fmla="*/ 230 h 315"/>
                <a:gd name="T48" fmla="*/ 36 w 279"/>
                <a:gd name="T49" fmla="*/ 12 h 315"/>
                <a:gd name="T50" fmla="*/ 52 w 279"/>
                <a:gd name="T51" fmla="*/ 64 h 315"/>
                <a:gd name="T52" fmla="*/ 36 w 279"/>
                <a:gd name="T53" fmla="*/ 88 h 315"/>
                <a:gd name="T54" fmla="*/ 52 w 279"/>
                <a:gd name="T55" fmla="*/ 119 h 315"/>
                <a:gd name="T56" fmla="*/ 52 w 279"/>
                <a:gd name="T57" fmla="*/ 142 h 315"/>
                <a:gd name="T58" fmla="*/ 36 w 279"/>
                <a:gd name="T59" fmla="*/ 171 h 315"/>
                <a:gd name="T60" fmla="*/ 52 w 279"/>
                <a:gd name="T61" fmla="*/ 225 h 315"/>
                <a:gd name="T62" fmla="*/ 36 w 279"/>
                <a:gd name="T63" fmla="*/ 249 h 315"/>
                <a:gd name="T64" fmla="*/ 52 w 279"/>
                <a:gd name="T65" fmla="*/ 279 h 315"/>
                <a:gd name="T66" fmla="*/ 52 w 279"/>
                <a:gd name="T67" fmla="*/ 303 h 315"/>
                <a:gd name="T68" fmla="*/ 74 w 279"/>
                <a:gd name="T69" fmla="*/ 230 h 315"/>
                <a:gd name="T70" fmla="*/ 74 w 279"/>
                <a:gd name="T71" fmla="*/ 199 h 315"/>
                <a:gd name="T72" fmla="*/ 140 w 279"/>
                <a:gd name="T73" fmla="*/ 83 h 315"/>
                <a:gd name="T74" fmla="*/ 52 w 279"/>
                <a:gd name="T75" fmla="*/ 0 h 315"/>
                <a:gd name="T76" fmla="*/ 21 w 279"/>
                <a:gd name="T77" fmla="*/ 0 h 315"/>
                <a:gd name="T78" fmla="*/ 21 w 279"/>
                <a:gd name="T79" fmla="*/ 315 h 315"/>
                <a:gd name="T80" fmla="*/ 36 w 279"/>
                <a:gd name="T81" fmla="*/ 279 h 315"/>
                <a:gd name="T82" fmla="*/ 36 w 279"/>
                <a:gd name="T83" fmla="*/ 249 h 315"/>
                <a:gd name="T84" fmla="*/ 21 w 279"/>
                <a:gd name="T85" fmla="*/ 197 h 315"/>
                <a:gd name="T86" fmla="*/ 21 w 279"/>
                <a:gd name="T87" fmla="*/ 171 h 315"/>
                <a:gd name="T88" fmla="*/ 36 w 279"/>
                <a:gd name="T89" fmla="*/ 119 h 315"/>
                <a:gd name="T90" fmla="*/ 36 w 279"/>
                <a:gd name="T91" fmla="*/ 88 h 315"/>
                <a:gd name="T92" fmla="*/ 21 w 279"/>
                <a:gd name="T93" fmla="*/ 36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9" h="315">
                  <a:moveTo>
                    <a:pt x="244" y="303"/>
                  </a:moveTo>
                  <a:lnTo>
                    <a:pt x="260" y="303"/>
                  </a:lnTo>
                  <a:lnTo>
                    <a:pt x="260" y="315"/>
                  </a:lnTo>
                  <a:lnTo>
                    <a:pt x="279" y="315"/>
                  </a:lnTo>
                  <a:lnTo>
                    <a:pt x="279" y="0"/>
                  </a:lnTo>
                  <a:lnTo>
                    <a:pt x="260" y="0"/>
                  </a:lnTo>
                  <a:lnTo>
                    <a:pt x="260" y="12"/>
                  </a:lnTo>
                  <a:lnTo>
                    <a:pt x="244" y="12"/>
                  </a:lnTo>
                  <a:lnTo>
                    <a:pt x="244" y="36"/>
                  </a:lnTo>
                  <a:lnTo>
                    <a:pt x="260" y="36"/>
                  </a:lnTo>
                  <a:lnTo>
                    <a:pt x="260" y="64"/>
                  </a:lnTo>
                  <a:lnTo>
                    <a:pt x="244" y="64"/>
                  </a:lnTo>
                  <a:lnTo>
                    <a:pt x="244" y="88"/>
                  </a:lnTo>
                  <a:lnTo>
                    <a:pt x="260" y="88"/>
                  </a:lnTo>
                  <a:lnTo>
                    <a:pt x="260" y="119"/>
                  </a:lnTo>
                  <a:lnTo>
                    <a:pt x="244" y="119"/>
                  </a:lnTo>
                  <a:lnTo>
                    <a:pt x="244" y="142"/>
                  </a:lnTo>
                  <a:lnTo>
                    <a:pt x="260" y="142"/>
                  </a:lnTo>
                  <a:lnTo>
                    <a:pt x="260" y="171"/>
                  </a:lnTo>
                  <a:lnTo>
                    <a:pt x="244" y="171"/>
                  </a:lnTo>
                  <a:lnTo>
                    <a:pt x="244" y="197"/>
                  </a:lnTo>
                  <a:lnTo>
                    <a:pt x="260" y="197"/>
                  </a:lnTo>
                  <a:lnTo>
                    <a:pt x="260" y="225"/>
                  </a:lnTo>
                  <a:lnTo>
                    <a:pt x="244" y="225"/>
                  </a:lnTo>
                  <a:lnTo>
                    <a:pt x="244" y="249"/>
                  </a:lnTo>
                  <a:lnTo>
                    <a:pt x="260" y="249"/>
                  </a:lnTo>
                  <a:lnTo>
                    <a:pt x="260" y="279"/>
                  </a:lnTo>
                  <a:lnTo>
                    <a:pt x="244" y="279"/>
                  </a:lnTo>
                  <a:lnTo>
                    <a:pt x="244" y="303"/>
                  </a:lnTo>
                  <a:close/>
                  <a:moveTo>
                    <a:pt x="140" y="230"/>
                  </a:moveTo>
                  <a:lnTo>
                    <a:pt x="206" y="230"/>
                  </a:lnTo>
                  <a:lnTo>
                    <a:pt x="206" y="315"/>
                  </a:lnTo>
                  <a:lnTo>
                    <a:pt x="227" y="315"/>
                  </a:lnTo>
                  <a:lnTo>
                    <a:pt x="227" y="303"/>
                  </a:lnTo>
                  <a:lnTo>
                    <a:pt x="244" y="303"/>
                  </a:lnTo>
                  <a:lnTo>
                    <a:pt x="244" y="279"/>
                  </a:lnTo>
                  <a:lnTo>
                    <a:pt x="227" y="279"/>
                  </a:lnTo>
                  <a:lnTo>
                    <a:pt x="227" y="249"/>
                  </a:lnTo>
                  <a:lnTo>
                    <a:pt x="227" y="249"/>
                  </a:lnTo>
                  <a:lnTo>
                    <a:pt x="244" y="249"/>
                  </a:lnTo>
                  <a:lnTo>
                    <a:pt x="244" y="225"/>
                  </a:lnTo>
                  <a:lnTo>
                    <a:pt x="227" y="225"/>
                  </a:lnTo>
                  <a:lnTo>
                    <a:pt x="227" y="197"/>
                  </a:lnTo>
                  <a:lnTo>
                    <a:pt x="227" y="197"/>
                  </a:lnTo>
                  <a:lnTo>
                    <a:pt x="244" y="197"/>
                  </a:lnTo>
                  <a:lnTo>
                    <a:pt x="244" y="171"/>
                  </a:lnTo>
                  <a:lnTo>
                    <a:pt x="227" y="171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44" y="142"/>
                  </a:lnTo>
                  <a:lnTo>
                    <a:pt x="244" y="119"/>
                  </a:lnTo>
                  <a:lnTo>
                    <a:pt x="227" y="119"/>
                  </a:lnTo>
                  <a:lnTo>
                    <a:pt x="227" y="88"/>
                  </a:lnTo>
                  <a:lnTo>
                    <a:pt x="227" y="88"/>
                  </a:lnTo>
                  <a:lnTo>
                    <a:pt x="244" y="88"/>
                  </a:lnTo>
                  <a:lnTo>
                    <a:pt x="244" y="64"/>
                  </a:lnTo>
                  <a:lnTo>
                    <a:pt x="227" y="64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44" y="36"/>
                  </a:lnTo>
                  <a:lnTo>
                    <a:pt x="244" y="12"/>
                  </a:lnTo>
                  <a:lnTo>
                    <a:pt x="227" y="12"/>
                  </a:lnTo>
                  <a:lnTo>
                    <a:pt x="227" y="0"/>
                  </a:lnTo>
                  <a:lnTo>
                    <a:pt x="206" y="0"/>
                  </a:lnTo>
                  <a:lnTo>
                    <a:pt x="206" y="83"/>
                  </a:lnTo>
                  <a:lnTo>
                    <a:pt x="140" y="83"/>
                  </a:lnTo>
                  <a:lnTo>
                    <a:pt x="140" y="114"/>
                  </a:lnTo>
                  <a:lnTo>
                    <a:pt x="206" y="114"/>
                  </a:lnTo>
                  <a:lnTo>
                    <a:pt x="206" y="114"/>
                  </a:lnTo>
                  <a:lnTo>
                    <a:pt x="206" y="199"/>
                  </a:lnTo>
                  <a:lnTo>
                    <a:pt x="140" y="199"/>
                  </a:lnTo>
                  <a:lnTo>
                    <a:pt x="140" y="230"/>
                  </a:lnTo>
                  <a:close/>
                  <a:moveTo>
                    <a:pt x="52" y="0"/>
                  </a:moveTo>
                  <a:lnTo>
                    <a:pt x="52" y="12"/>
                  </a:lnTo>
                  <a:lnTo>
                    <a:pt x="36" y="12"/>
                  </a:lnTo>
                  <a:lnTo>
                    <a:pt x="36" y="36"/>
                  </a:lnTo>
                  <a:lnTo>
                    <a:pt x="52" y="36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36" y="64"/>
                  </a:lnTo>
                  <a:lnTo>
                    <a:pt x="36" y="88"/>
                  </a:lnTo>
                  <a:lnTo>
                    <a:pt x="52" y="88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36" y="119"/>
                  </a:lnTo>
                  <a:lnTo>
                    <a:pt x="36" y="142"/>
                  </a:lnTo>
                  <a:lnTo>
                    <a:pt x="52" y="142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36" y="171"/>
                  </a:lnTo>
                  <a:lnTo>
                    <a:pt x="36" y="197"/>
                  </a:lnTo>
                  <a:lnTo>
                    <a:pt x="52" y="197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36" y="225"/>
                  </a:lnTo>
                  <a:lnTo>
                    <a:pt x="36" y="249"/>
                  </a:lnTo>
                  <a:lnTo>
                    <a:pt x="52" y="249"/>
                  </a:lnTo>
                  <a:lnTo>
                    <a:pt x="52" y="279"/>
                  </a:lnTo>
                  <a:lnTo>
                    <a:pt x="52" y="279"/>
                  </a:lnTo>
                  <a:lnTo>
                    <a:pt x="36" y="279"/>
                  </a:lnTo>
                  <a:lnTo>
                    <a:pt x="36" y="303"/>
                  </a:lnTo>
                  <a:lnTo>
                    <a:pt x="52" y="303"/>
                  </a:lnTo>
                  <a:lnTo>
                    <a:pt x="52" y="315"/>
                  </a:lnTo>
                  <a:lnTo>
                    <a:pt x="74" y="315"/>
                  </a:lnTo>
                  <a:lnTo>
                    <a:pt x="74" y="230"/>
                  </a:lnTo>
                  <a:lnTo>
                    <a:pt x="140" y="230"/>
                  </a:lnTo>
                  <a:lnTo>
                    <a:pt x="140" y="199"/>
                  </a:lnTo>
                  <a:lnTo>
                    <a:pt x="74" y="199"/>
                  </a:lnTo>
                  <a:lnTo>
                    <a:pt x="74" y="114"/>
                  </a:lnTo>
                  <a:lnTo>
                    <a:pt x="140" y="114"/>
                  </a:lnTo>
                  <a:lnTo>
                    <a:pt x="140" y="83"/>
                  </a:lnTo>
                  <a:lnTo>
                    <a:pt x="74" y="83"/>
                  </a:lnTo>
                  <a:lnTo>
                    <a:pt x="74" y="0"/>
                  </a:lnTo>
                  <a:lnTo>
                    <a:pt x="52" y="0"/>
                  </a:lnTo>
                  <a:close/>
                  <a:moveTo>
                    <a:pt x="36" y="12"/>
                  </a:moveTo>
                  <a:lnTo>
                    <a:pt x="21" y="12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315"/>
                  </a:lnTo>
                  <a:lnTo>
                    <a:pt x="21" y="315"/>
                  </a:lnTo>
                  <a:lnTo>
                    <a:pt x="21" y="303"/>
                  </a:lnTo>
                  <a:lnTo>
                    <a:pt x="36" y="303"/>
                  </a:lnTo>
                  <a:lnTo>
                    <a:pt x="36" y="279"/>
                  </a:lnTo>
                  <a:lnTo>
                    <a:pt x="21" y="279"/>
                  </a:lnTo>
                  <a:lnTo>
                    <a:pt x="21" y="249"/>
                  </a:lnTo>
                  <a:lnTo>
                    <a:pt x="36" y="249"/>
                  </a:lnTo>
                  <a:lnTo>
                    <a:pt x="36" y="225"/>
                  </a:lnTo>
                  <a:lnTo>
                    <a:pt x="21" y="225"/>
                  </a:lnTo>
                  <a:lnTo>
                    <a:pt x="21" y="197"/>
                  </a:lnTo>
                  <a:lnTo>
                    <a:pt x="36" y="197"/>
                  </a:lnTo>
                  <a:lnTo>
                    <a:pt x="36" y="171"/>
                  </a:lnTo>
                  <a:lnTo>
                    <a:pt x="21" y="171"/>
                  </a:lnTo>
                  <a:lnTo>
                    <a:pt x="21" y="142"/>
                  </a:lnTo>
                  <a:lnTo>
                    <a:pt x="36" y="142"/>
                  </a:lnTo>
                  <a:lnTo>
                    <a:pt x="36" y="119"/>
                  </a:lnTo>
                  <a:lnTo>
                    <a:pt x="21" y="119"/>
                  </a:lnTo>
                  <a:lnTo>
                    <a:pt x="21" y="88"/>
                  </a:lnTo>
                  <a:lnTo>
                    <a:pt x="36" y="88"/>
                  </a:lnTo>
                  <a:lnTo>
                    <a:pt x="36" y="64"/>
                  </a:lnTo>
                  <a:lnTo>
                    <a:pt x="21" y="64"/>
                  </a:lnTo>
                  <a:lnTo>
                    <a:pt x="21" y="36"/>
                  </a:lnTo>
                  <a:lnTo>
                    <a:pt x="36" y="36"/>
                  </a:lnTo>
                  <a:lnTo>
                    <a:pt x="3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2" name="îṩḻïḓe">
              <a:extLst>
                <a:ext uri="{FF2B5EF4-FFF2-40B4-BE49-F238E27FC236}">
                  <a16:creationId xmlns:a16="http://schemas.microsoft.com/office/drawing/2014/main" id="{8A33808B-D7A0-4EB6-B849-ACCDB6CD9266}"/>
                </a:ext>
              </a:extLst>
            </p:cNvPr>
            <p:cNvSpPr/>
            <p:nvPr/>
          </p:nvSpPr>
          <p:spPr bwMode="auto">
            <a:xfrm flipH="1">
              <a:off x="1271766" y="5887416"/>
              <a:ext cx="58354" cy="68773"/>
            </a:xfrm>
            <a:custGeom>
              <a:avLst/>
              <a:gdLst>
                <a:gd name="T0" fmla="*/ 64 w 64"/>
                <a:gd name="T1" fmla="*/ 0 h 80"/>
                <a:gd name="T2" fmla="*/ 0 w 64"/>
                <a:gd name="T3" fmla="*/ 0 h 80"/>
                <a:gd name="T4" fmla="*/ 0 w 64"/>
                <a:gd name="T5" fmla="*/ 28 h 80"/>
                <a:gd name="T6" fmla="*/ 64 w 64"/>
                <a:gd name="T7" fmla="*/ 80 h 80"/>
                <a:gd name="T8" fmla="*/ 64 w 64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0">
                  <a:moveTo>
                    <a:pt x="64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64" y="80"/>
                  </a:ln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3" name="ïš1íḓé">
              <a:extLst>
                <a:ext uri="{FF2B5EF4-FFF2-40B4-BE49-F238E27FC236}">
                  <a16:creationId xmlns:a16="http://schemas.microsoft.com/office/drawing/2014/main" id="{0D17E235-A5EB-4518-BE01-3D25FEE0234D}"/>
                </a:ext>
              </a:extLst>
            </p:cNvPr>
            <p:cNvSpPr/>
            <p:nvPr/>
          </p:nvSpPr>
          <p:spPr bwMode="auto">
            <a:xfrm flipH="1">
              <a:off x="1271766" y="5945872"/>
              <a:ext cx="238886" cy="220073"/>
            </a:xfrm>
            <a:custGeom>
              <a:avLst/>
              <a:gdLst>
                <a:gd name="T0" fmla="*/ 262 w 262"/>
                <a:gd name="T1" fmla="*/ 135 h 256"/>
                <a:gd name="T2" fmla="*/ 262 w 262"/>
                <a:gd name="T3" fmla="*/ 107 h 256"/>
                <a:gd name="T4" fmla="*/ 198 w 262"/>
                <a:gd name="T5" fmla="*/ 55 h 256"/>
                <a:gd name="T6" fmla="*/ 130 w 262"/>
                <a:gd name="T7" fmla="*/ 0 h 256"/>
                <a:gd name="T8" fmla="*/ 0 w 262"/>
                <a:gd name="T9" fmla="*/ 107 h 256"/>
                <a:gd name="T10" fmla="*/ 0 w 262"/>
                <a:gd name="T11" fmla="*/ 256 h 256"/>
                <a:gd name="T12" fmla="*/ 83 w 262"/>
                <a:gd name="T13" fmla="*/ 256 h 256"/>
                <a:gd name="T14" fmla="*/ 83 w 262"/>
                <a:gd name="T15" fmla="*/ 109 h 256"/>
                <a:gd name="T16" fmla="*/ 180 w 262"/>
                <a:gd name="T17" fmla="*/ 109 h 256"/>
                <a:gd name="T18" fmla="*/ 180 w 262"/>
                <a:gd name="T19" fmla="*/ 256 h 256"/>
                <a:gd name="T20" fmla="*/ 262 w 262"/>
                <a:gd name="T21" fmla="*/ 256 h 256"/>
                <a:gd name="T22" fmla="*/ 262 w 262"/>
                <a:gd name="T23" fmla="*/ 13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2" h="256">
                  <a:moveTo>
                    <a:pt x="262" y="135"/>
                  </a:moveTo>
                  <a:lnTo>
                    <a:pt x="262" y="107"/>
                  </a:lnTo>
                  <a:lnTo>
                    <a:pt x="198" y="55"/>
                  </a:lnTo>
                  <a:lnTo>
                    <a:pt x="130" y="0"/>
                  </a:lnTo>
                  <a:lnTo>
                    <a:pt x="0" y="107"/>
                  </a:lnTo>
                  <a:lnTo>
                    <a:pt x="0" y="256"/>
                  </a:lnTo>
                  <a:lnTo>
                    <a:pt x="83" y="256"/>
                  </a:lnTo>
                  <a:lnTo>
                    <a:pt x="83" y="109"/>
                  </a:lnTo>
                  <a:lnTo>
                    <a:pt x="180" y="109"/>
                  </a:lnTo>
                  <a:lnTo>
                    <a:pt x="180" y="256"/>
                  </a:lnTo>
                  <a:lnTo>
                    <a:pt x="262" y="256"/>
                  </a:lnTo>
                  <a:lnTo>
                    <a:pt x="262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4" name="ïṧľíḓé">
              <a:extLst>
                <a:ext uri="{FF2B5EF4-FFF2-40B4-BE49-F238E27FC236}">
                  <a16:creationId xmlns:a16="http://schemas.microsoft.com/office/drawing/2014/main" id="{E8ACD4C7-A1B9-4CE2-A68E-023D0FF12DCF}"/>
                </a:ext>
              </a:extLst>
            </p:cNvPr>
            <p:cNvSpPr/>
            <p:nvPr/>
          </p:nvSpPr>
          <p:spPr bwMode="auto">
            <a:xfrm flipH="1">
              <a:off x="1213413" y="5875380"/>
              <a:ext cx="355594" cy="172792"/>
            </a:xfrm>
            <a:custGeom>
              <a:avLst/>
              <a:gdLst>
                <a:gd name="T0" fmla="*/ 64 w 390"/>
                <a:gd name="T1" fmla="*/ 177 h 201"/>
                <a:gd name="T2" fmla="*/ 194 w 390"/>
                <a:gd name="T3" fmla="*/ 68 h 201"/>
                <a:gd name="T4" fmla="*/ 262 w 390"/>
                <a:gd name="T5" fmla="*/ 123 h 201"/>
                <a:gd name="T6" fmla="*/ 326 w 390"/>
                <a:gd name="T7" fmla="*/ 177 h 201"/>
                <a:gd name="T8" fmla="*/ 357 w 390"/>
                <a:gd name="T9" fmla="*/ 201 h 201"/>
                <a:gd name="T10" fmla="*/ 390 w 390"/>
                <a:gd name="T11" fmla="*/ 158 h 201"/>
                <a:gd name="T12" fmla="*/ 326 w 390"/>
                <a:gd name="T13" fmla="*/ 108 h 201"/>
                <a:gd name="T14" fmla="*/ 262 w 390"/>
                <a:gd name="T15" fmla="*/ 56 h 201"/>
                <a:gd name="T16" fmla="*/ 194 w 390"/>
                <a:gd name="T17" fmla="*/ 0 h 201"/>
                <a:gd name="T18" fmla="*/ 0 w 390"/>
                <a:gd name="T19" fmla="*/ 158 h 201"/>
                <a:gd name="T20" fmla="*/ 33 w 390"/>
                <a:gd name="T21" fmla="*/ 201 h 201"/>
                <a:gd name="T22" fmla="*/ 64 w 390"/>
                <a:gd name="T23" fmla="*/ 17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0" h="201">
                  <a:moveTo>
                    <a:pt x="64" y="177"/>
                  </a:moveTo>
                  <a:lnTo>
                    <a:pt x="194" y="68"/>
                  </a:lnTo>
                  <a:lnTo>
                    <a:pt x="262" y="123"/>
                  </a:lnTo>
                  <a:lnTo>
                    <a:pt x="326" y="177"/>
                  </a:lnTo>
                  <a:lnTo>
                    <a:pt x="357" y="201"/>
                  </a:lnTo>
                  <a:lnTo>
                    <a:pt x="390" y="158"/>
                  </a:lnTo>
                  <a:lnTo>
                    <a:pt x="326" y="108"/>
                  </a:lnTo>
                  <a:lnTo>
                    <a:pt x="262" y="56"/>
                  </a:lnTo>
                  <a:lnTo>
                    <a:pt x="194" y="0"/>
                  </a:lnTo>
                  <a:lnTo>
                    <a:pt x="0" y="158"/>
                  </a:lnTo>
                  <a:lnTo>
                    <a:pt x="33" y="201"/>
                  </a:lnTo>
                  <a:lnTo>
                    <a:pt x="6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5" name="íšḻíde">
              <a:extLst>
                <a:ext uri="{FF2B5EF4-FFF2-40B4-BE49-F238E27FC236}">
                  <a16:creationId xmlns:a16="http://schemas.microsoft.com/office/drawing/2014/main" id="{16A23FEC-0D23-4092-A2F8-F372C6276A0E}"/>
                </a:ext>
              </a:extLst>
            </p:cNvPr>
            <p:cNvSpPr/>
            <p:nvPr/>
          </p:nvSpPr>
          <p:spPr bwMode="auto">
            <a:xfrm flipH="1">
              <a:off x="2497197" y="6017224"/>
              <a:ext cx="90266" cy="169353"/>
            </a:xfrm>
            <a:custGeom>
              <a:avLst/>
              <a:gdLst>
                <a:gd name="T0" fmla="*/ 0 w 99"/>
                <a:gd name="T1" fmla="*/ 197 h 197"/>
                <a:gd name="T2" fmla="*/ 99 w 99"/>
                <a:gd name="T3" fmla="*/ 78 h 197"/>
                <a:gd name="T4" fmla="*/ 0 w 99"/>
                <a:gd name="T5" fmla="*/ 0 h 197"/>
                <a:gd name="T6" fmla="*/ 0 w 99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97">
                  <a:moveTo>
                    <a:pt x="0" y="197"/>
                  </a:moveTo>
                  <a:lnTo>
                    <a:pt x="99" y="78"/>
                  </a:lnTo>
                  <a:lnTo>
                    <a:pt x="0" y="0"/>
                  </a:lnTo>
                  <a:lnTo>
                    <a:pt x="0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6" name="î$ľîḋé">
              <a:extLst>
                <a:ext uri="{FF2B5EF4-FFF2-40B4-BE49-F238E27FC236}">
                  <a16:creationId xmlns:a16="http://schemas.microsoft.com/office/drawing/2014/main" id="{0787443E-1303-4C23-9B47-FCC1877B61A4}"/>
                </a:ext>
              </a:extLst>
            </p:cNvPr>
            <p:cNvSpPr/>
            <p:nvPr/>
          </p:nvSpPr>
          <p:spPr bwMode="auto">
            <a:xfrm flipH="1">
              <a:off x="2281106" y="6017224"/>
              <a:ext cx="90266" cy="169353"/>
            </a:xfrm>
            <a:custGeom>
              <a:avLst/>
              <a:gdLst>
                <a:gd name="T0" fmla="*/ 99 w 99"/>
                <a:gd name="T1" fmla="*/ 197 h 197"/>
                <a:gd name="T2" fmla="*/ 99 w 99"/>
                <a:gd name="T3" fmla="*/ 0 h 197"/>
                <a:gd name="T4" fmla="*/ 0 w 99"/>
                <a:gd name="T5" fmla="*/ 78 h 197"/>
                <a:gd name="T6" fmla="*/ 99 w 99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97">
                  <a:moveTo>
                    <a:pt x="99" y="197"/>
                  </a:moveTo>
                  <a:lnTo>
                    <a:pt x="99" y="0"/>
                  </a:lnTo>
                  <a:lnTo>
                    <a:pt x="0" y="78"/>
                  </a:lnTo>
                  <a:lnTo>
                    <a:pt x="99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7" name="ïṡľíḋê">
              <a:extLst>
                <a:ext uri="{FF2B5EF4-FFF2-40B4-BE49-F238E27FC236}">
                  <a16:creationId xmlns:a16="http://schemas.microsoft.com/office/drawing/2014/main" id="{998FCE9C-AC0B-4B54-8AFB-C380292B1417}"/>
                </a:ext>
              </a:extLst>
            </p:cNvPr>
            <p:cNvSpPr/>
            <p:nvPr/>
          </p:nvSpPr>
          <p:spPr bwMode="auto">
            <a:xfrm flipH="1">
              <a:off x="2281106" y="6192596"/>
              <a:ext cx="0" cy="1718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8" name="îṧļiḋè">
              <a:extLst>
                <a:ext uri="{FF2B5EF4-FFF2-40B4-BE49-F238E27FC236}">
                  <a16:creationId xmlns:a16="http://schemas.microsoft.com/office/drawing/2014/main" id="{7E200532-33B3-4058-AED3-2922495050C1}"/>
                </a:ext>
              </a:extLst>
            </p:cNvPr>
            <p:cNvSpPr/>
            <p:nvPr/>
          </p:nvSpPr>
          <p:spPr bwMode="auto">
            <a:xfrm flipH="1">
              <a:off x="2585640" y="6192596"/>
              <a:ext cx="1824" cy="1718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9" name="ïSlíḓê">
              <a:extLst>
                <a:ext uri="{FF2B5EF4-FFF2-40B4-BE49-F238E27FC236}">
                  <a16:creationId xmlns:a16="http://schemas.microsoft.com/office/drawing/2014/main" id="{B0E2FE53-0B51-41C6-819C-533437F60A76}"/>
                </a:ext>
              </a:extLst>
            </p:cNvPr>
            <p:cNvSpPr/>
            <p:nvPr/>
          </p:nvSpPr>
          <p:spPr bwMode="auto">
            <a:xfrm flipH="1">
              <a:off x="2285665" y="6090295"/>
              <a:ext cx="295416" cy="104019"/>
            </a:xfrm>
            <a:custGeom>
              <a:avLst/>
              <a:gdLst>
                <a:gd name="T0" fmla="*/ 324 w 324"/>
                <a:gd name="T1" fmla="*/ 121 h 121"/>
                <a:gd name="T2" fmla="*/ 322 w 324"/>
                <a:gd name="T3" fmla="*/ 119 h 121"/>
                <a:gd name="T4" fmla="*/ 222 w 324"/>
                <a:gd name="T5" fmla="*/ 0 h 121"/>
                <a:gd name="T6" fmla="*/ 161 w 324"/>
                <a:gd name="T7" fmla="*/ 50 h 121"/>
                <a:gd name="T8" fmla="*/ 99 w 324"/>
                <a:gd name="T9" fmla="*/ 0 h 121"/>
                <a:gd name="T10" fmla="*/ 0 w 324"/>
                <a:gd name="T11" fmla="*/ 119 h 121"/>
                <a:gd name="T12" fmla="*/ 0 w 324"/>
                <a:gd name="T13" fmla="*/ 121 h 121"/>
                <a:gd name="T14" fmla="*/ 324 w 324"/>
                <a:gd name="T1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4" h="121">
                  <a:moveTo>
                    <a:pt x="324" y="121"/>
                  </a:moveTo>
                  <a:lnTo>
                    <a:pt x="322" y="119"/>
                  </a:lnTo>
                  <a:lnTo>
                    <a:pt x="222" y="0"/>
                  </a:lnTo>
                  <a:lnTo>
                    <a:pt x="161" y="50"/>
                  </a:lnTo>
                  <a:lnTo>
                    <a:pt x="99" y="0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324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0" name="iš1îdê">
              <a:extLst>
                <a:ext uri="{FF2B5EF4-FFF2-40B4-BE49-F238E27FC236}">
                  <a16:creationId xmlns:a16="http://schemas.microsoft.com/office/drawing/2014/main" id="{5B1BFA2E-8471-4CA4-8A29-9A190D8FB6C8}"/>
                </a:ext>
              </a:extLst>
            </p:cNvPr>
            <p:cNvSpPr/>
            <p:nvPr/>
          </p:nvSpPr>
          <p:spPr bwMode="auto">
            <a:xfrm flipH="1">
              <a:off x="2287488" y="6011206"/>
              <a:ext cx="293593" cy="111756"/>
            </a:xfrm>
            <a:custGeom>
              <a:avLst/>
              <a:gdLst>
                <a:gd name="T0" fmla="*/ 97 w 322"/>
                <a:gd name="T1" fmla="*/ 78 h 130"/>
                <a:gd name="T2" fmla="*/ 102 w 322"/>
                <a:gd name="T3" fmla="*/ 81 h 130"/>
                <a:gd name="T4" fmla="*/ 107 w 322"/>
                <a:gd name="T5" fmla="*/ 85 h 130"/>
                <a:gd name="T6" fmla="*/ 161 w 322"/>
                <a:gd name="T7" fmla="*/ 130 h 130"/>
                <a:gd name="T8" fmla="*/ 218 w 322"/>
                <a:gd name="T9" fmla="*/ 85 h 130"/>
                <a:gd name="T10" fmla="*/ 220 w 322"/>
                <a:gd name="T11" fmla="*/ 81 h 130"/>
                <a:gd name="T12" fmla="*/ 225 w 322"/>
                <a:gd name="T13" fmla="*/ 78 h 130"/>
                <a:gd name="T14" fmla="*/ 322 w 322"/>
                <a:gd name="T15" fmla="*/ 0 h 130"/>
                <a:gd name="T16" fmla="*/ 0 w 322"/>
                <a:gd name="T17" fmla="*/ 0 h 130"/>
                <a:gd name="T18" fmla="*/ 97 w 322"/>
                <a:gd name="T1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2" h="130">
                  <a:moveTo>
                    <a:pt x="97" y="78"/>
                  </a:moveTo>
                  <a:lnTo>
                    <a:pt x="102" y="81"/>
                  </a:lnTo>
                  <a:lnTo>
                    <a:pt x="107" y="85"/>
                  </a:lnTo>
                  <a:lnTo>
                    <a:pt x="161" y="130"/>
                  </a:lnTo>
                  <a:lnTo>
                    <a:pt x="218" y="85"/>
                  </a:lnTo>
                  <a:lnTo>
                    <a:pt x="220" y="81"/>
                  </a:lnTo>
                  <a:lnTo>
                    <a:pt x="225" y="78"/>
                  </a:lnTo>
                  <a:lnTo>
                    <a:pt x="322" y="0"/>
                  </a:lnTo>
                  <a:lnTo>
                    <a:pt x="0" y="0"/>
                  </a:lnTo>
                  <a:lnTo>
                    <a:pt x="97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1" name="isľîdé">
              <a:extLst>
                <a:ext uri="{FF2B5EF4-FFF2-40B4-BE49-F238E27FC236}">
                  <a16:creationId xmlns:a16="http://schemas.microsoft.com/office/drawing/2014/main" id="{70B2F8AC-CE12-4E4A-AFCD-EF8A11A6D768}"/>
                </a:ext>
              </a:extLst>
            </p:cNvPr>
            <p:cNvSpPr/>
            <p:nvPr/>
          </p:nvSpPr>
          <p:spPr bwMode="auto">
            <a:xfrm flipH="1">
              <a:off x="1722185" y="1960496"/>
              <a:ext cx="315475" cy="183108"/>
            </a:xfrm>
            <a:custGeom>
              <a:avLst/>
              <a:gdLst>
                <a:gd name="T0" fmla="*/ 146 w 146"/>
                <a:gd name="T1" fmla="*/ 74 h 90"/>
                <a:gd name="T2" fmla="*/ 130 w 146"/>
                <a:gd name="T3" fmla="*/ 58 h 90"/>
                <a:gd name="T4" fmla="*/ 132 w 146"/>
                <a:gd name="T5" fmla="*/ 45 h 90"/>
                <a:gd name="T6" fmla="*/ 87 w 146"/>
                <a:gd name="T7" fmla="*/ 0 h 90"/>
                <a:gd name="T8" fmla="*/ 43 w 146"/>
                <a:gd name="T9" fmla="*/ 44 h 90"/>
                <a:gd name="T10" fmla="*/ 26 w 146"/>
                <a:gd name="T11" fmla="*/ 38 h 90"/>
                <a:gd name="T12" fmla="*/ 0 w 146"/>
                <a:gd name="T13" fmla="*/ 64 h 90"/>
                <a:gd name="T14" fmla="*/ 26 w 146"/>
                <a:gd name="T15" fmla="*/ 90 h 90"/>
                <a:gd name="T16" fmla="*/ 85 w 146"/>
                <a:gd name="T17" fmla="*/ 90 h 90"/>
                <a:gd name="T18" fmla="*/ 87 w 146"/>
                <a:gd name="T19" fmla="*/ 90 h 90"/>
                <a:gd name="T20" fmla="*/ 130 w 146"/>
                <a:gd name="T21" fmla="*/ 90 h 90"/>
                <a:gd name="T22" fmla="*/ 146 w 146"/>
                <a:gd name="T23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90">
                  <a:moveTo>
                    <a:pt x="146" y="74"/>
                  </a:moveTo>
                  <a:cubicBezTo>
                    <a:pt x="146" y="65"/>
                    <a:pt x="139" y="58"/>
                    <a:pt x="130" y="58"/>
                  </a:cubicBezTo>
                  <a:cubicBezTo>
                    <a:pt x="132" y="54"/>
                    <a:pt x="132" y="50"/>
                    <a:pt x="132" y="45"/>
                  </a:cubicBezTo>
                  <a:cubicBezTo>
                    <a:pt x="132" y="20"/>
                    <a:pt x="112" y="0"/>
                    <a:pt x="87" y="0"/>
                  </a:cubicBezTo>
                  <a:cubicBezTo>
                    <a:pt x="63" y="0"/>
                    <a:pt x="43" y="20"/>
                    <a:pt x="43" y="44"/>
                  </a:cubicBezTo>
                  <a:cubicBezTo>
                    <a:pt x="38" y="40"/>
                    <a:pt x="32" y="38"/>
                    <a:pt x="26" y="38"/>
                  </a:cubicBezTo>
                  <a:cubicBezTo>
                    <a:pt x="12" y="38"/>
                    <a:pt x="0" y="50"/>
                    <a:pt x="0" y="64"/>
                  </a:cubicBezTo>
                  <a:cubicBezTo>
                    <a:pt x="0" y="78"/>
                    <a:pt x="12" y="90"/>
                    <a:pt x="26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130" y="90"/>
                    <a:pt x="130" y="90"/>
                    <a:pt x="130" y="90"/>
                  </a:cubicBezTo>
                  <a:cubicBezTo>
                    <a:pt x="139" y="90"/>
                    <a:pt x="146" y="83"/>
                    <a:pt x="14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2" name="î$ḷîḍè">
              <a:extLst>
                <a:ext uri="{FF2B5EF4-FFF2-40B4-BE49-F238E27FC236}">
                  <a16:creationId xmlns:a16="http://schemas.microsoft.com/office/drawing/2014/main" id="{4C049CFE-68B9-4828-95A6-58DAC850BE9E}"/>
                </a:ext>
              </a:extLst>
            </p:cNvPr>
            <p:cNvSpPr/>
            <p:nvPr/>
          </p:nvSpPr>
          <p:spPr bwMode="auto">
            <a:xfrm flipH="1">
              <a:off x="1966542" y="2159937"/>
              <a:ext cx="25530" cy="575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3" name="íṩļíḓê">
              <a:extLst>
                <a:ext uri="{FF2B5EF4-FFF2-40B4-BE49-F238E27FC236}">
                  <a16:creationId xmlns:a16="http://schemas.microsoft.com/office/drawing/2014/main" id="{3DFF078D-3655-4FF3-B457-C6D4BD28C2E2}"/>
                </a:ext>
              </a:extLst>
            </p:cNvPr>
            <p:cNvSpPr/>
            <p:nvPr/>
          </p:nvSpPr>
          <p:spPr bwMode="auto">
            <a:xfrm flipH="1">
              <a:off x="1899070" y="2190885"/>
              <a:ext cx="28265" cy="567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4" name="isļîḍê">
              <a:extLst>
                <a:ext uri="{FF2B5EF4-FFF2-40B4-BE49-F238E27FC236}">
                  <a16:creationId xmlns:a16="http://schemas.microsoft.com/office/drawing/2014/main" id="{7B5BCAEB-725E-4DFF-B7D7-C5E94AAFD923}"/>
                </a:ext>
              </a:extLst>
            </p:cNvPr>
            <p:cNvSpPr/>
            <p:nvPr/>
          </p:nvSpPr>
          <p:spPr bwMode="auto">
            <a:xfrm flipH="1">
              <a:off x="1834334" y="2159937"/>
              <a:ext cx="26442" cy="575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5" name="ïśľíḍè">
              <a:extLst>
                <a:ext uri="{FF2B5EF4-FFF2-40B4-BE49-F238E27FC236}">
                  <a16:creationId xmlns:a16="http://schemas.microsoft.com/office/drawing/2014/main" id="{F376D626-57E6-47D2-8DE3-BF8DB5AC2F72}"/>
                </a:ext>
              </a:extLst>
            </p:cNvPr>
            <p:cNvSpPr/>
            <p:nvPr/>
          </p:nvSpPr>
          <p:spPr bwMode="auto">
            <a:xfrm flipH="1">
              <a:off x="1767774" y="2190885"/>
              <a:ext cx="28265" cy="567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6" name="î$líḋe">
              <a:extLst>
                <a:ext uri="{FF2B5EF4-FFF2-40B4-BE49-F238E27FC236}">
                  <a16:creationId xmlns:a16="http://schemas.microsoft.com/office/drawing/2014/main" id="{34A0F1CF-38CC-4A02-A76D-D724B91463F3}"/>
                </a:ext>
              </a:extLst>
            </p:cNvPr>
            <p:cNvSpPr/>
            <p:nvPr/>
          </p:nvSpPr>
          <p:spPr bwMode="auto">
            <a:xfrm flipH="1">
              <a:off x="1562624" y="2814997"/>
              <a:ext cx="269887" cy="209757"/>
            </a:xfrm>
            <a:custGeom>
              <a:avLst/>
              <a:gdLst>
                <a:gd name="T0" fmla="*/ 241 w 296"/>
                <a:gd name="T1" fmla="*/ 0 h 244"/>
                <a:gd name="T2" fmla="*/ 107 w 296"/>
                <a:gd name="T3" fmla="*/ 137 h 244"/>
                <a:gd name="T4" fmla="*/ 55 w 296"/>
                <a:gd name="T5" fmla="*/ 85 h 244"/>
                <a:gd name="T6" fmla="*/ 0 w 296"/>
                <a:gd name="T7" fmla="*/ 139 h 244"/>
                <a:gd name="T8" fmla="*/ 52 w 296"/>
                <a:gd name="T9" fmla="*/ 189 h 244"/>
                <a:gd name="T10" fmla="*/ 107 w 296"/>
                <a:gd name="T11" fmla="*/ 244 h 244"/>
                <a:gd name="T12" fmla="*/ 159 w 296"/>
                <a:gd name="T13" fmla="*/ 189 h 244"/>
                <a:gd name="T14" fmla="*/ 296 w 296"/>
                <a:gd name="T15" fmla="*/ 54 h 244"/>
                <a:gd name="T16" fmla="*/ 241 w 296"/>
                <a:gd name="T1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6" h="244">
                  <a:moveTo>
                    <a:pt x="241" y="0"/>
                  </a:moveTo>
                  <a:lnTo>
                    <a:pt x="107" y="137"/>
                  </a:lnTo>
                  <a:lnTo>
                    <a:pt x="55" y="85"/>
                  </a:lnTo>
                  <a:lnTo>
                    <a:pt x="0" y="139"/>
                  </a:lnTo>
                  <a:lnTo>
                    <a:pt x="52" y="189"/>
                  </a:lnTo>
                  <a:lnTo>
                    <a:pt x="107" y="244"/>
                  </a:lnTo>
                  <a:lnTo>
                    <a:pt x="159" y="189"/>
                  </a:lnTo>
                  <a:lnTo>
                    <a:pt x="296" y="54"/>
                  </a:lnTo>
                  <a:lnTo>
                    <a:pt x="2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7" name="îsḷïḍe">
              <a:extLst>
                <a:ext uri="{FF2B5EF4-FFF2-40B4-BE49-F238E27FC236}">
                  <a16:creationId xmlns:a16="http://schemas.microsoft.com/office/drawing/2014/main" id="{D421E12D-B00F-475C-A5ED-5117CBB6CADB}"/>
                </a:ext>
              </a:extLst>
            </p:cNvPr>
            <p:cNvSpPr/>
            <p:nvPr/>
          </p:nvSpPr>
          <p:spPr bwMode="auto">
            <a:xfrm flipH="1">
              <a:off x="3791011" y="2916436"/>
              <a:ext cx="321858" cy="71352"/>
            </a:xfrm>
            <a:custGeom>
              <a:avLst/>
              <a:gdLst>
                <a:gd name="T0" fmla="*/ 353 w 353"/>
                <a:gd name="T1" fmla="*/ 0 h 83"/>
                <a:gd name="T2" fmla="*/ 322 w 353"/>
                <a:gd name="T3" fmla="*/ 0 h 83"/>
                <a:gd name="T4" fmla="*/ 322 w 353"/>
                <a:gd name="T5" fmla="*/ 52 h 83"/>
                <a:gd name="T6" fmla="*/ 33 w 353"/>
                <a:gd name="T7" fmla="*/ 52 h 83"/>
                <a:gd name="T8" fmla="*/ 33 w 353"/>
                <a:gd name="T9" fmla="*/ 0 h 83"/>
                <a:gd name="T10" fmla="*/ 0 w 353"/>
                <a:gd name="T11" fmla="*/ 0 h 83"/>
                <a:gd name="T12" fmla="*/ 0 w 353"/>
                <a:gd name="T13" fmla="*/ 83 h 83"/>
                <a:gd name="T14" fmla="*/ 353 w 353"/>
                <a:gd name="T15" fmla="*/ 83 h 83"/>
                <a:gd name="T16" fmla="*/ 353 w 353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83">
                  <a:moveTo>
                    <a:pt x="353" y="0"/>
                  </a:moveTo>
                  <a:lnTo>
                    <a:pt x="322" y="0"/>
                  </a:lnTo>
                  <a:lnTo>
                    <a:pt x="322" y="52"/>
                  </a:lnTo>
                  <a:lnTo>
                    <a:pt x="33" y="5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83"/>
                  </a:lnTo>
                  <a:lnTo>
                    <a:pt x="353" y="83"/>
                  </a:lnTo>
                  <a:lnTo>
                    <a:pt x="3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8" name="îṡḷïdè">
              <a:extLst>
                <a:ext uri="{FF2B5EF4-FFF2-40B4-BE49-F238E27FC236}">
                  <a16:creationId xmlns:a16="http://schemas.microsoft.com/office/drawing/2014/main" id="{09858971-0B58-4A0D-A7CE-677B42982927}"/>
                </a:ext>
              </a:extLst>
            </p:cNvPr>
            <p:cNvSpPr/>
            <p:nvPr/>
          </p:nvSpPr>
          <p:spPr bwMode="auto">
            <a:xfrm flipH="1">
              <a:off x="3830218" y="2700662"/>
              <a:ext cx="237063" cy="238126"/>
            </a:xfrm>
            <a:custGeom>
              <a:avLst/>
              <a:gdLst>
                <a:gd name="T0" fmla="*/ 45 w 260"/>
                <a:gd name="T1" fmla="*/ 116 h 277"/>
                <a:gd name="T2" fmla="*/ 0 w 260"/>
                <a:gd name="T3" fmla="*/ 116 h 277"/>
                <a:gd name="T4" fmla="*/ 130 w 260"/>
                <a:gd name="T5" fmla="*/ 277 h 277"/>
                <a:gd name="T6" fmla="*/ 260 w 260"/>
                <a:gd name="T7" fmla="*/ 116 h 277"/>
                <a:gd name="T8" fmla="*/ 215 w 260"/>
                <a:gd name="T9" fmla="*/ 116 h 277"/>
                <a:gd name="T10" fmla="*/ 215 w 260"/>
                <a:gd name="T11" fmla="*/ 0 h 277"/>
                <a:gd name="T12" fmla="*/ 45 w 260"/>
                <a:gd name="T13" fmla="*/ 0 h 277"/>
                <a:gd name="T14" fmla="*/ 45 w 260"/>
                <a:gd name="T15" fmla="*/ 11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0" h="277">
                  <a:moveTo>
                    <a:pt x="45" y="116"/>
                  </a:moveTo>
                  <a:lnTo>
                    <a:pt x="0" y="116"/>
                  </a:lnTo>
                  <a:lnTo>
                    <a:pt x="130" y="277"/>
                  </a:lnTo>
                  <a:lnTo>
                    <a:pt x="260" y="116"/>
                  </a:lnTo>
                  <a:lnTo>
                    <a:pt x="215" y="116"/>
                  </a:lnTo>
                  <a:lnTo>
                    <a:pt x="215" y="0"/>
                  </a:lnTo>
                  <a:lnTo>
                    <a:pt x="45" y="0"/>
                  </a:lnTo>
                  <a:lnTo>
                    <a:pt x="45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9" name="íṧliḑê">
              <a:extLst>
                <a:ext uri="{FF2B5EF4-FFF2-40B4-BE49-F238E27FC236}">
                  <a16:creationId xmlns:a16="http://schemas.microsoft.com/office/drawing/2014/main" id="{8EFF4328-8D06-4526-BA47-34D3B990FEBE}"/>
                </a:ext>
              </a:extLst>
            </p:cNvPr>
            <p:cNvSpPr/>
            <p:nvPr/>
          </p:nvSpPr>
          <p:spPr bwMode="auto">
            <a:xfrm flipH="1">
              <a:off x="2516344" y="3750305"/>
              <a:ext cx="325505" cy="306898"/>
            </a:xfrm>
            <a:custGeom>
              <a:avLst/>
              <a:gdLst>
                <a:gd name="T0" fmla="*/ 76 w 151"/>
                <a:gd name="T1" fmla="*/ 151 h 151"/>
                <a:gd name="T2" fmla="*/ 151 w 151"/>
                <a:gd name="T3" fmla="*/ 75 h 151"/>
                <a:gd name="T4" fmla="*/ 76 w 151"/>
                <a:gd name="T5" fmla="*/ 0 h 151"/>
                <a:gd name="T6" fmla="*/ 76 w 151"/>
                <a:gd name="T7" fmla="*/ 8 h 151"/>
                <a:gd name="T8" fmla="*/ 82 w 151"/>
                <a:gd name="T9" fmla="*/ 8 h 151"/>
                <a:gd name="T10" fmla="*/ 82 w 151"/>
                <a:gd name="T11" fmla="*/ 75 h 151"/>
                <a:gd name="T12" fmla="*/ 76 w 151"/>
                <a:gd name="T13" fmla="*/ 75 h 151"/>
                <a:gd name="T14" fmla="*/ 76 w 151"/>
                <a:gd name="T15" fmla="*/ 123 h 151"/>
                <a:gd name="T16" fmla="*/ 124 w 151"/>
                <a:gd name="T17" fmla="*/ 75 h 151"/>
                <a:gd name="T18" fmla="*/ 98 w 151"/>
                <a:gd name="T19" fmla="*/ 32 h 151"/>
                <a:gd name="T20" fmla="*/ 103 w 151"/>
                <a:gd name="T21" fmla="*/ 21 h 151"/>
                <a:gd name="T22" fmla="*/ 136 w 151"/>
                <a:gd name="T23" fmla="*/ 75 h 151"/>
                <a:gd name="T24" fmla="*/ 76 w 151"/>
                <a:gd name="T25" fmla="*/ 135 h 151"/>
                <a:gd name="T26" fmla="*/ 76 w 151"/>
                <a:gd name="T27" fmla="*/ 151 h 151"/>
                <a:gd name="T28" fmla="*/ 76 w 151"/>
                <a:gd name="T29" fmla="*/ 135 h 151"/>
                <a:gd name="T30" fmla="*/ 76 w 151"/>
                <a:gd name="T31" fmla="*/ 135 h 151"/>
                <a:gd name="T32" fmla="*/ 76 w 151"/>
                <a:gd name="T33" fmla="*/ 0 h 151"/>
                <a:gd name="T34" fmla="*/ 0 w 151"/>
                <a:gd name="T35" fmla="*/ 75 h 151"/>
                <a:gd name="T36" fmla="*/ 76 w 151"/>
                <a:gd name="T37" fmla="*/ 151 h 151"/>
                <a:gd name="T38" fmla="*/ 76 w 151"/>
                <a:gd name="T39" fmla="*/ 135 h 151"/>
                <a:gd name="T40" fmla="*/ 76 w 151"/>
                <a:gd name="T41" fmla="*/ 135 h 151"/>
                <a:gd name="T42" fmla="*/ 15 w 151"/>
                <a:gd name="T43" fmla="*/ 75 h 151"/>
                <a:gd name="T44" fmla="*/ 49 w 151"/>
                <a:gd name="T45" fmla="*/ 21 h 151"/>
                <a:gd name="T46" fmla="*/ 54 w 151"/>
                <a:gd name="T47" fmla="*/ 32 h 151"/>
                <a:gd name="T48" fmla="*/ 28 w 151"/>
                <a:gd name="T49" fmla="*/ 75 h 151"/>
                <a:gd name="T50" fmla="*/ 76 w 151"/>
                <a:gd name="T51" fmla="*/ 123 h 151"/>
                <a:gd name="T52" fmla="*/ 76 w 151"/>
                <a:gd name="T53" fmla="*/ 75 h 151"/>
                <a:gd name="T54" fmla="*/ 70 w 151"/>
                <a:gd name="T55" fmla="*/ 75 h 151"/>
                <a:gd name="T56" fmla="*/ 70 w 151"/>
                <a:gd name="T57" fmla="*/ 8 h 151"/>
                <a:gd name="T58" fmla="*/ 70 w 151"/>
                <a:gd name="T59" fmla="*/ 8 h 151"/>
                <a:gd name="T60" fmla="*/ 76 w 151"/>
                <a:gd name="T61" fmla="*/ 8 h 151"/>
                <a:gd name="T62" fmla="*/ 76 w 151"/>
                <a:gd name="T63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1">
                  <a:moveTo>
                    <a:pt x="76" y="151"/>
                  </a:moveTo>
                  <a:cubicBezTo>
                    <a:pt x="118" y="151"/>
                    <a:pt x="151" y="117"/>
                    <a:pt x="151" y="75"/>
                  </a:cubicBezTo>
                  <a:cubicBezTo>
                    <a:pt x="151" y="33"/>
                    <a:pt x="118" y="0"/>
                    <a:pt x="76" y="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123"/>
                    <a:pt x="76" y="123"/>
                    <a:pt x="76" y="123"/>
                  </a:cubicBezTo>
                  <a:cubicBezTo>
                    <a:pt x="102" y="123"/>
                    <a:pt x="124" y="101"/>
                    <a:pt x="124" y="75"/>
                  </a:cubicBezTo>
                  <a:cubicBezTo>
                    <a:pt x="124" y="57"/>
                    <a:pt x="114" y="41"/>
                    <a:pt x="98" y="32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24" y="32"/>
                    <a:pt x="136" y="52"/>
                    <a:pt x="136" y="75"/>
                  </a:cubicBezTo>
                  <a:cubicBezTo>
                    <a:pt x="136" y="108"/>
                    <a:pt x="109" y="135"/>
                    <a:pt x="76" y="135"/>
                  </a:cubicBezTo>
                  <a:cubicBezTo>
                    <a:pt x="76" y="151"/>
                    <a:pt x="76" y="151"/>
                    <a:pt x="76" y="151"/>
                  </a:cubicBezTo>
                  <a:close/>
                  <a:moveTo>
                    <a:pt x="76" y="135"/>
                  </a:moveTo>
                  <a:cubicBezTo>
                    <a:pt x="76" y="135"/>
                    <a:pt x="76" y="135"/>
                    <a:pt x="76" y="135"/>
                  </a:cubicBezTo>
                  <a:moveTo>
                    <a:pt x="76" y="0"/>
                  </a:moveTo>
                  <a:cubicBezTo>
                    <a:pt x="34" y="0"/>
                    <a:pt x="0" y="33"/>
                    <a:pt x="0" y="75"/>
                  </a:cubicBezTo>
                  <a:cubicBezTo>
                    <a:pt x="0" y="117"/>
                    <a:pt x="34" y="151"/>
                    <a:pt x="76" y="151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43" y="135"/>
                    <a:pt x="15" y="108"/>
                    <a:pt x="15" y="75"/>
                  </a:cubicBezTo>
                  <a:cubicBezTo>
                    <a:pt x="15" y="52"/>
                    <a:pt x="28" y="32"/>
                    <a:pt x="49" y="2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38" y="41"/>
                    <a:pt x="28" y="57"/>
                    <a:pt x="28" y="75"/>
                  </a:cubicBezTo>
                  <a:cubicBezTo>
                    <a:pt x="28" y="101"/>
                    <a:pt x="49" y="123"/>
                    <a:pt x="76" y="123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6" y="8"/>
                    <a:pt x="76" y="8"/>
                    <a:pt x="76" y="8"/>
                  </a:cubicBez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0" name="íṩḷíḑê">
              <a:extLst>
                <a:ext uri="{FF2B5EF4-FFF2-40B4-BE49-F238E27FC236}">
                  <a16:creationId xmlns:a16="http://schemas.microsoft.com/office/drawing/2014/main" id="{CB214F41-7056-4DE9-ACA4-3A4F3BEEE63C}"/>
                </a:ext>
              </a:extLst>
            </p:cNvPr>
            <p:cNvSpPr/>
            <p:nvPr/>
          </p:nvSpPr>
          <p:spPr bwMode="auto">
            <a:xfrm flipH="1">
              <a:off x="2576523" y="5285655"/>
              <a:ext cx="94825" cy="8940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1" name="i$ḷíde">
              <a:extLst>
                <a:ext uri="{FF2B5EF4-FFF2-40B4-BE49-F238E27FC236}">
                  <a16:creationId xmlns:a16="http://schemas.microsoft.com/office/drawing/2014/main" id="{E9A68FA5-84E6-4248-AD13-976E8791EE03}"/>
                </a:ext>
              </a:extLst>
            </p:cNvPr>
            <p:cNvSpPr/>
            <p:nvPr/>
          </p:nvSpPr>
          <p:spPr bwMode="auto">
            <a:xfrm flipH="1">
              <a:off x="2535492" y="5242671"/>
              <a:ext cx="179621" cy="248442"/>
            </a:xfrm>
            <a:custGeom>
              <a:avLst/>
              <a:gdLst>
                <a:gd name="T0" fmla="*/ 83 w 83"/>
                <a:gd name="T1" fmla="*/ 0 h 122"/>
                <a:gd name="T2" fmla="*/ 42 w 83"/>
                <a:gd name="T3" fmla="*/ 0 h 122"/>
                <a:gd name="T4" fmla="*/ 42 w 83"/>
                <a:gd name="T5" fmla="*/ 10 h 122"/>
                <a:gd name="T6" fmla="*/ 42 w 83"/>
                <a:gd name="T7" fmla="*/ 10 h 122"/>
                <a:gd name="T8" fmla="*/ 74 w 83"/>
                <a:gd name="T9" fmla="*/ 43 h 122"/>
                <a:gd name="T10" fmla="*/ 42 w 83"/>
                <a:gd name="T11" fmla="*/ 75 h 122"/>
                <a:gd name="T12" fmla="*/ 42 w 83"/>
                <a:gd name="T13" fmla="*/ 75 h 122"/>
                <a:gd name="T14" fmla="*/ 42 w 83"/>
                <a:gd name="T15" fmla="*/ 75 h 122"/>
                <a:gd name="T16" fmla="*/ 42 w 83"/>
                <a:gd name="T17" fmla="*/ 89 h 122"/>
                <a:gd name="T18" fmla="*/ 42 w 83"/>
                <a:gd name="T19" fmla="*/ 89 h 122"/>
                <a:gd name="T20" fmla="*/ 53 w 83"/>
                <a:gd name="T21" fmla="*/ 100 h 122"/>
                <a:gd name="T22" fmla="*/ 42 w 83"/>
                <a:gd name="T23" fmla="*/ 111 h 122"/>
                <a:gd name="T24" fmla="*/ 42 w 83"/>
                <a:gd name="T25" fmla="*/ 111 h 122"/>
                <a:gd name="T26" fmla="*/ 42 w 83"/>
                <a:gd name="T27" fmla="*/ 111 h 122"/>
                <a:gd name="T28" fmla="*/ 42 w 83"/>
                <a:gd name="T29" fmla="*/ 122 h 122"/>
                <a:gd name="T30" fmla="*/ 83 w 83"/>
                <a:gd name="T31" fmla="*/ 122 h 122"/>
                <a:gd name="T32" fmla="*/ 83 w 83"/>
                <a:gd name="T33" fmla="*/ 0 h 122"/>
                <a:gd name="T34" fmla="*/ 42 w 83"/>
                <a:gd name="T35" fmla="*/ 0 h 122"/>
                <a:gd name="T36" fmla="*/ 0 w 83"/>
                <a:gd name="T37" fmla="*/ 0 h 122"/>
                <a:gd name="T38" fmla="*/ 0 w 83"/>
                <a:gd name="T39" fmla="*/ 122 h 122"/>
                <a:gd name="T40" fmla="*/ 42 w 83"/>
                <a:gd name="T41" fmla="*/ 122 h 122"/>
                <a:gd name="T42" fmla="*/ 42 w 83"/>
                <a:gd name="T43" fmla="*/ 111 h 122"/>
                <a:gd name="T44" fmla="*/ 31 w 83"/>
                <a:gd name="T45" fmla="*/ 100 h 122"/>
                <a:gd name="T46" fmla="*/ 42 w 83"/>
                <a:gd name="T47" fmla="*/ 89 h 122"/>
                <a:gd name="T48" fmla="*/ 42 w 83"/>
                <a:gd name="T49" fmla="*/ 75 h 122"/>
                <a:gd name="T50" fmla="*/ 10 w 83"/>
                <a:gd name="T51" fmla="*/ 43 h 122"/>
                <a:gd name="T52" fmla="*/ 42 w 83"/>
                <a:gd name="T53" fmla="*/ 10 h 122"/>
                <a:gd name="T54" fmla="*/ 42 w 83"/>
                <a:gd name="T5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122">
                  <a:moveTo>
                    <a:pt x="83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10"/>
                    <a:pt x="74" y="25"/>
                    <a:pt x="74" y="43"/>
                  </a:cubicBezTo>
                  <a:cubicBezTo>
                    <a:pt x="74" y="60"/>
                    <a:pt x="60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89"/>
                    <a:pt x="53" y="94"/>
                    <a:pt x="53" y="100"/>
                  </a:cubicBezTo>
                  <a:cubicBezTo>
                    <a:pt x="53" y="106"/>
                    <a:pt x="48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83" y="122"/>
                    <a:pt x="83" y="122"/>
                    <a:pt x="83" y="122"/>
                  </a:cubicBezTo>
                  <a:lnTo>
                    <a:pt x="83" y="0"/>
                  </a:lnTo>
                  <a:close/>
                  <a:moveTo>
                    <a:pt x="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36" y="111"/>
                    <a:pt x="31" y="106"/>
                    <a:pt x="31" y="100"/>
                  </a:cubicBezTo>
                  <a:cubicBezTo>
                    <a:pt x="31" y="94"/>
                    <a:pt x="36" y="89"/>
                    <a:pt x="42" y="89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24" y="75"/>
                    <a:pt x="10" y="60"/>
                    <a:pt x="10" y="43"/>
                  </a:cubicBezTo>
                  <a:cubicBezTo>
                    <a:pt x="10" y="25"/>
                    <a:pt x="24" y="10"/>
                    <a:pt x="42" y="10"/>
                  </a:cubicBez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2" name="işlíḓé">
              <a:extLst>
                <a:ext uri="{FF2B5EF4-FFF2-40B4-BE49-F238E27FC236}">
                  <a16:creationId xmlns:a16="http://schemas.microsoft.com/office/drawing/2014/main" id="{74904C78-1B68-48EF-813A-40DAF57BFA85}"/>
                </a:ext>
              </a:extLst>
            </p:cNvPr>
            <p:cNvSpPr/>
            <p:nvPr/>
          </p:nvSpPr>
          <p:spPr bwMode="auto">
            <a:xfrm flipH="1">
              <a:off x="2861909" y="5216023"/>
              <a:ext cx="36471" cy="16334"/>
            </a:xfrm>
            <a:custGeom>
              <a:avLst/>
              <a:gdLst>
                <a:gd name="T0" fmla="*/ 17 w 17"/>
                <a:gd name="T1" fmla="*/ 6 h 8"/>
                <a:gd name="T2" fmla="*/ 10 w 17"/>
                <a:gd name="T3" fmla="*/ 0 h 8"/>
                <a:gd name="T4" fmla="*/ 7 w 17"/>
                <a:gd name="T5" fmla="*/ 0 h 8"/>
                <a:gd name="T6" fmla="*/ 0 w 17"/>
                <a:gd name="T7" fmla="*/ 6 h 8"/>
                <a:gd name="T8" fmla="*/ 0 w 17"/>
                <a:gd name="T9" fmla="*/ 8 h 8"/>
                <a:gd name="T10" fmla="*/ 16 w 17"/>
                <a:gd name="T11" fmla="*/ 8 h 8"/>
                <a:gd name="T12" fmla="*/ 17 w 17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8">
                  <a:moveTo>
                    <a:pt x="17" y="6"/>
                  </a:moveTo>
                  <a:cubicBezTo>
                    <a:pt x="17" y="3"/>
                    <a:pt x="14" y="0"/>
                    <a:pt x="1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7"/>
                    <a:pt x="1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3" name="isļîde">
              <a:extLst>
                <a:ext uri="{FF2B5EF4-FFF2-40B4-BE49-F238E27FC236}">
                  <a16:creationId xmlns:a16="http://schemas.microsoft.com/office/drawing/2014/main" id="{AFDFD761-C2A5-45AF-B6DC-10AD771FB4AC}"/>
                </a:ext>
              </a:extLst>
            </p:cNvPr>
            <p:cNvSpPr/>
            <p:nvPr/>
          </p:nvSpPr>
          <p:spPr bwMode="auto">
            <a:xfrm flipH="1">
              <a:off x="2740643" y="5242671"/>
              <a:ext cx="178709" cy="248442"/>
            </a:xfrm>
            <a:custGeom>
              <a:avLst/>
              <a:gdLst>
                <a:gd name="T0" fmla="*/ 42 w 83"/>
                <a:gd name="T1" fmla="*/ 122 h 122"/>
                <a:gd name="T2" fmla="*/ 83 w 83"/>
                <a:gd name="T3" fmla="*/ 122 h 122"/>
                <a:gd name="T4" fmla="*/ 83 w 83"/>
                <a:gd name="T5" fmla="*/ 0 h 122"/>
                <a:gd name="T6" fmla="*/ 42 w 83"/>
                <a:gd name="T7" fmla="*/ 0 h 122"/>
                <a:gd name="T8" fmla="*/ 42 w 83"/>
                <a:gd name="T9" fmla="*/ 10 h 122"/>
                <a:gd name="T10" fmla="*/ 42 w 83"/>
                <a:gd name="T11" fmla="*/ 10 h 122"/>
                <a:gd name="T12" fmla="*/ 42 w 83"/>
                <a:gd name="T13" fmla="*/ 10 h 122"/>
                <a:gd name="T14" fmla="*/ 74 w 83"/>
                <a:gd name="T15" fmla="*/ 43 h 122"/>
                <a:gd name="T16" fmla="*/ 42 w 83"/>
                <a:gd name="T17" fmla="*/ 75 h 122"/>
                <a:gd name="T18" fmla="*/ 42 w 83"/>
                <a:gd name="T19" fmla="*/ 75 h 122"/>
                <a:gd name="T20" fmla="*/ 42 w 83"/>
                <a:gd name="T21" fmla="*/ 89 h 122"/>
                <a:gd name="T22" fmla="*/ 42 w 83"/>
                <a:gd name="T23" fmla="*/ 89 h 122"/>
                <a:gd name="T24" fmla="*/ 53 w 83"/>
                <a:gd name="T25" fmla="*/ 100 h 122"/>
                <a:gd name="T26" fmla="*/ 42 w 83"/>
                <a:gd name="T27" fmla="*/ 111 h 122"/>
                <a:gd name="T28" fmla="*/ 42 w 83"/>
                <a:gd name="T29" fmla="*/ 111 h 122"/>
                <a:gd name="T30" fmla="*/ 42 w 83"/>
                <a:gd name="T31" fmla="*/ 111 h 122"/>
                <a:gd name="T32" fmla="*/ 42 w 83"/>
                <a:gd name="T33" fmla="*/ 122 h 122"/>
                <a:gd name="T34" fmla="*/ 0 w 83"/>
                <a:gd name="T35" fmla="*/ 122 h 122"/>
                <a:gd name="T36" fmla="*/ 42 w 83"/>
                <a:gd name="T37" fmla="*/ 122 h 122"/>
                <a:gd name="T38" fmla="*/ 42 w 83"/>
                <a:gd name="T39" fmla="*/ 111 h 122"/>
                <a:gd name="T40" fmla="*/ 31 w 83"/>
                <a:gd name="T41" fmla="*/ 100 h 122"/>
                <a:gd name="T42" fmla="*/ 42 w 83"/>
                <a:gd name="T43" fmla="*/ 89 h 122"/>
                <a:gd name="T44" fmla="*/ 42 w 83"/>
                <a:gd name="T45" fmla="*/ 75 h 122"/>
                <a:gd name="T46" fmla="*/ 9 w 83"/>
                <a:gd name="T47" fmla="*/ 43 h 122"/>
                <a:gd name="T48" fmla="*/ 42 w 83"/>
                <a:gd name="T49" fmla="*/ 10 h 122"/>
                <a:gd name="T50" fmla="*/ 42 w 83"/>
                <a:gd name="T51" fmla="*/ 0 h 122"/>
                <a:gd name="T52" fmla="*/ 20 w 83"/>
                <a:gd name="T53" fmla="*/ 0 h 122"/>
                <a:gd name="T54" fmla="*/ 16 w 83"/>
                <a:gd name="T55" fmla="*/ 0 h 122"/>
                <a:gd name="T56" fmla="*/ 0 w 83"/>
                <a:gd name="T57" fmla="*/ 0 h 122"/>
                <a:gd name="T58" fmla="*/ 0 w 83"/>
                <a:gd name="T5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3" h="122">
                  <a:moveTo>
                    <a:pt x="42" y="122"/>
                  </a:moveTo>
                  <a:cubicBezTo>
                    <a:pt x="83" y="122"/>
                    <a:pt x="83" y="122"/>
                    <a:pt x="83" y="12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10"/>
                    <a:pt x="74" y="25"/>
                    <a:pt x="74" y="43"/>
                  </a:cubicBezTo>
                  <a:cubicBezTo>
                    <a:pt x="74" y="60"/>
                    <a:pt x="60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89"/>
                    <a:pt x="53" y="94"/>
                    <a:pt x="53" y="100"/>
                  </a:cubicBezTo>
                  <a:cubicBezTo>
                    <a:pt x="53" y="106"/>
                    <a:pt x="48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lnTo>
                    <a:pt x="42" y="122"/>
                  </a:lnTo>
                  <a:close/>
                  <a:moveTo>
                    <a:pt x="0" y="122"/>
                  </a:moveTo>
                  <a:cubicBezTo>
                    <a:pt x="42" y="122"/>
                    <a:pt x="42" y="122"/>
                    <a:pt x="42" y="12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36" y="111"/>
                    <a:pt x="31" y="106"/>
                    <a:pt x="31" y="100"/>
                  </a:cubicBezTo>
                  <a:cubicBezTo>
                    <a:pt x="31" y="94"/>
                    <a:pt x="36" y="89"/>
                    <a:pt x="42" y="89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24" y="75"/>
                    <a:pt x="9" y="60"/>
                    <a:pt x="9" y="43"/>
                  </a:cubicBezTo>
                  <a:cubicBezTo>
                    <a:pt x="9" y="25"/>
                    <a:pt x="24" y="10"/>
                    <a:pt x="42" y="1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4" name="islidé">
              <a:extLst>
                <a:ext uri="{FF2B5EF4-FFF2-40B4-BE49-F238E27FC236}">
                  <a16:creationId xmlns:a16="http://schemas.microsoft.com/office/drawing/2014/main" id="{9665ABF0-FF43-4047-A035-4DB09F6FC57A}"/>
                </a:ext>
              </a:extLst>
            </p:cNvPr>
            <p:cNvSpPr/>
            <p:nvPr/>
          </p:nvSpPr>
          <p:spPr bwMode="auto">
            <a:xfrm flipH="1">
              <a:off x="2781672" y="5285655"/>
              <a:ext cx="94825" cy="8940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5" name="iṡļídê">
              <a:extLst>
                <a:ext uri="{FF2B5EF4-FFF2-40B4-BE49-F238E27FC236}">
                  <a16:creationId xmlns:a16="http://schemas.microsoft.com/office/drawing/2014/main" id="{FD6C43BE-D83B-4C53-A1DA-4CADA2AC147E}"/>
                </a:ext>
              </a:extLst>
            </p:cNvPr>
            <p:cNvSpPr/>
            <p:nvPr/>
          </p:nvSpPr>
          <p:spPr bwMode="auto">
            <a:xfrm flipH="1">
              <a:off x="3903160" y="3935131"/>
              <a:ext cx="323682" cy="284547"/>
            </a:xfrm>
            <a:custGeom>
              <a:avLst/>
              <a:gdLst>
                <a:gd name="T0" fmla="*/ 141 w 150"/>
                <a:gd name="T1" fmla="*/ 140 h 140"/>
                <a:gd name="T2" fmla="*/ 141 w 150"/>
                <a:gd name="T3" fmla="*/ 129 h 140"/>
                <a:gd name="T4" fmla="*/ 150 w 150"/>
                <a:gd name="T5" fmla="*/ 22 h 140"/>
                <a:gd name="T6" fmla="*/ 131 w 150"/>
                <a:gd name="T7" fmla="*/ 38 h 140"/>
                <a:gd name="T8" fmla="*/ 131 w 150"/>
                <a:gd name="T9" fmla="*/ 55 h 140"/>
                <a:gd name="T10" fmla="*/ 131 w 150"/>
                <a:gd name="T11" fmla="*/ 67 h 140"/>
                <a:gd name="T12" fmla="*/ 131 w 150"/>
                <a:gd name="T13" fmla="*/ 84 h 140"/>
                <a:gd name="T14" fmla="*/ 65 w 150"/>
                <a:gd name="T15" fmla="*/ 7 h 140"/>
                <a:gd name="T16" fmla="*/ 63 w 150"/>
                <a:gd name="T17" fmla="*/ 9 h 140"/>
                <a:gd name="T18" fmla="*/ 63 w 150"/>
                <a:gd name="T19" fmla="*/ 129 h 140"/>
                <a:gd name="T20" fmla="*/ 122 w 150"/>
                <a:gd name="T21" fmla="*/ 129 h 140"/>
                <a:gd name="T22" fmla="*/ 131 w 150"/>
                <a:gd name="T23" fmla="*/ 140 h 140"/>
                <a:gd name="T24" fmla="*/ 123 w 150"/>
                <a:gd name="T25" fmla="*/ 75 h 140"/>
                <a:gd name="T26" fmla="*/ 131 w 150"/>
                <a:gd name="T27" fmla="*/ 55 h 140"/>
                <a:gd name="T28" fmla="*/ 123 w 150"/>
                <a:gd name="T29" fmla="*/ 47 h 140"/>
                <a:gd name="T30" fmla="*/ 131 w 150"/>
                <a:gd name="T31" fmla="*/ 22 h 140"/>
                <a:gd name="T32" fmla="*/ 63 w 150"/>
                <a:gd name="T33" fmla="*/ 35 h 140"/>
                <a:gd name="T34" fmla="*/ 108 w 150"/>
                <a:gd name="T35" fmla="*/ 115 h 140"/>
                <a:gd name="T36" fmla="*/ 63 w 150"/>
                <a:gd name="T37" fmla="*/ 115 h 140"/>
                <a:gd name="T38" fmla="*/ 131 w 150"/>
                <a:gd name="T39" fmla="*/ 67 h 140"/>
                <a:gd name="T40" fmla="*/ 63 w 150"/>
                <a:gd name="T41" fmla="*/ 5 h 140"/>
                <a:gd name="T42" fmla="*/ 33 w 150"/>
                <a:gd name="T43" fmla="*/ 20 h 140"/>
                <a:gd name="T44" fmla="*/ 0 w 150"/>
                <a:gd name="T45" fmla="*/ 7 h 140"/>
                <a:gd name="T46" fmla="*/ 20 w 150"/>
                <a:gd name="T47" fmla="*/ 22 h 140"/>
                <a:gd name="T48" fmla="*/ 3 w 150"/>
                <a:gd name="T49" fmla="*/ 129 h 140"/>
                <a:gd name="T50" fmla="*/ 14 w 150"/>
                <a:gd name="T51" fmla="*/ 129 h 140"/>
                <a:gd name="T52" fmla="*/ 33 w 150"/>
                <a:gd name="T53" fmla="*/ 140 h 140"/>
                <a:gd name="T54" fmla="*/ 33 w 150"/>
                <a:gd name="T55" fmla="*/ 129 h 140"/>
                <a:gd name="T56" fmla="*/ 63 w 150"/>
                <a:gd name="T57" fmla="*/ 115 h 140"/>
                <a:gd name="T58" fmla="*/ 17 w 150"/>
                <a:gd name="T59" fmla="*/ 35 h 140"/>
                <a:gd name="T60" fmla="*/ 63 w 150"/>
                <a:gd name="T61" fmla="*/ 22 h 140"/>
                <a:gd name="T62" fmla="*/ 46 w 150"/>
                <a:gd name="T63" fmla="*/ 21 h 140"/>
                <a:gd name="T64" fmla="*/ 63 w 150"/>
                <a:gd name="T65" fmla="*/ 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0" h="140">
                  <a:moveTo>
                    <a:pt x="131" y="140"/>
                  </a:moveTo>
                  <a:cubicBezTo>
                    <a:pt x="141" y="140"/>
                    <a:pt x="141" y="140"/>
                    <a:pt x="141" y="140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50" y="129"/>
                    <a:pt x="150" y="129"/>
                    <a:pt x="150" y="129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6" y="38"/>
                    <a:pt x="140" y="42"/>
                    <a:pt x="140" y="47"/>
                  </a:cubicBezTo>
                  <a:cubicBezTo>
                    <a:pt x="140" y="51"/>
                    <a:pt x="136" y="55"/>
                    <a:pt x="131" y="55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6" y="67"/>
                    <a:pt x="140" y="71"/>
                    <a:pt x="140" y="75"/>
                  </a:cubicBezTo>
                  <a:cubicBezTo>
                    <a:pt x="140" y="80"/>
                    <a:pt x="136" y="84"/>
                    <a:pt x="131" y="84"/>
                  </a:cubicBezTo>
                  <a:lnTo>
                    <a:pt x="131" y="140"/>
                  </a:lnTo>
                  <a:close/>
                  <a:moveTo>
                    <a:pt x="65" y="7"/>
                  </a:moveTo>
                  <a:cubicBezTo>
                    <a:pt x="63" y="5"/>
                    <a:pt x="63" y="5"/>
                    <a:pt x="63" y="5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5" y="7"/>
                    <a:pt x="65" y="7"/>
                    <a:pt x="65" y="7"/>
                  </a:cubicBezTo>
                  <a:close/>
                  <a:moveTo>
                    <a:pt x="63" y="129"/>
                  </a:moveTo>
                  <a:cubicBezTo>
                    <a:pt x="122" y="129"/>
                    <a:pt x="122" y="129"/>
                    <a:pt x="122" y="129"/>
                  </a:cubicBezTo>
                  <a:cubicBezTo>
                    <a:pt x="122" y="129"/>
                    <a:pt x="122" y="129"/>
                    <a:pt x="122" y="129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27" y="84"/>
                    <a:pt x="123" y="80"/>
                    <a:pt x="123" y="75"/>
                  </a:cubicBezTo>
                  <a:cubicBezTo>
                    <a:pt x="123" y="71"/>
                    <a:pt x="127" y="67"/>
                    <a:pt x="131" y="67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27" y="55"/>
                    <a:pt x="123" y="51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2"/>
                    <a:pt x="127" y="38"/>
                    <a:pt x="131" y="38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63" y="129"/>
                    <a:pt x="63" y="129"/>
                    <a:pt x="63" y="129"/>
                  </a:cubicBezTo>
                  <a:close/>
                  <a:moveTo>
                    <a:pt x="131" y="67"/>
                  </a:moveTo>
                  <a:cubicBezTo>
                    <a:pt x="131" y="67"/>
                    <a:pt x="131" y="67"/>
                    <a:pt x="131" y="67"/>
                  </a:cubicBezTo>
                  <a:moveTo>
                    <a:pt x="63" y="5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33" y="140"/>
                    <a:pt x="33" y="140"/>
                    <a:pt x="33" y="14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63" y="9"/>
                    <a:pt x="63" y="9"/>
                    <a:pt x="63" y="9"/>
                  </a:cubicBezTo>
                  <a:lnTo>
                    <a:pt x="6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6" name="ísľïďè">
              <a:extLst>
                <a:ext uri="{FF2B5EF4-FFF2-40B4-BE49-F238E27FC236}">
                  <a16:creationId xmlns:a16="http://schemas.microsoft.com/office/drawing/2014/main" id="{80AD6B3E-CADE-46D4-86BD-71A8B2E325CE}"/>
                </a:ext>
              </a:extLst>
            </p:cNvPr>
            <p:cNvSpPr/>
            <p:nvPr/>
          </p:nvSpPr>
          <p:spPr bwMode="auto">
            <a:xfrm flipH="1">
              <a:off x="3875807" y="1598580"/>
              <a:ext cx="34648" cy="30948"/>
            </a:xfrm>
            <a:custGeom>
              <a:avLst/>
              <a:gdLst>
                <a:gd name="T0" fmla="*/ 0 w 16"/>
                <a:gd name="T1" fmla="*/ 8 h 15"/>
                <a:gd name="T2" fmla="*/ 3 w 16"/>
                <a:gd name="T3" fmla="*/ 10 h 15"/>
                <a:gd name="T4" fmla="*/ 11 w 16"/>
                <a:gd name="T5" fmla="*/ 15 h 15"/>
                <a:gd name="T6" fmla="*/ 16 w 16"/>
                <a:gd name="T7" fmla="*/ 6 h 15"/>
                <a:gd name="T8" fmla="*/ 4 w 16"/>
                <a:gd name="T9" fmla="*/ 0 h 15"/>
                <a:gd name="T10" fmla="*/ 0 w 16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5">
                  <a:moveTo>
                    <a:pt x="0" y="8"/>
                  </a:moveTo>
                  <a:cubicBezTo>
                    <a:pt x="1" y="8"/>
                    <a:pt x="2" y="9"/>
                    <a:pt x="3" y="10"/>
                  </a:cubicBezTo>
                  <a:cubicBezTo>
                    <a:pt x="6" y="11"/>
                    <a:pt x="9" y="13"/>
                    <a:pt x="11" y="1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7" name="í$lîḓe">
              <a:extLst>
                <a:ext uri="{FF2B5EF4-FFF2-40B4-BE49-F238E27FC236}">
                  <a16:creationId xmlns:a16="http://schemas.microsoft.com/office/drawing/2014/main" id="{D432F850-57EE-4B1D-9EAC-A259C6E839E9}"/>
                </a:ext>
              </a:extLst>
            </p:cNvPr>
            <p:cNvSpPr/>
            <p:nvPr/>
          </p:nvSpPr>
          <p:spPr bwMode="auto">
            <a:xfrm flipH="1">
              <a:off x="3978838" y="1778249"/>
              <a:ext cx="179621" cy="123791"/>
            </a:xfrm>
            <a:custGeom>
              <a:avLst/>
              <a:gdLst>
                <a:gd name="T0" fmla="*/ 21 w 83"/>
                <a:gd name="T1" fmla="*/ 58 h 61"/>
                <a:gd name="T2" fmla="*/ 36 w 83"/>
                <a:gd name="T3" fmla="*/ 61 h 61"/>
                <a:gd name="T4" fmla="*/ 45 w 83"/>
                <a:gd name="T5" fmla="*/ 60 h 61"/>
                <a:gd name="T6" fmla="*/ 64 w 83"/>
                <a:gd name="T7" fmla="*/ 45 h 61"/>
                <a:gd name="T8" fmla="*/ 83 w 83"/>
                <a:gd name="T9" fmla="*/ 9 h 61"/>
                <a:gd name="T10" fmla="*/ 76 w 83"/>
                <a:gd name="T11" fmla="*/ 2 h 61"/>
                <a:gd name="T12" fmla="*/ 72 w 83"/>
                <a:gd name="T13" fmla="*/ 0 h 61"/>
                <a:gd name="T14" fmla="*/ 52 w 83"/>
                <a:gd name="T15" fmla="*/ 38 h 61"/>
                <a:gd name="T16" fmla="*/ 27 w 83"/>
                <a:gd name="T17" fmla="*/ 46 h 61"/>
                <a:gd name="T18" fmla="*/ 20 w 83"/>
                <a:gd name="T19" fmla="*/ 21 h 61"/>
                <a:gd name="T20" fmla="*/ 8 w 83"/>
                <a:gd name="T21" fmla="*/ 15 h 61"/>
                <a:gd name="T22" fmla="*/ 21 w 83"/>
                <a:gd name="T23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61">
                  <a:moveTo>
                    <a:pt x="21" y="58"/>
                  </a:moveTo>
                  <a:cubicBezTo>
                    <a:pt x="26" y="60"/>
                    <a:pt x="31" y="61"/>
                    <a:pt x="36" y="61"/>
                  </a:cubicBezTo>
                  <a:cubicBezTo>
                    <a:pt x="39" y="61"/>
                    <a:pt x="42" y="61"/>
                    <a:pt x="45" y="60"/>
                  </a:cubicBezTo>
                  <a:cubicBezTo>
                    <a:pt x="53" y="57"/>
                    <a:pt x="60" y="52"/>
                    <a:pt x="64" y="45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1" y="6"/>
                    <a:pt x="79" y="3"/>
                    <a:pt x="76" y="2"/>
                  </a:cubicBezTo>
                  <a:cubicBezTo>
                    <a:pt x="74" y="1"/>
                    <a:pt x="73" y="1"/>
                    <a:pt x="72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47" y="47"/>
                    <a:pt x="36" y="51"/>
                    <a:pt x="27" y="46"/>
                  </a:cubicBezTo>
                  <a:cubicBezTo>
                    <a:pt x="19" y="41"/>
                    <a:pt x="15" y="30"/>
                    <a:pt x="20" y="2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0" y="30"/>
                    <a:pt x="6" y="50"/>
                    <a:pt x="21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8" name="işḻîďè">
              <a:extLst>
                <a:ext uri="{FF2B5EF4-FFF2-40B4-BE49-F238E27FC236}">
                  <a16:creationId xmlns:a16="http://schemas.microsoft.com/office/drawing/2014/main" id="{3D27C94D-EDDB-42A9-BA10-E0C56EE4D1EF}"/>
                </a:ext>
              </a:extLst>
            </p:cNvPr>
            <p:cNvSpPr/>
            <p:nvPr/>
          </p:nvSpPr>
          <p:spPr bwMode="auto">
            <a:xfrm flipH="1">
              <a:off x="3812894" y="1611475"/>
              <a:ext cx="310917" cy="245862"/>
            </a:xfrm>
            <a:custGeom>
              <a:avLst/>
              <a:gdLst>
                <a:gd name="T0" fmla="*/ 108 w 144"/>
                <a:gd name="T1" fmla="*/ 13 h 121"/>
                <a:gd name="T2" fmla="*/ 100 w 144"/>
                <a:gd name="T3" fmla="*/ 7 h 121"/>
                <a:gd name="T4" fmla="*/ 97 w 144"/>
                <a:gd name="T5" fmla="*/ 6 h 121"/>
                <a:gd name="T6" fmla="*/ 68 w 144"/>
                <a:gd name="T7" fmla="*/ 0 h 121"/>
                <a:gd name="T8" fmla="*/ 8 w 144"/>
                <a:gd name="T9" fmla="*/ 36 h 121"/>
                <a:gd name="T10" fmla="*/ 1 w 144"/>
                <a:gd name="T11" fmla="*/ 61 h 121"/>
                <a:gd name="T12" fmla="*/ 0 w 144"/>
                <a:gd name="T13" fmla="*/ 65 h 121"/>
                <a:gd name="T14" fmla="*/ 1 w 144"/>
                <a:gd name="T15" fmla="*/ 67 h 121"/>
                <a:gd name="T16" fmla="*/ 3 w 144"/>
                <a:gd name="T17" fmla="*/ 66 h 121"/>
                <a:gd name="T18" fmla="*/ 6 w 144"/>
                <a:gd name="T19" fmla="*/ 63 h 121"/>
                <a:gd name="T20" fmla="*/ 18 w 144"/>
                <a:gd name="T21" fmla="*/ 59 h 121"/>
                <a:gd name="T22" fmla="*/ 27 w 144"/>
                <a:gd name="T23" fmla="*/ 61 h 121"/>
                <a:gd name="T24" fmla="*/ 37 w 144"/>
                <a:gd name="T25" fmla="*/ 79 h 121"/>
                <a:gd name="T26" fmla="*/ 37 w 144"/>
                <a:gd name="T27" fmla="*/ 83 h 121"/>
                <a:gd name="T28" fmla="*/ 41 w 144"/>
                <a:gd name="T29" fmla="*/ 81 h 121"/>
                <a:gd name="T30" fmla="*/ 52 w 144"/>
                <a:gd name="T31" fmla="*/ 77 h 121"/>
                <a:gd name="T32" fmla="*/ 58 w 144"/>
                <a:gd name="T33" fmla="*/ 78 h 121"/>
                <a:gd name="T34" fmla="*/ 62 w 144"/>
                <a:gd name="T35" fmla="*/ 80 h 121"/>
                <a:gd name="T36" fmla="*/ 69 w 144"/>
                <a:gd name="T37" fmla="*/ 87 h 121"/>
                <a:gd name="T38" fmla="*/ 72 w 144"/>
                <a:gd name="T39" fmla="*/ 98 h 121"/>
                <a:gd name="T40" fmla="*/ 72 w 144"/>
                <a:gd name="T41" fmla="*/ 102 h 121"/>
                <a:gd name="T42" fmla="*/ 75 w 144"/>
                <a:gd name="T43" fmla="*/ 100 h 121"/>
                <a:gd name="T44" fmla="*/ 87 w 144"/>
                <a:gd name="T45" fmla="*/ 96 h 121"/>
                <a:gd name="T46" fmla="*/ 96 w 144"/>
                <a:gd name="T47" fmla="*/ 98 h 121"/>
                <a:gd name="T48" fmla="*/ 107 w 144"/>
                <a:gd name="T49" fmla="*/ 116 h 121"/>
                <a:gd name="T50" fmla="*/ 108 w 144"/>
                <a:gd name="T51" fmla="*/ 121 h 121"/>
                <a:gd name="T52" fmla="*/ 111 w 144"/>
                <a:gd name="T53" fmla="*/ 119 h 121"/>
                <a:gd name="T54" fmla="*/ 128 w 144"/>
                <a:gd name="T55" fmla="*/ 99 h 121"/>
                <a:gd name="T56" fmla="*/ 108 w 144"/>
                <a:gd name="T5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21">
                  <a:moveTo>
                    <a:pt x="108" y="13"/>
                  </a:moveTo>
                  <a:cubicBezTo>
                    <a:pt x="106" y="11"/>
                    <a:pt x="103" y="9"/>
                    <a:pt x="100" y="7"/>
                  </a:cubicBezTo>
                  <a:cubicBezTo>
                    <a:pt x="99" y="7"/>
                    <a:pt x="98" y="6"/>
                    <a:pt x="97" y="6"/>
                  </a:cubicBezTo>
                  <a:cubicBezTo>
                    <a:pt x="88" y="2"/>
                    <a:pt x="78" y="0"/>
                    <a:pt x="68" y="0"/>
                  </a:cubicBezTo>
                  <a:cubicBezTo>
                    <a:pt x="44" y="0"/>
                    <a:pt x="20" y="13"/>
                    <a:pt x="8" y="36"/>
                  </a:cubicBezTo>
                  <a:cubicBezTo>
                    <a:pt x="4" y="44"/>
                    <a:pt x="2" y="52"/>
                    <a:pt x="1" y="61"/>
                  </a:cubicBezTo>
                  <a:cubicBezTo>
                    <a:pt x="1" y="62"/>
                    <a:pt x="0" y="64"/>
                    <a:pt x="0" y="65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6"/>
                  </a:cubicBezTo>
                  <a:cubicBezTo>
                    <a:pt x="4" y="65"/>
                    <a:pt x="5" y="64"/>
                    <a:pt x="6" y="63"/>
                  </a:cubicBezTo>
                  <a:cubicBezTo>
                    <a:pt x="10" y="60"/>
                    <a:pt x="14" y="59"/>
                    <a:pt x="18" y="59"/>
                  </a:cubicBezTo>
                  <a:cubicBezTo>
                    <a:pt x="21" y="59"/>
                    <a:pt x="24" y="60"/>
                    <a:pt x="27" y="61"/>
                  </a:cubicBezTo>
                  <a:cubicBezTo>
                    <a:pt x="34" y="65"/>
                    <a:pt x="37" y="72"/>
                    <a:pt x="37" y="79"/>
                  </a:cubicBezTo>
                  <a:cubicBezTo>
                    <a:pt x="37" y="82"/>
                    <a:pt x="37" y="83"/>
                    <a:pt x="37" y="83"/>
                  </a:cubicBezTo>
                  <a:cubicBezTo>
                    <a:pt x="38" y="83"/>
                    <a:pt x="39" y="82"/>
                    <a:pt x="41" y="81"/>
                  </a:cubicBezTo>
                  <a:cubicBezTo>
                    <a:pt x="44" y="79"/>
                    <a:pt x="48" y="77"/>
                    <a:pt x="52" y="77"/>
                  </a:cubicBezTo>
                  <a:cubicBezTo>
                    <a:pt x="54" y="77"/>
                    <a:pt x="56" y="78"/>
                    <a:pt x="58" y="78"/>
                  </a:cubicBezTo>
                  <a:cubicBezTo>
                    <a:pt x="59" y="79"/>
                    <a:pt x="61" y="79"/>
                    <a:pt x="62" y="80"/>
                  </a:cubicBezTo>
                  <a:cubicBezTo>
                    <a:pt x="65" y="81"/>
                    <a:pt x="67" y="84"/>
                    <a:pt x="69" y="87"/>
                  </a:cubicBezTo>
                  <a:cubicBezTo>
                    <a:pt x="71" y="90"/>
                    <a:pt x="72" y="94"/>
                    <a:pt x="72" y="98"/>
                  </a:cubicBezTo>
                  <a:cubicBezTo>
                    <a:pt x="72" y="100"/>
                    <a:pt x="72" y="102"/>
                    <a:pt x="72" y="102"/>
                  </a:cubicBezTo>
                  <a:cubicBezTo>
                    <a:pt x="73" y="102"/>
                    <a:pt x="74" y="101"/>
                    <a:pt x="75" y="100"/>
                  </a:cubicBezTo>
                  <a:cubicBezTo>
                    <a:pt x="79" y="97"/>
                    <a:pt x="83" y="96"/>
                    <a:pt x="87" y="96"/>
                  </a:cubicBezTo>
                  <a:cubicBezTo>
                    <a:pt x="90" y="96"/>
                    <a:pt x="93" y="97"/>
                    <a:pt x="96" y="98"/>
                  </a:cubicBezTo>
                  <a:cubicBezTo>
                    <a:pt x="103" y="102"/>
                    <a:pt x="107" y="109"/>
                    <a:pt x="107" y="116"/>
                  </a:cubicBezTo>
                  <a:cubicBezTo>
                    <a:pt x="107" y="119"/>
                    <a:pt x="107" y="121"/>
                    <a:pt x="108" y="121"/>
                  </a:cubicBezTo>
                  <a:cubicBezTo>
                    <a:pt x="109" y="121"/>
                    <a:pt x="110" y="120"/>
                    <a:pt x="111" y="119"/>
                  </a:cubicBezTo>
                  <a:cubicBezTo>
                    <a:pt x="118" y="114"/>
                    <a:pt x="124" y="107"/>
                    <a:pt x="128" y="99"/>
                  </a:cubicBezTo>
                  <a:cubicBezTo>
                    <a:pt x="144" y="69"/>
                    <a:pt x="135" y="32"/>
                    <a:pt x="10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9" name="íŝľîḋé">
              <a:extLst>
                <a:ext uri="{FF2B5EF4-FFF2-40B4-BE49-F238E27FC236}">
                  <a16:creationId xmlns:a16="http://schemas.microsoft.com/office/drawing/2014/main" id="{48660822-EAB4-4BC3-AAEB-9F12DF6FCDB3}"/>
                </a:ext>
              </a:extLst>
            </p:cNvPr>
            <p:cNvSpPr/>
            <p:nvPr/>
          </p:nvSpPr>
          <p:spPr bwMode="auto">
            <a:xfrm flipH="1">
              <a:off x="3245767" y="5092232"/>
              <a:ext cx="334623" cy="305179"/>
            </a:xfrm>
            <a:custGeom>
              <a:avLst/>
              <a:gdLst>
                <a:gd name="T0" fmla="*/ 64 w 155"/>
                <a:gd name="T1" fmla="*/ 117 h 150"/>
                <a:gd name="T2" fmla="*/ 94 w 155"/>
                <a:gd name="T3" fmla="*/ 108 h 150"/>
                <a:gd name="T4" fmla="*/ 136 w 155"/>
                <a:gd name="T5" fmla="*/ 150 h 150"/>
                <a:gd name="T6" fmla="*/ 155 w 155"/>
                <a:gd name="T7" fmla="*/ 131 h 150"/>
                <a:gd name="T8" fmla="*/ 113 w 155"/>
                <a:gd name="T9" fmla="*/ 89 h 150"/>
                <a:gd name="T10" fmla="*/ 105 w 155"/>
                <a:gd name="T11" fmla="*/ 17 h 150"/>
                <a:gd name="T12" fmla="*/ 64 w 155"/>
                <a:gd name="T13" fmla="*/ 0 h 150"/>
                <a:gd name="T14" fmla="*/ 64 w 155"/>
                <a:gd name="T15" fmla="*/ 23 h 150"/>
                <a:gd name="T16" fmla="*/ 75 w 155"/>
                <a:gd name="T17" fmla="*/ 23 h 150"/>
                <a:gd name="T18" fmla="*/ 75 w 155"/>
                <a:gd name="T19" fmla="*/ 47 h 150"/>
                <a:gd name="T20" fmla="*/ 99 w 155"/>
                <a:gd name="T21" fmla="*/ 47 h 150"/>
                <a:gd name="T22" fmla="*/ 99 w 155"/>
                <a:gd name="T23" fmla="*/ 70 h 150"/>
                <a:gd name="T24" fmla="*/ 75 w 155"/>
                <a:gd name="T25" fmla="*/ 70 h 150"/>
                <a:gd name="T26" fmla="*/ 75 w 155"/>
                <a:gd name="T27" fmla="*/ 94 h 150"/>
                <a:gd name="T28" fmla="*/ 64 w 155"/>
                <a:gd name="T29" fmla="*/ 94 h 150"/>
                <a:gd name="T30" fmla="*/ 64 w 155"/>
                <a:gd name="T31" fmla="*/ 117 h 150"/>
                <a:gd name="T32" fmla="*/ 22 w 155"/>
                <a:gd name="T33" fmla="*/ 100 h 150"/>
                <a:gd name="T34" fmla="*/ 64 w 155"/>
                <a:gd name="T35" fmla="*/ 117 h 150"/>
                <a:gd name="T36" fmla="*/ 64 w 155"/>
                <a:gd name="T37" fmla="*/ 94 h 150"/>
                <a:gd name="T38" fmla="*/ 53 w 155"/>
                <a:gd name="T39" fmla="*/ 94 h 150"/>
                <a:gd name="T40" fmla="*/ 53 w 155"/>
                <a:gd name="T41" fmla="*/ 70 h 150"/>
                <a:gd name="T42" fmla="*/ 28 w 155"/>
                <a:gd name="T43" fmla="*/ 70 h 150"/>
                <a:gd name="T44" fmla="*/ 28 w 155"/>
                <a:gd name="T45" fmla="*/ 47 h 150"/>
                <a:gd name="T46" fmla="*/ 28 w 155"/>
                <a:gd name="T47" fmla="*/ 47 h 150"/>
                <a:gd name="T48" fmla="*/ 53 w 155"/>
                <a:gd name="T49" fmla="*/ 47 h 150"/>
                <a:gd name="T50" fmla="*/ 53 w 155"/>
                <a:gd name="T51" fmla="*/ 23 h 150"/>
                <a:gd name="T52" fmla="*/ 64 w 155"/>
                <a:gd name="T53" fmla="*/ 23 h 150"/>
                <a:gd name="T54" fmla="*/ 64 w 155"/>
                <a:gd name="T55" fmla="*/ 0 h 150"/>
                <a:gd name="T56" fmla="*/ 22 w 155"/>
                <a:gd name="T57" fmla="*/ 17 h 150"/>
                <a:gd name="T58" fmla="*/ 22 w 155"/>
                <a:gd name="T59" fmla="*/ 10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5" h="150">
                  <a:moveTo>
                    <a:pt x="64" y="117"/>
                  </a:moveTo>
                  <a:cubicBezTo>
                    <a:pt x="74" y="117"/>
                    <a:pt x="85" y="114"/>
                    <a:pt x="94" y="108"/>
                  </a:cubicBezTo>
                  <a:cubicBezTo>
                    <a:pt x="136" y="150"/>
                    <a:pt x="136" y="150"/>
                    <a:pt x="136" y="150"/>
                  </a:cubicBezTo>
                  <a:cubicBezTo>
                    <a:pt x="155" y="131"/>
                    <a:pt x="155" y="131"/>
                    <a:pt x="155" y="131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27" y="67"/>
                    <a:pt x="124" y="37"/>
                    <a:pt x="105" y="17"/>
                  </a:cubicBezTo>
                  <a:cubicBezTo>
                    <a:pt x="94" y="6"/>
                    <a:pt x="79" y="0"/>
                    <a:pt x="64" y="0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64" y="94"/>
                    <a:pt x="64" y="94"/>
                    <a:pt x="64" y="94"/>
                  </a:cubicBezTo>
                  <a:lnTo>
                    <a:pt x="64" y="117"/>
                  </a:lnTo>
                  <a:close/>
                  <a:moveTo>
                    <a:pt x="22" y="100"/>
                  </a:moveTo>
                  <a:cubicBezTo>
                    <a:pt x="34" y="111"/>
                    <a:pt x="49" y="117"/>
                    <a:pt x="64" y="11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9" y="0"/>
                    <a:pt x="34" y="6"/>
                    <a:pt x="22" y="17"/>
                  </a:cubicBezTo>
                  <a:cubicBezTo>
                    <a:pt x="0" y="40"/>
                    <a:pt x="0" y="77"/>
                    <a:pt x="22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0" name="îš1iḋé">
              <a:extLst>
                <a:ext uri="{FF2B5EF4-FFF2-40B4-BE49-F238E27FC236}">
                  <a16:creationId xmlns:a16="http://schemas.microsoft.com/office/drawing/2014/main" id="{24393AEF-7A99-4083-9890-79CFF4DD6207}"/>
                </a:ext>
              </a:extLst>
            </p:cNvPr>
            <p:cNvSpPr/>
            <p:nvPr/>
          </p:nvSpPr>
          <p:spPr bwMode="auto">
            <a:xfrm flipH="1">
              <a:off x="4283372" y="4366680"/>
              <a:ext cx="88443" cy="105738"/>
            </a:xfrm>
            <a:custGeom>
              <a:avLst/>
              <a:gdLst>
                <a:gd name="T0" fmla="*/ 0 w 41"/>
                <a:gd name="T1" fmla="*/ 0 h 52"/>
                <a:gd name="T2" fmla="*/ 16 w 41"/>
                <a:gd name="T3" fmla="*/ 52 h 52"/>
                <a:gd name="T4" fmla="*/ 41 w 41"/>
                <a:gd name="T5" fmla="*/ 0 h 52"/>
                <a:gd name="T6" fmla="*/ 0 w 41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52">
                  <a:moveTo>
                    <a:pt x="0" y="0"/>
                  </a:moveTo>
                  <a:cubicBezTo>
                    <a:pt x="1" y="21"/>
                    <a:pt x="7" y="39"/>
                    <a:pt x="16" y="52"/>
                  </a:cubicBezTo>
                  <a:cubicBezTo>
                    <a:pt x="30" y="39"/>
                    <a:pt x="39" y="21"/>
                    <a:pt x="4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1" name="íŝḻídé">
              <a:extLst>
                <a:ext uri="{FF2B5EF4-FFF2-40B4-BE49-F238E27FC236}">
                  <a16:creationId xmlns:a16="http://schemas.microsoft.com/office/drawing/2014/main" id="{AB81E65A-5F24-4EC4-ABC6-BA246DC4A1A1}"/>
                </a:ext>
              </a:extLst>
            </p:cNvPr>
            <p:cNvSpPr/>
            <p:nvPr/>
          </p:nvSpPr>
          <p:spPr bwMode="auto">
            <a:xfrm flipH="1">
              <a:off x="4283372" y="4236012"/>
              <a:ext cx="88443" cy="104019"/>
            </a:xfrm>
            <a:custGeom>
              <a:avLst/>
              <a:gdLst>
                <a:gd name="T0" fmla="*/ 16 w 41"/>
                <a:gd name="T1" fmla="*/ 0 h 51"/>
                <a:gd name="T2" fmla="*/ 0 w 41"/>
                <a:gd name="T3" fmla="*/ 51 h 51"/>
                <a:gd name="T4" fmla="*/ 41 w 41"/>
                <a:gd name="T5" fmla="*/ 51 h 51"/>
                <a:gd name="T6" fmla="*/ 16 w 41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51">
                  <a:moveTo>
                    <a:pt x="16" y="0"/>
                  </a:moveTo>
                  <a:cubicBezTo>
                    <a:pt x="7" y="12"/>
                    <a:pt x="1" y="30"/>
                    <a:pt x="0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39" y="31"/>
                    <a:pt x="30" y="13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2" name="iślíḋê">
              <a:extLst>
                <a:ext uri="{FF2B5EF4-FFF2-40B4-BE49-F238E27FC236}">
                  <a16:creationId xmlns:a16="http://schemas.microsoft.com/office/drawing/2014/main" id="{04BD64A8-B51A-48E7-9FCA-83672FAAAFDB}"/>
                </a:ext>
              </a:extLst>
            </p:cNvPr>
            <p:cNvSpPr/>
            <p:nvPr/>
          </p:nvSpPr>
          <p:spPr bwMode="auto">
            <a:xfrm flipH="1">
              <a:off x="4360873" y="4193889"/>
              <a:ext cx="77501" cy="146142"/>
            </a:xfrm>
            <a:custGeom>
              <a:avLst/>
              <a:gdLst>
                <a:gd name="T0" fmla="*/ 0 w 36"/>
                <a:gd name="T1" fmla="*/ 0 h 72"/>
                <a:gd name="T2" fmla="*/ 0 w 36"/>
                <a:gd name="T3" fmla="*/ 72 h 72"/>
                <a:gd name="T4" fmla="*/ 18 w 36"/>
                <a:gd name="T5" fmla="*/ 72 h 72"/>
                <a:gd name="T6" fmla="*/ 36 w 36"/>
                <a:gd name="T7" fmla="*/ 12 h 72"/>
                <a:gd name="T8" fmla="*/ 0 w 36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72">
                  <a:moveTo>
                    <a:pt x="0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48"/>
                    <a:pt x="26" y="27"/>
                    <a:pt x="36" y="12"/>
                  </a:cubicBezTo>
                  <a:cubicBezTo>
                    <a:pt x="26" y="6"/>
                    <a:pt x="13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3" name="îṣľiḋe">
              <a:extLst>
                <a:ext uri="{FF2B5EF4-FFF2-40B4-BE49-F238E27FC236}">
                  <a16:creationId xmlns:a16="http://schemas.microsoft.com/office/drawing/2014/main" id="{7B251231-DEA5-4B19-B7E9-2F39105C383B}"/>
                </a:ext>
              </a:extLst>
            </p:cNvPr>
            <p:cNvSpPr/>
            <p:nvPr/>
          </p:nvSpPr>
          <p:spPr bwMode="auto">
            <a:xfrm flipH="1">
              <a:off x="4466640" y="4366680"/>
              <a:ext cx="80237" cy="146142"/>
            </a:xfrm>
            <a:custGeom>
              <a:avLst/>
              <a:gdLst>
                <a:gd name="T0" fmla="*/ 37 w 37"/>
                <a:gd name="T1" fmla="*/ 72 h 72"/>
                <a:gd name="T2" fmla="*/ 37 w 37"/>
                <a:gd name="T3" fmla="*/ 0 h 72"/>
                <a:gd name="T4" fmla="*/ 18 w 37"/>
                <a:gd name="T5" fmla="*/ 0 h 72"/>
                <a:gd name="T6" fmla="*/ 0 w 37"/>
                <a:gd name="T7" fmla="*/ 59 h 72"/>
                <a:gd name="T8" fmla="*/ 37 w 37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2">
                  <a:moveTo>
                    <a:pt x="37" y="72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24"/>
                    <a:pt x="10" y="45"/>
                    <a:pt x="0" y="59"/>
                  </a:cubicBezTo>
                  <a:cubicBezTo>
                    <a:pt x="11" y="67"/>
                    <a:pt x="23" y="71"/>
                    <a:pt x="3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4" name="îṥľidè">
              <a:extLst>
                <a:ext uri="{FF2B5EF4-FFF2-40B4-BE49-F238E27FC236}">
                  <a16:creationId xmlns:a16="http://schemas.microsoft.com/office/drawing/2014/main" id="{3B577D94-32E8-4D8B-9B01-A4F594F2231C}"/>
                </a:ext>
              </a:extLst>
            </p:cNvPr>
            <p:cNvSpPr/>
            <p:nvPr/>
          </p:nvSpPr>
          <p:spPr bwMode="auto">
            <a:xfrm flipH="1">
              <a:off x="4466640" y="4193889"/>
              <a:ext cx="80237" cy="146142"/>
            </a:xfrm>
            <a:custGeom>
              <a:avLst/>
              <a:gdLst>
                <a:gd name="T0" fmla="*/ 18 w 37"/>
                <a:gd name="T1" fmla="*/ 72 h 72"/>
                <a:gd name="T2" fmla="*/ 37 w 37"/>
                <a:gd name="T3" fmla="*/ 72 h 72"/>
                <a:gd name="T4" fmla="*/ 37 w 37"/>
                <a:gd name="T5" fmla="*/ 0 h 72"/>
                <a:gd name="T6" fmla="*/ 0 w 37"/>
                <a:gd name="T7" fmla="*/ 13 h 72"/>
                <a:gd name="T8" fmla="*/ 18 w 37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72">
                  <a:moveTo>
                    <a:pt x="18" y="72"/>
                  </a:moveTo>
                  <a:cubicBezTo>
                    <a:pt x="37" y="72"/>
                    <a:pt x="37" y="72"/>
                    <a:pt x="37" y="7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3" y="1"/>
                    <a:pt x="11" y="6"/>
                    <a:pt x="0" y="13"/>
                  </a:cubicBezTo>
                  <a:cubicBezTo>
                    <a:pt x="10" y="28"/>
                    <a:pt x="17" y="48"/>
                    <a:pt x="18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5" name="íŝḻïḍe">
              <a:extLst>
                <a:ext uri="{FF2B5EF4-FFF2-40B4-BE49-F238E27FC236}">
                  <a16:creationId xmlns:a16="http://schemas.microsoft.com/office/drawing/2014/main" id="{4CE1715C-B644-4EFA-8D24-F71AE1BD51CA}"/>
                </a:ext>
              </a:extLst>
            </p:cNvPr>
            <p:cNvSpPr/>
            <p:nvPr/>
          </p:nvSpPr>
          <p:spPr bwMode="auto">
            <a:xfrm flipH="1">
              <a:off x="4535935" y="4366680"/>
              <a:ext cx="85707" cy="103159"/>
            </a:xfrm>
            <a:custGeom>
              <a:avLst/>
              <a:gdLst>
                <a:gd name="T0" fmla="*/ 25 w 40"/>
                <a:gd name="T1" fmla="*/ 51 h 51"/>
                <a:gd name="T2" fmla="*/ 40 w 40"/>
                <a:gd name="T3" fmla="*/ 0 h 51"/>
                <a:gd name="T4" fmla="*/ 0 w 40"/>
                <a:gd name="T5" fmla="*/ 0 h 51"/>
                <a:gd name="T6" fmla="*/ 25 w 40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1">
                  <a:moveTo>
                    <a:pt x="25" y="51"/>
                  </a:moveTo>
                  <a:cubicBezTo>
                    <a:pt x="33" y="38"/>
                    <a:pt x="39" y="21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0"/>
                    <a:pt x="11" y="38"/>
                    <a:pt x="2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6" name="isḻîdê">
              <a:extLst>
                <a:ext uri="{FF2B5EF4-FFF2-40B4-BE49-F238E27FC236}">
                  <a16:creationId xmlns:a16="http://schemas.microsoft.com/office/drawing/2014/main" id="{508BA9B6-0AD7-476D-8F90-7A2B6D030248}"/>
                </a:ext>
              </a:extLst>
            </p:cNvPr>
            <p:cNvSpPr/>
            <p:nvPr/>
          </p:nvSpPr>
          <p:spPr bwMode="auto">
            <a:xfrm flipH="1">
              <a:off x="4535935" y="4236012"/>
              <a:ext cx="85707" cy="104019"/>
            </a:xfrm>
            <a:custGeom>
              <a:avLst/>
              <a:gdLst>
                <a:gd name="T0" fmla="*/ 25 w 40"/>
                <a:gd name="T1" fmla="*/ 0 h 51"/>
                <a:gd name="T2" fmla="*/ 0 w 40"/>
                <a:gd name="T3" fmla="*/ 51 h 51"/>
                <a:gd name="T4" fmla="*/ 40 w 40"/>
                <a:gd name="T5" fmla="*/ 51 h 51"/>
                <a:gd name="T6" fmla="*/ 25 w 40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1">
                  <a:moveTo>
                    <a:pt x="25" y="0"/>
                  </a:moveTo>
                  <a:cubicBezTo>
                    <a:pt x="11" y="13"/>
                    <a:pt x="1" y="31"/>
                    <a:pt x="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31"/>
                    <a:pt x="33" y="13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7" name="íṥḻíḑé">
              <a:extLst>
                <a:ext uri="{FF2B5EF4-FFF2-40B4-BE49-F238E27FC236}">
                  <a16:creationId xmlns:a16="http://schemas.microsoft.com/office/drawing/2014/main" id="{BD1E4893-37C2-4143-9D42-742E8C955B0C}"/>
                </a:ext>
              </a:extLst>
            </p:cNvPr>
            <p:cNvSpPr/>
            <p:nvPr/>
          </p:nvSpPr>
          <p:spPr bwMode="auto">
            <a:xfrm flipH="1">
              <a:off x="4360873" y="4366680"/>
              <a:ext cx="77501" cy="146142"/>
            </a:xfrm>
            <a:custGeom>
              <a:avLst/>
              <a:gdLst>
                <a:gd name="T0" fmla="*/ 0 w 36"/>
                <a:gd name="T1" fmla="*/ 72 h 72"/>
                <a:gd name="T2" fmla="*/ 36 w 36"/>
                <a:gd name="T3" fmla="*/ 60 h 72"/>
                <a:gd name="T4" fmla="*/ 18 w 36"/>
                <a:gd name="T5" fmla="*/ 0 h 72"/>
                <a:gd name="T6" fmla="*/ 0 w 36"/>
                <a:gd name="T7" fmla="*/ 0 h 72"/>
                <a:gd name="T8" fmla="*/ 0 w 36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72">
                  <a:moveTo>
                    <a:pt x="0" y="72"/>
                  </a:moveTo>
                  <a:cubicBezTo>
                    <a:pt x="13" y="71"/>
                    <a:pt x="26" y="67"/>
                    <a:pt x="36" y="60"/>
                  </a:cubicBezTo>
                  <a:cubicBezTo>
                    <a:pt x="26" y="45"/>
                    <a:pt x="19" y="24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8" name="íşľîďé">
              <a:extLst>
                <a:ext uri="{FF2B5EF4-FFF2-40B4-BE49-F238E27FC236}">
                  <a16:creationId xmlns:a16="http://schemas.microsoft.com/office/drawing/2014/main" id="{A395AA81-C17D-4321-A6DF-8D3B5A475D54}"/>
                </a:ext>
              </a:extLst>
            </p:cNvPr>
            <p:cNvSpPr/>
            <p:nvPr/>
          </p:nvSpPr>
          <p:spPr bwMode="auto">
            <a:xfrm flipH="1">
              <a:off x="1774156" y="4545489"/>
              <a:ext cx="334623" cy="385987"/>
            </a:xfrm>
            <a:custGeom>
              <a:avLst/>
              <a:gdLst>
                <a:gd name="T0" fmla="*/ 108 w 155"/>
                <a:gd name="T1" fmla="*/ 175 h 190"/>
                <a:gd name="T2" fmla="*/ 155 w 155"/>
                <a:gd name="T3" fmla="*/ 190 h 190"/>
                <a:gd name="T4" fmla="*/ 108 w 155"/>
                <a:gd name="T5" fmla="*/ 109 h 190"/>
                <a:gd name="T6" fmla="*/ 98 w 155"/>
                <a:gd name="T7" fmla="*/ 92 h 190"/>
                <a:gd name="T8" fmla="*/ 89 w 155"/>
                <a:gd name="T9" fmla="*/ 132 h 190"/>
                <a:gd name="T10" fmla="*/ 93 w 155"/>
                <a:gd name="T11" fmla="*/ 144 h 190"/>
                <a:gd name="T12" fmla="*/ 89 w 155"/>
                <a:gd name="T13" fmla="*/ 140 h 190"/>
                <a:gd name="T14" fmla="*/ 96 w 155"/>
                <a:gd name="T15" fmla="*/ 161 h 190"/>
                <a:gd name="T16" fmla="*/ 89 w 155"/>
                <a:gd name="T17" fmla="*/ 175 h 190"/>
                <a:gd name="T18" fmla="*/ 89 w 155"/>
                <a:gd name="T19" fmla="*/ 175 h 190"/>
                <a:gd name="T20" fmla="*/ 77 w 155"/>
                <a:gd name="T21" fmla="*/ 161 h 190"/>
                <a:gd name="T22" fmla="*/ 89 w 155"/>
                <a:gd name="T23" fmla="*/ 50 h 190"/>
                <a:gd name="T24" fmla="*/ 82 w 155"/>
                <a:gd name="T25" fmla="*/ 28 h 190"/>
                <a:gd name="T26" fmla="*/ 77 w 155"/>
                <a:gd name="T27" fmla="*/ 56 h 190"/>
                <a:gd name="T28" fmla="*/ 77 w 155"/>
                <a:gd name="T29" fmla="*/ 92 h 190"/>
                <a:gd name="T30" fmla="*/ 85 w 155"/>
                <a:gd name="T31" fmla="*/ 109 h 190"/>
                <a:gd name="T32" fmla="*/ 77 w 155"/>
                <a:gd name="T33" fmla="*/ 129 h 190"/>
                <a:gd name="T34" fmla="*/ 89 w 155"/>
                <a:gd name="T35" fmla="*/ 154 h 190"/>
                <a:gd name="T36" fmla="*/ 84 w 155"/>
                <a:gd name="T37" fmla="*/ 136 h 190"/>
                <a:gd name="T38" fmla="*/ 89 w 155"/>
                <a:gd name="T39" fmla="*/ 50 h 190"/>
                <a:gd name="T40" fmla="*/ 77 w 155"/>
                <a:gd name="T41" fmla="*/ 175 h 190"/>
                <a:gd name="T42" fmla="*/ 77 w 155"/>
                <a:gd name="T43" fmla="*/ 161 h 190"/>
                <a:gd name="T44" fmla="*/ 77 w 155"/>
                <a:gd name="T45" fmla="*/ 161 h 190"/>
                <a:gd name="T46" fmla="*/ 66 w 155"/>
                <a:gd name="T47" fmla="*/ 175 h 190"/>
                <a:gd name="T48" fmla="*/ 77 w 155"/>
                <a:gd name="T49" fmla="*/ 0 h 190"/>
                <a:gd name="T50" fmla="*/ 70 w 155"/>
                <a:gd name="T51" fmla="*/ 28 h 190"/>
                <a:gd name="T52" fmla="*/ 66 w 155"/>
                <a:gd name="T53" fmla="*/ 132 h 190"/>
                <a:gd name="T54" fmla="*/ 66 w 155"/>
                <a:gd name="T55" fmla="*/ 140 h 190"/>
                <a:gd name="T56" fmla="*/ 77 w 155"/>
                <a:gd name="T57" fmla="*/ 143 h 190"/>
                <a:gd name="T58" fmla="*/ 77 w 155"/>
                <a:gd name="T59" fmla="*/ 129 h 190"/>
                <a:gd name="T60" fmla="*/ 68 w 155"/>
                <a:gd name="T61" fmla="*/ 119 h 190"/>
                <a:gd name="T62" fmla="*/ 77 w 155"/>
                <a:gd name="T63" fmla="*/ 109 h 190"/>
                <a:gd name="T64" fmla="*/ 77 w 155"/>
                <a:gd name="T65" fmla="*/ 109 h 190"/>
                <a:gd name="T66" fmla="*/ 77 w 155"/>
                <a:gd name="T67" fmla="*/ 92 h 190"/>
                <a:gd name="T68" fmla="*/ 77 w 155"/>
                <a:gd name="T69" fmla="*/ 56 h 190"/>
                <a:gd name="T70" fmla="*/ 77 w 155"/>
                <a:gd name="T71" fmla="*/ 56 h 190"/>
                <a:gd name="T72" fmla="*/ 0 w 155"/>
                <a:gd name="T73" fmla="*/ 190 h 190"/>
                <a:gd name="T74" fmla="*/ 47 w 155"/>
                <a:gd name="T75" fmla="*/ 175 h 190"/>
                <a:gd name="T76" fmla="*/ 66 w 155"/>
                <a:gd name="T77" fmla="*/ 161 h 190"/>
                <a:gd name="T78" fmla="*/ 66 w 155"/>
                <a:gd name="T79" fmla="*/ 154 h 190"/>
                <a:gd name="T80" fmla="*/ 62 w 155"/>
                <a:gd name="T81" fmla="*/ 144 h 190"/>
                <a:gd name="T82" fmla="*/ 65 w 155"/>
                <a:gd name="T83" fmla="*/ 131 h 190"/>
                <a:gd name="T84" fmla="*/ 66 w 155"/>
                <a:gd name="T85" fmla="*/ 50 h 190"/>
                <a:gd name="T86" fmla="*/ 47 w 155"/>
                <a:gd name="T87" fmla="*/ 92 h 190"/>
                <a:gd name="T88" fmla="*/ 52 w 155"/>
                <a:gd name="T89" fmla="*/ 10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5" h="190">
                  <a:moveTo>
                    <a:pt x="89" y="175"/>
                  </a:moveTo>
                  <a:cubicBezTo>
                    <a:pt x="108" y="175"/>
                    <a:pt x="108" y="175"/>
                    <a:pt x="108" y="175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55" y="190"/>
                    <a:pt x="155" y="190"/>
                    <a:pt x="155" y="190"/>
                  </a:cubicBezTo>
                  <a:cubicBezTo>
                    <a:pt x="130" y="177"/>
                    <a:pt x="114" y="142"/>
                    <a:pt x="103" y="109"/>
                  </a:cubicBezTo>
                  <a:cubicBezTo>
                    <a:pt x="108" y="109"/>
                    <a:pt x="108" y="109"/>
                    <a:pt x="108" y="109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94" y="77"/>
                    <a:pt x="91" y="62"/>
                    <a:pt x="89" y="50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1"/>
                    <a:pt x="89" y="131"/>
                    <a:pt x="89" y="131"/>
                  </a:cubicBezTo>
                  <a:cubicBezTo>
                    <a:pt x="90" y="135"/>
                    <a:pt x="92" y="140"/>
                    <a:pt x="93" y="144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96" y="161"/>
                    <a:pt x="96" y="161"/>
                    <a:pt x="96" y="161"/>
                  </a:cubicBezTo>
                  <a:cubicBezTo>
                    <a:pt x="89" y="161"/>
                    <a:pt x="89" y="161"/>
                    <a:pt x="89" y="161"/>
                  </a:cubicBezTo>
                  <a:lnTo>
                    <a:pt x="89" y="175"/>
                  </a:lnTo>
                  <a:close/>
                  <a:moveTo>
                    <a:pt x="77" y="175"/>
                  </a:moveTo>
                  <a:cubicBezTo>
                    <a:pt x="89" y="175"/>
                    <a:pt x="89" y="175"/>
                    <a:pt x="89" y="175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75"/>
                    <a:pt x="77" y="175"/>
                    <a:pt x="77" y="175"/>
                  </a:cubicBezTo>
                  <a:close/>
                  <a:moveTo>
                    <a:pt x="89" y="50"/>
                  </a:moveTo>
                  <a:cubicBezTo>
                    <a:pt x="86" y="37"/>
                    <a:pt x="85" y="28"/>
                    <a:pt x="8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7"/>
                    <a:pt x="79" y="84"/>
                    <a:pt x="81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85" y="109"/>
                    <a:pt x="85" y="109"/>
                    <a:pt x="85" y="109"/>
                  </a:cubicBezTo>
                  <a:cubicBezTo>
                    <a:pt x="85" y="109"/>
                    <a:pt x="85" y="113"/>
                    <a:pt x="87" y="119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4" y="136"/>
                    <a:pt x="84" y="136"/>
                    <a:pt x="84" y="136"/>
                  </a:cubicBezTo>
                  <a:cubicBezTo>
                    <a:pt x="89" y="132"/>
                    <a:pt x="89" y="132"/>
                    <a:pt x="89" y="132"/>
                  </a:cubicBezTo>
                  <a:lnTo>
                    <a:pt x="89" y="50"/>
                  </a:lnTo>
                  <a:close/>
                  <a:moveTo>
                    <a:pt x="66" y="175"/>
                  </a:moveTo>
                  <a:cubicBezTo>
                    <a:pt x="77" y="175"/>
                    <a:pt x="77" y="175"/>
                    <a:pt x="77" y="175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75"/>
                    <a:pt x="66" y="175"/>
                    <a:pt x="66" y="175"/>
                  </a:cubicBezTo>
                  <a:close/>
                  <a:moveTo>
                    <a:pt x="77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37"/>
                    <a:pt x="66" y="50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69" y="113"/>
                    <a:pt x="70" y="109"/>
                    <a:pt x="70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76" y="84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lnTo>
                    <a:pt x="77" y="0"/>
                  </a:lnTo>
                  <a:close/>
                  <a:moveTo>
                    <a:pt x="0" y="190"/>
                  </a:moveTo>
                  <a:cubicBezTo>
                    <a:pt x="31" y="190"/>
                    <a:pt x="31" y="190"/>
                    <a:pt x="31" y="190"/>
                  </a:cubicBezTo>
                  <a:cubicBezTo>
                    <a:pt x="47" y="175"/>
                    <a:pt x="47" y="175"/>
                    <a:pt x="47" y="175"/>
                  </a:cubicBezTo>
                  <a:cubicBezTo>
                    <a:pt x="66" y="175"/>
                    <a:pt x="66" y="175"/>
                    <a:pt x="66" y="175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59" y="161"/>
                    <a:pt x="59" y="161"/>
                    <a:pt x="59" y="161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2" y="144"/>
                    <a:pt x="62" y="144"/>
                    <a:pt x="62" y="144"/>
                  </a:cubicBezTo>
                  <a:cubicBezTo>
                    <a:pt x="63" y="140"/>
                    <a:pt x="64" y="135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4" y="62"/>
                    <a:pt x="61" y="77"/>
                    <a:pt x="57" y="92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41" y="142"/>
                    <a:pt x="25" y="177"/>
                    <a:pt x="0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9" name="iṥļïḑé">
              <a:extLst>
                <a:ext uri="{FF2B5EF4-FFF2-40B4-BE49-F238E27FC236}">
                  <a16:creationId xmlns:a16="http://schemas.microsoft.com/office/drawing/2014/main" id="{E1B5B427-B10F-41B4-91E4-1BB47C71F793}"/>
                </a:ext>
              </a:extLst>
            </p:cNvPr>
            <p:cNvSpPr/>
            <p:nvPr/>
          </p:nvSpPr>
          <p:spPr bwMode="auto">
            <a:xfrm flipH="1">
              <a:off x="1327385" y="2493484"/>
              <a:ext cx="134032" cy="361916"/>
            </a:xfrm>
            <a:custGeom>
              <a:avLst/>
              <a:gdLst>
                <a:gd name="T0" fmla="*/ 8 w 62"/>
                <a:gd name="T1" fmla="*/ 21 h 178"/>
                <a:gd name="T2" fmla="*/ 1 w 62"/>
                <a:gd name="T3" fmla="*/ 43 h 178"/>
                <a:gd name="T4" fmla="*/ 6 w 62"/>
                <a:gd name="T5" fmla="*/ 62 h 178"/>
                <a:gd name="T6" fmla="*/ 23 w 62"/>
                <a:gd name="T7" fmla="*/ 82 h 178"/>
                <a:gd name="T8" fmla="*/ 23 w 62"/>
                <a:gd name="T9" fmla="*/ 178 h 178"/>
                <a:gd name="T10" fmla="*/ 40 w 62"/>
                <a:gd name="T11" fmla="*/ 178 h 178"/>
                <a:gd name="T12" fmla="*/ 40 w 62"/>
                <a:gd name="T13" fmla="*/ 82 h 178"/>
                <a:gd name="T14" fmla="*/ 57 w 62"/>
                <a:gd name="T15" fmla="*/ 62 h 178"/>
                <a:gd name="T16" fmla="*/ 61 w 62"/>
                <a:gd name="T17" fmla="*/ 43 h 178"/>
                <a:gd name="T18" fmla="*/ 55 w 62"/>
                <a:gd name="T19" fmla="*/ 21 h 178"/>
                <a:gd name="T20" fmla="*/ 41 w 62"/>
                <a:gd name="T21" fmla="*/ 1 h 178"/>
                <a:gd name="T22" fmla="*/ 46 w 62"/>
                <a:gd name="T23" fmla="*/ 42 h 178"/>
                <a:gd name="T24" fmla="*/ 40 w 62"/>
                <a:gd name="T25" fmla="*/ 42 h 178"/>
                <a:gd name="T26" fmla="*/ 36 w 62"/>
                <a:gd name="T27" fmla="*/ 0 h 178"/>
                <a:gd name="T28" fmla="*/ 31 w 62"/>
                <a:gd name="T29" fmla="*/ 0 h 178"/>
                <a:gd name="T30" fmla="*/ 27 w 62"/>
                <a:gd name="T31" fmla="*/ 0 h 178"/>
                <a:gd name="T32" fmla="*/ 22 w 62"/>
                <a:gd name="T33" fmla="*/ 42 h 178"/>
                <a:gd name="T34" fmla="*/ 17 w 62"/>
                <a:gd name="T35" fmla="*/ 42 h 178"/>
                <a:gd name="T36" fmla="*/ 21 w 62"/>
                <a:gd name="T37" fmla="*/ 1 h 178"/>
                <a:gd name="T38" fmla="*/ 8 w 62"/>
                <a:gd name="T39" fmla="*/ 2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" h="178">
                  <a:moveTo>
                    <a:pt x="8" y="21"/>
                  </a:moveTo>
                  <a:cubicBezTo>
                    <a:pt x="5" y="29"/>
                    <a:pt x="2" y="36"/>
                    <a:pt x="1" y="43"/>
                  </a:cubicBezTo>
                  <a:cubicBezTo>
                    <a:pt x="0" y="51"/>
                    <a:pt x="2" y="56"/>
                    <a:pt x="6" y="62"/>
                  </a:cubicBezTo>
                  <a:cubicBezTo>
                    <a:pt x="9" y="68"/>
                    <a:pt x="15" y="77"/>
                    <a:pt x="23" y="82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40" y="178"/>
                    <a:pt x="40" y="178"/>
                    <a:pt x="40" y="178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7" y="78"/>
                    <a:pt x="53" y="68"/>
                    <a:pt x="57" y="62"/>
                  </a:cubicBezTo>
                  <a:cubicBezTo>
                    <a:pt x="60" y="56"/>
                    <a:pt x="62" y="51"/>
                    <a:pt x="61" y="43"/>
                  </a:cubicBezTo>
                  <a:cubicBezTo>
                    <a:pt x="60" y="36"/>
                    <a:pt x="57" y="29"/>
                    <a:pt x="55" y="21"/>
                  </a:cubicBezTo>
                  <a:cubicBezTo>
                    <a:pt x="53" y="16"/>
                    <a:pt x="49" y="2"/>
                    <a:pt x="41" y="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4" y="2"/>
                    <a:pt x="10" y="16"/>
                    <a:pt x="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0" name="íṡḷídè">
              <a:extLst>
                <a:ext uri="{FF2B5EF4-FFF2-40B4-BE49-F238E27FC236}">
                  <a16:creationId xmlns:a16="http://schemas.microsoft.com/office/drawing/2014/main" id="{D96B140A-D112-43B2-AFE1-FF7064D2702F}"/>
                </a:ext>
              </a:extLst>
            </p:cNvPr>
            <p:cNvSpPr/>
            <p:nvPr/>
          </p:nvSpPr>
          <p:spPr bwMode="auto">
            <a:xfrm flipH="1">
              <a:off x="1145941" y="2487467"/>
              <a:ext cx="140414" cy="367934"/>
            </a:xfrm>
            <a:custGeom>
              <a:avLst/>
              <a:gdLst>
                <a:gd name="T0" fmla="*/ 41 w 65"/>
                <a:gd name="T1" fmla="*/ 181 h 181"/>
                <a:gd name="T2" fmla="*/ 41 w 65"/>
                <a:gd name="T3" fmla="*/ 86 h 181"/>
                <a:gd name="T4" fmla="*/ 65 w 65"/>
                <a:gd name="T5" fmla="*/ 48 h 181"/>
                <a:gd name="T6" fmla="*/ 33 w 65"/>
                <a:gd name="T7" fmla="*/ 0 h 181"/>
                <a:gd name="T8" fmla="*/ 0 w 65"/>
                <a:gd name="T9" fmla="*/ 48 h 181"/>
                <a:gd name="T10" fmla="*/ 24 w 65"/>
                <a:gd name="T11" fmla="*/ 86 h 181"/>
                <a:gd name="T12" fmla="*/ 24 w 65"/>
                <a:gd name="T13" fmla="*/ 181 h 181"/>
                <a:gd name="T14" fmla="*/ 41 w 65"/>
                <a:gd name="T1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81">
                  <a:moveTo>
                    <a:pt x="41" y="181"/>
                  </a:moveTo>
                  <a:cubicBezTo>
                    <a:pt x="41" y="86"/>
                    <a:pt x="41" y="86"/>
                    <a:pt x="41" y="86"/>
                  </a:cubicBezTo>
                  <a:cubicBezTo>
                    <a:pt x="55" y="82"/>
                    <a:pt x="65" y="66"/>
                    <a:pt x="65" y="48"/>
                  </a:cubicBezTo>
                  <a:cubicBezTo>
                    <a:pt x="65" y="26"/>
                    <a:pt x="51" y="0"/>
                    <a:pt x="33" y="0"/>
                  </a:cubicBezTo>
                  <a:cubicBezTo>
                    <a:pt x="15" y="0"/>
                    <a:pt x="0" y="26"/>
                    <a:pt x="0" y="48"/>
                  </a:cubicBezTo>
                  <a:cubicBezTo>
                    <a:pt x="0" y="66"/>
                    <a:pt x="10" y="82"/>
                    <a:pt x="24" y="86"/>
                  </a:cubicBezTo>
                  <a:cubicBezTo>
                    <a:pt x="24" y="181"/>
                    <a:pt x="24" y="181"/>
                    <a:pt x="24" y="181"/>
                  </a:cubicBezTo>
                  <a:lnTo>
                    <a:pt x="41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1" name="ïSḻide">
              <a:extLst>
                <a:ext uri="{FF2B5EF4-FFF2-40B4-BE49-F238E27FC236}">
                  <a16:creationId xmlns:a16="http://schemas.microsoft.com/office/drawing/2014/main" id="{7F044E4A-E08A-460E-8001-AC9EB4DFBADB}"/>
                </a:ext>
              </a:extLst>
            </p:cNvPr>
            <p:cNvSpPr/>
            <p:nvPr/>
          </p:nvSpPr>
          <p:spPr bwMode="auto">
            <a:xfrm flipH="1">
              <a:off x="2579257" y="1759335"/>
              <a:ext cx="333711" cy="79948"/>
            </a:xfrm>
            <a:custGeom>
              <a:avLst/>
              <a:gdLst>
                <a:gd name="T0" fmla="*/ 182 w 366"/>
                <a:gd name="T1" fmla="*/ 76 h 93"/>
                <a:gd name="T2" fmla="*/ 314 w 366"/>
                <a:gd name="T3" fmla="*/ 76 h 93"/>
                <a:gd name="T4" fmla="*/ 324 w 366"/>
                <a:gd name="T5" fmla="*/ 93 h 93"/>
                <a:gd name="T6" fmla="*/ 366 w 366"/>
                <a:gd name="T7" fmla="*/ 93 h 93"/>
                <a:gd name="T8" fmla="*/ 298 w 366"/>
                <a:gd name="T9" fmla="*/ 0 h 93"/>
                <a:gd name="T10" fmla="*/ 255 w 366"/>
                <a:gd name="T11" fmla="*/ 0 h 93"/>
                <a:gd name="T12" fmla="*/ 265 w 366"/>
                <a:gd name="T13" fmla="*/ 12 h 93"/>
                <a:gd name="T14" fmla="*/ 182 w 366"/>
                <a:gd name="T15" fmla="*/ 12 h 93"/>
                <a:gd name="T16" fmla="*/ 182 w 366"/>
                <a:gd name="T17" fmla="*/ 36 h 93"/>
                <a:gd name="T18" fmla="*/ 284 w 366"/>
                <a:gd name="T19" fmla="*/ 36 h 93"/>
                <a:gd name="T20" fmla="*/ 295 w 366"/>
                <a:gd name="T21" fmla="*/ 52 h 93"/>
                <a:gd name="T22" fmla="*/ 182 w 366"/>
                <a:gd name="T23" fmla="*/ 52 h 93"/>
                <a:gd name="T24" fmla="*/ 182 w 366"/>
                <a:gd name="T25" fmla="*/ 76 h 93"/>
                <a:gd name="T26" fmla="*/ 52 w 366"/>
                <a:gd name="T27" fmla="*/ 76 h 93"/>
                <a:gd name="T28" fmla="*/ 182 w 366"/>
                <a:gd name="T29" fmla="*/ 76 h 93"/>
                <a:gd name="T30" fmla="*/ 182 w 366"/>
                <a:gd name="T31" fmla="*/ 52 h 93"/>
                <a:gd name="T32" fmla="*/ 71 w 366"/>
                <a:gd name="T33" fmla="*/ 52 h 93"/>
                <a:gd name="T34" fmla="*/ 82 w 366"/>
                <a:gd name="T35" fmla="*/ 36 h 93"/>
                <a:gd name="T36" fmla="*/ 82 w 366"/>
                <a:gd name="T37" fmla="*/ 36 h 93"/>
                <a:gd name="T38" fmla="*/ 182 w 366"/>
                <a:gd name="T39" fmla="*/ 36 h 93"/>
                <a:gd name="T40" fmla="*/ 182 w 366"/>
                <a:gd name="T41" fmla="*/ 12 h 93"/>
                <a:gd name="T42" fmla="*/ 101 w 366"/>
                <a:gd name="T43" fmla="*/ 12 h 93"/>
                <a:gd name="T44" fmla="*/ 111 w 366"/>
                <a:gd name="T45" fmla="*/ 0 h 93"/>
                <a:gd name="T46" fmla="*/ 68 w 366"/>
                <a:gd name="T47" fmla="*/ 0 h 93"/>
                <a:gd name="T48" fmla="*/ 0 w 366"/>
                <a:gd name="T49" fmla="*/ 93 h 93"/>
                <a:gd name="T50" fmla="*/ 42 w 366"/>
                <a:gd name="T51" fmla="*/ 93 h 93"/>
                <a:gd name="T52" fmla="*/ 52 w 366"/>
                <a:gd name="T53" fmla="*/ 7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6" h="93">
                  <a:moveTo>
                    <a:pt x="182" y="76"/>
                  </a:moveTo>
                  <a:lnTo>
                    <a:pt x="314" y="76"/>
                  </a:lnTo>
                  <a:lnTo>
                    <a:pt x="324" y="93"/>
                  </a:lnTo>
                  <a:lnTo>
                    <a:pt x="366" y="93"/>
                  </a:lnTo>
                  <a:lnTo>
                    <a:pt x="298" y="0"/>
                  </a:lnTo>
                  <a:lnTo>
                    <a:pt x="255" y="0"/>
                  </a:lnTo>
                  <a:lnTo>
                    <a:pt x="265" y="12"/>
                  </a:lnTo>
                  <a:lnTo>
                    <a:pt x="182" y="12"/>
                  </a:lnTo>
                  <a:lnTo>
                    <a:pt x="182" y="36"/>
                  </a:lnTo>
                  <a:lnTo>
                    <a:pt x="284" y="36"/>
                  </a:lnTo>
                  <a:lnTo>
                    <a:pt x="295" y="52"/>
                  </a:lnTo>
                  <a:lnTo>
                    <a:pt x="182" y="52"/>
                  </a:lnTo>
                  <a:lnTo>
                    <a:pt x="182" y="76"/>
                  </a:lnTo>
                  <a:close/>
                  <a:moveTo>
                    <a:pt x="52" y="76"/>
                  </a:moveTo>
                  <a:lnTo>
                    <a:pt x="182" y="76"/>
                  </a:lnTo>
                  <a:lnTo>
                    <a:pt x="182" y="52"/>
                  </a:lnTo>
                  <a:lnTo>
                    <a:pt x="71" y="52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182" y="36"/>
                  </a:lnTo>
                  <a:lnTo>
                    <a:pt x="182" y="12"/>
                  </a:lnTo>
                  <a:lnTo>
                    <a:pt x="101" y="12"/>
                  </a:lnTo>
                  <a:lnTo>
                    <a:pt x="111" y="0"/>
                  </a:lnTo>
                  <a:lnTo>
                    <a:pt x="68" y="0"/>
                  </a:lnTo>
                  <a:lnTo>
                    <a:pt x="0" y="93"/>
                  </a:lnTo>
                  <a:lnTo>
                    <a:pt x="42" y="93"/>
                  </a:lnTo>
                  <a:lnTo>
                    <a:pt x="52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2" name="ïsľíḓé">
              <a:extLst>
                <a:ext uri="{FF2B5EF4-FFF2-40B4-BE49-F238E27FC236}">
                  <a16:creationId xmlns:a16="http://schemas.microsoft.com/office/drawing/2014/main" id="{1FFC2810-F55C-4A90-B25C-8101F8169C27}"/>
                </a:ext>
              </a:extLst>
            </p:cNvPr>
            <p:cNvSpPr/>
            <p:nvPr/>
          </p:nvSpPr>
          <p:spPr bwMode="auto">
            <a:xfrm flipH="1">
              <a:off x="2589287" y="1452438"/>
              <a:ext cx="306358" cy="297442"/>
            </a:xfrm>
            <a:custGeom>
              <a:avLst/>
              <a:gdLst>
                <a:gd name="T0" fmla="*/ 281 w 336"/>
                <a:gd name="T1" fmla="*/ 0 h 346"/>
                <a:gd name="T2" fmla="*/ 310 w 336"/>
                <a:gd name="T3" fmla="*/ 73 h 346"/>
                <a:gd name="T4" fmla="*/ 310 w 336"/>
                <a:gd name="T5" fmla="*/ 241 h 346"/>
                <a:gd name="T6" fmla="*/ 281 w 336"/>
                <a:gd name="T7" fmla="*/ 275 h 346"/>
                <a:gd name="T8" fmla="*/ 310 w 336"/>
                <a:gd name="T9" fmla="*/ 305 h 346"/>
                <a:gd name="T10" fmla="*/ 281 w 336"/>
                <a:gd name="T11" fmla="*/ 305 h 346"/>
                <a:gd name="T12" fmla="*/ 336 w 336"/>
                <a:gd name="T13" fmla="*/ 346 h 346"/>
                <a:gd name="T14" fmla="*/ 336 w 336"/>
                <a:gd name="T15" fmla="*/ 0 h 346"/>
                <a:gd name="T16" fmla="*/ 168 w 336"/>
                <a:gd name="T17" fmla="*/ 0 h 346"/>
                <a:gd name="T18" fmla="*/ 267 w 336"/>
                <a:gd name="T19" fmla="*/ 24 h 346"/>
                <a:gd name="T20" fmla="*/ 168 w 336"/>
                <a:gd name="T21" fmla="*/ 45 h 346"/>
                <a:gd name="T22" fmla="*/ 281 w 336"/>
                <a:gd name="T23" fmla="*/ 73 h 346"/>
                <a:gd name="T24" fmla="*/ 281 w 336"/>
                <a:gd name="T25" fmla="*/ 0 h 346"/>
                <a:gd name="T26" fmla="*/ 281 w 336"/>
                <a:gd name="T27" fmla="*/ 346 h 346"/>
                <a:gd name="T28" fmla="*/ 250 w 336"/>
                <a:gd name="T29" fmla="*/ 305 h 346"/>
                <a:gd name="T30" fmla="*/ 281 w 336"/>
                <a:gd name="T31" fmla="*/ 275 h 346"/>
                <a:gd name="T32" fmla="*/ 168 w 336"/>
                <a:gd name="T33" fmla="*/ 241 h 346"/>
                <a:gd name="T34" fmla="*/ 168 w 336"/>
                <a:gd name="T35" fmla="*/ 0 h 346"/>
                <a:gd name="T36" fmla="*/ 56 w 336"/>
                <a:gd name="T37" fmla="*/ 73 h 346"/>
                <a:gd name="T38" fmla="*/ 168 w 336"/>
                <a:gd name="T39" fmla="*/ 45 h 346"/>
                <a:gd name="T40" fmla="*/ 71 w 336"/>
                <a:gd name="T41" fmla="*/ 24 h 346"/>
                <a:gd name="T42" fmla="*/ 168 w 336"/>
                <a:gd name="T43" fmla="*/ 24 h 346"/>
                <a:gd name="T44" fmla="*/ 168 w 336"/>
                <a:gd name="T45" fmla="*/ 0 h 346"/>
                <a:gd name="T46" fmla="*/ 168 w 336"/>
                <a:gd name="T47" fmla="*/ 346 h 346"/>
                <a:gd name="T48" fmla="*/ 56 w 336"/>
                <a:gd name="T49" fmla="*/ 241 h 346"/>
                <a:gd name="T50" fmla="*/ 85 w 336"/>
                <a:gd name="T51" fmla="*/ 275 h 346"/>
                <a:gd name="T52" fmla="*/ 85 w 336"/>
                <a:gd name="T53" fmla="*/ 305 h 346"/>
                <a:gd name="T54" fmla="*/ 56 w 336"/>
                <a:gd name="T55" fmla="*/ 346 h 346"/>
                <a:gd name="T56" fmla="*/ 0 w 336"/>
                <a:gd name="T57" fmla="*/ 0 h 346"/>
                <a:gd name="T58" fmla="*/ 56 w 336"/>
                <a:gd name="T59" fmla="*/ 346 h 346"/>
                <a:gd name="T60" fmla="*/ 26 w 336"/>
                <a:gd name="T61" fmla="*/ 305 h 346"/>
                <a:gd name="T62" fmla="*/ 56 w 336"/>
                <a:gd name="T63" fmla="*/ 275 h 346"/>
                <a:gd name="T64" fmla="*/ 26 w 336"/>
                <a:gd name="T65" fmla="*/ 241 h 346"/>
                <a:gd name="T66" fmla="*/ 56 w 336"/>
                <a:gd name="T67" fmla="*/ 7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6" h="346">
                  <a:moveTo>
                    <a:pt x="336" y="0"/>
                  </a:moveTo>
                  <a:lnTo>
                    <a:pt x="281" y="0"/>
                  </a:lnTo>
                  <a:lnTo>
                    <a:pt x="281" y="73"/>
                  </a:lnTo>
                  <a:lnTo>
                    <a:pt x="310" y="73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281" y="241"/>
                  </a:lnTo>
                  <a:lnTo>
                    <a:pt x="281" y="275"/>
                  </a:lnTo>
                  <a:lnTo>
                    <a:pt x="310" y="275"/>
                  </a:lnTo>
                  <a:lnTo>
                    <a:pt x="310" y="305"/>
                  </a:lnTo>
                  <a:lnTo>
                    <a:pt x="310" y="305"/>
                  </a:lnTo>
                  <a:lnTo>
                    <a:pt x="281" y="305"/>
                  </a:lnTo>
                  <a:lnTo>
                    <a:pt x="281" y="346"/>
                  </a:lnTo>
                  <a:lnTo>
                    <a:pt x="336" y="346"/>
                  </a:lnTo>
                  <a:lnTo>
                    <a:pt x="336" y="0"/>
                  </a:lnTo>
                  <a:lnTo>
                    <a:pt x="336" y="0"/>
                  </a:lnTo>
                  <a:close/>
                  <a:moveTo>
                    <a:pt x="281" y="0"/>
                  </a:moveTo>
                  <a:lnTo>
                    <a:pt x="168" y="0"/>
                  </a:lnTo>
                  <a:lnTo>
                    <a:pt x="168" y="24"/>
                  </a:lnTo>
                  <a:lnTo>
                    <a:pt x="267" y="24"/>
                  </a:lnTo>
                  <a:lnTo>
                    <a:pt x="267" y="45"/>
                  </a:lnTo>
                  <a:lnTo>
                    <a:pt x="168" y="45"/>
                  </a:lnTo>
                  <a:lnTo>
                    <a:pt x="168" y="73"/>
                  </a:lnTo>
                  <a:lnTo>
                    <a:pt x="281" y="73"/>
                  </a:lnTo>
                  <a:lnTo>
                    <a:pt x="281" y="0"/>
                  </a:lnTo>
                  <a:lnTo>
                    <a:pt x="281" y="0"/>
                  </a:lnTo>
                  <a:close/>
                  <a:moveTo>
                    <a:pt x="168" y="346"/>
                  </a:moveTo>
                  <a:lnTo>
                    <a:pt x="281" y="346"/>
                  </a:lnTo>
                  <a:lnTo>
                    <a:pt x="281" y="305"/>
                  </a:lnTo>
                  <a:lnTo>
                    <a:pt x="250" y="305"/>
                  </a:lnTo>
                  <a:lnTo>
                    <a:pt x="250" y="275"/>
                  </a:lnTo>
                  <a:lnTo>
                    <a:pt x="281" y="275"/>
                  </a:lnTo>
                  <a:lnTo>
                    <a:pt x="281" y="241"/>
                  </a:lnTo>
                  <a:lnTo>
                    <a:pt x="168" y="241"/>
                  </a:lnTo>
                  <a:lnTo>
                    <a:pt x="168" y="346"/>
                  </a:lnTo>
                  <a:close/>
                  <a:moveTo>
                    <a:pt x="168" y="0"/>
                  </a:moveTo>
                  <a:lnTo>
                    <a:pt x="56" y="0"/>
                  </a:lnTo>
                  <a:lnTo>
                    <a:pt x="56" y="73"/>
                  </a:lnTo>
                  <a:lnTo>
                    <a:pt x="168" y="73"/>
                  </a:lnTo>
                  <a:lnTo>
                    <a:pt x="168" y="45"/>
                  </a:lnTo>
                  <a:lnTo>
                    <a:pt x="71" y="4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168" y="24"/>
                  </a:lnTo>
                  <a:lnTo>
                    <a:pt x="168" y="0"/>
                  </a:lnTo>
                  <a:lnTo>
                    <a:pt x="168" y="0"/>
                  </a:lnTo>
                  <a:close/>
                  <a:moveTo>
                    <a:pt x="56" y="346"/>
                  </a:moveTo>
                  <a:lnTo>
                    <a:pt x="168" y="346"/>
                  </a:lnTo>
                  <a:lnTo>
                    <a:pt x="168" y="241"/>
                  </a:lnTo>
                  <a:lnTo>
                    <a:pt x="56" y="241"/>
                  </a:lnTo>
                  <a:lnTo>
                    <a:pt x="56" y="275"/>
                  </a:lnTo>
                  <a:lnTo>
                    <a:pt x="85" y="275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56" y="305"/>
                  </a:lnTo>
                  <a:lnTo>
                    <a:pt x="56" y="346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346"/>
                  </a:lnTo>
                  <a:lnTo>
                    <a:pt x="56" y="346"/>
                  </a:lnTo>
                  <a:lnTo>
                    <a:pt x="56" y="305"/>
                  </a:lnTo>
                  <a:lnTo>
                    <a:pt x="26" y="305"/>
                  </a:lnTo>
                  <a:lnTo>
                    <a:pt x="26" y="275"/>
                  </a:lnTo>
                  <a:lnTo>
                    <a:pt x="56" y="275"/>
                  </a:lnTo>
                  <a:lnTo>
                    <a:pt x="56" y="241"/>
                  </a:lnTo>
                  <a:lnTo>
                    <a:pt x="26" y="241"/>
                  </a:lnTo>
                  <a:lnTo>
                    <a:pt x="26" y="73"/>
                  </a:lnTo>
                  <a:lnTo>
                    <a:pt x="56" y="73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3" name="iṡḻîďe">
              <a:extLst>
                <a:ext uri="{FF2B5EF4-FFF2-40B4-BE49-F238E27FC236}">
                  <a16:creationId xmlns:a16="http://schemas.microsoft.com/office/drawing/2014/main" id="{3F732655-A163-4BCA-B484-D74633FFA2F1}"/>
                </a:ext>
              </a:extLst>
            </p:cNvPr>
            <p:cNvSpPr/>
            <p:nvPr/>
          </p:nvSpPr>
          <p:spPr bwMode="auto">
            <a:xfrm flipH="1">
              <a:off x="1931895" y="3975535"/>
              <a:ext cx="320946" cy="3524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4" name="iṧḷíďê">
              <a:extLst>
                <a:ext uri="{FF2B5EF4-FFF2-40B4-BE49-F238E27FC236}">
                  <a16:creationId xmlns:a16="http://schemas.microsoft.com/office/drawing/2014/main" id="{0D17D1E8-3819-4F04-96BE-07AE33016B82}"/>
                </a:ext>
              </a:extLst>
            </p:cNvPr>
            <p:cNvSpPr/>
            <p:nvPr/>
          </p:nvSpPr>
          <p:spPr bwMode="auto">
            <a:xfrm flipH="1">
              <a:off x="1931895" y="4046887"/>
              <a:ext cx="320946" cy="122071"/>
            </a:xfrm>
            <a:custGeom>
              <a:avLst/>
              <a:gdLst>
                <a:gd name="T0" fmla="*/ 298 w 352"/>
                <a:gd name="T1" fmla="*/ 142 h 142"/>
                <a:gd name="T2" fmla="*/ 352 w 352"/>
                <a:gd name="T3" fmla="*/ 142 h 142"/>
                <a:gd name="T4" fmla="*/ 352 w 352"/>
                <a:gd name="T5" fmla="*/ 0 h 142"/>
                <a:gd name="T6" fmla="*/ 298 w 352"/>
                <a:gd name="T7" fmla="*/ 0 h 142"/>
                <a:gd name="T8" fmla="*/ 298 w 352"/>
                <a:gd name="T9" fmla="*/ 69 h 142"/>
                <a:gd name="T10" fmla="*/ 298 w 352"/>
                <a:gd name="T11" fmla="*/ 69 h 142"/>
                <a:gd name="T12" fmla="*/ 324 w 352"/>
                <a:gd name="T13" fmla="*/ 95 h 142"/>
                <a:gd name="T14" fmla="*/ 298 w 352"/>
                <a:gd name="T15" fmla="*/ 121 h 142"/>
                <a:gd name="T16" fmla="*/ 298 w 352"/>
                <a:gd name="T17" fmla="*/ 142 h 142"/>
                <a:gd name="T18" fmla="*/ 0 w 352"/>
                <a:gd name="T19" fmla="*/ 142 h 142"/>
                <a:gd name="T20" fmla="*/ 298 w 352"/>
                <a:gd name="T21" fmla="*/ 142 h 142"/>
                <a:gd name="T22" fmla="*/ 298 w 352"/>
                <a:gd name="T23" fmla="*/ 121 h 142"/>
                <a:gd name="T24" fmla="*/ 272 w 352"/>
                <a:gd name="T25" fmla="*/ 95 h 142"/>
                <a:gd name="T26" fmla="*/ 298 w 352"/>
                <a:gd name="T27" fmla="*/ 69 h 142"/>
                <a:gd name="T28" fmla="*/ 298 w 352"/>
                <a:gd name="T29" fmla="*/ 0 h 142"/>
                <a:gd name="T30" fmla="*/ 0 w 352"/>
                <a:gd name="T31" fmla="*/ 0 h 142"/>
                <a:gd name="T32" fmla="*/ 0 w 352"/>
                <a:gd name="T33" fmla="*/ 142 h 142"/>
                <a:gd name="T34" fmla="*/ 0 w 352"/>
                <a:gd name="T35" fmla="*/ 142 h 142"/>
                <a:gd name="T36" fmla="*/ 298 w 352"/>
                <a:gd name="T37" fmla="*/ 69 h 142"/>
                <a:gd name="T38" fmla="*/ 298 w 352"/>
                <a:gd name="T39" fmla="*/ 6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2" h="142">
                  <a:moveTo>
                    <a:pt x="298" y="142"/>
                  </a:moveTo>
                  <a:lnTo>
                    <a:pt x="352" y="142"/>
                  </a:lnTo>
                  <a:lnTo>
                    <a:pt x="352" y="0"/>
                  </a:lnTo>
                  <a:lnTo>
                    <a:pt x="298" y="0"/>
                  </a:lnTo>
                  <a:lnTo>
                    <a:pt x="298" y="69"/>
                  </a:lnTo>
                  <a:lnTo>
                    <a:pt x="298" y="69"/>
                  </a:lnTo>
                  <a:lnTo>
                    <a:pt x="324" y="95"/>
                  </a:lnTo>
                  <a:lnTo>
                    <a:pt x="298" y="121"/>
                  </a:lnTo>
                  <a:lnTo>
                    <a:pt x="298" y="142"/>
                  </a:lnTo>
                  <a:close/>
                  <a:moveTo>
                    <a:pt x="0" y="142"/>
                  </a:moveTo>
                  <a:lnTo>
                    <a:pt x="298" y="142"/>
                  </a:lnTo>
                  <a:lnTo>
                    <a:pt x="298" y="121"/>
                  </a:lnTo>
                  <a:lnTo>
                    <a:pt x="272" y="95"/>
                  </a:lnTo>
                  <a:lnTo>
                    <a:pt x="298" y="69"/>
                  </a:lnTo>
                  <a:lnTo>
                    <a:pt x="298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0" y="142"/>
                  </a:lnTo>
                  <a:close/>
                  <a:moveTo>
                    <a:pt x="298" y="69"/>
                  </a:moveTo>
                  <a:lnTo>
                    <a:pt x="298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5" name="íśļíḍê">
              <a:extLst>
                <a:ext uri="{FF2B5EF4-FFF2-40B4-BE49-F238E27FC236}">
                  <a16:creationId xmlns:a16="http://schemas.microsoft.com/office/drawing/2014/main" id="{18371B1E-07AE-46FC-BB16-F93934FCDD30}"/>
                </a:ext>
              </a:extLst>
            </p:cNvPr>
            <p:cNvSpPr/>
            <p:nvPr/>
          </p:nvSpPr>
          <p:spPr bwMode="auto">
            <a:xfrm flipH="1">
              <a:off x="1931895" y="4046887"/>
              <a:ext cx="320946" cy="122071"/>
            </a:xfrm>
            <a:custGeom>
              <a:avLst/>
              <a:gdLst>
                <a:gd name="T0" fmla="*/ 298 w 352"/>
                <a:gd name="T1" fmla="*/ 142 h 142"/>
                <a:gd name="T2" fmla="*/ 352 w 352"/>
                <a:gd name="T3" fmla="*/ 142 h 142"/>
                <a:gd name="T4" fmla="*/ 352 w 352"/>
                <a:gd name="T5" fmla="*/ 0 h 142"/>
                <a:gd name="T6" fmla="*/ 298 w 352"/>
                <a:gd name="T7" fmla="*/ 0 h 142"/>
                <a:gd name="T8" fmla="*/ 298 w 352"/>
                <a:gd name="T9" fmla="*/ 69 h 142"/>
                <a:gd name="T10" fmla="*/ 298 w 352"/>
                <a:gd name="T11" fmla="*/ 69 h 142"/>
                <a:gd name="T12" fmla="*/ 324 w 352"/>
                <a:gd name="T13" fmla="*/ 95 h 142"/>
                <a:gd name="T14" fmla="*/ 298 w 352"/>
                <a:gd name="T15" fmla="*/ 121 h 142"/>
                <a:gd name="T16" fmla="*/ 298 w 352"/>
                <a:gd name="T17" fmla="*/ 142 h 142"/>
                <a:gd name="T18" fmla="*/ 0 w 352"/>
                <a:gd name="T19" fmla="*/ 142 h 142"/>
                <a:gd name="T20" fmla="*/ 298 w 352"/>
                <a:gd name="T21" fmla="*/ 142 h 142"/>
                <a:gd name="T22" fmla="*/ 298 w 352"/>
                <a:gd name="T23" fmla="*/ 121 h 142"/>
                <a:gd name="T24" fmla="*/ 272 w 352"/>
                <a:gd name="T25" fmla="*/ 95 h 142"/>
                <a:gd name="T26" fmla="*/ 298 w 352"/>
                <a:gd name="T27" fmla="*/ 69 h 142"/>
                <a:gd name="T28" fmla="*/ 298 w 352"/>
                <a:gd name="T29" fmla="*/ 0 h 142"/>
                <a:gd name="T30" fmla="*/ 0 w 352"/>
                <a:gd name="T31" fmla="*/ 0 h 142"/>
                <a:gd name="T32" fmla="*/ 0 w 352"/>
                <a:gd name="T33" fmla="*/ 142 h 142"/>
                <a:gd name="T34" fmla="*/ 0 w 352"/>
                <a:gd name="T35" fmla="*/ 142 h 142"/>
                <a:gd name="T36" fmla="*/ 298 w 352"/>
                <a:gd name="T37" fmla="*/ 69 h 142"/>
                <a:gd name="T38" fmla="*/ 298 w 352"/>
                <a:gd name="T39" fmla="*/ 6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2" h="142">
                  <a:moveTo>
                    <a:pt x="298" y="142"/>
                  </a:moveTo>
                  <a:lnTo>
                    <a:pt x="352" y="142"/>
                  </a:lnTo>
                  <a:lnTo>
                    <a:pt x="352" y="0"/>
                  </a:lnTo>
                  <a:lnTo>
                    <a:pt x="298" y="0"/>
                  </a:lnTo>
                  <a:lnTo>
                    <a:pt x="298" y="69"/>
                  </a:lnTo>
                  <a:lnTo>
                    <a:pt x="298" y="69"/>
                  </a:lnTo>
                  <a:lnTo>
                    <a:pt x="324" y="95"/>
                  </a:lnTo>
                  <a:lnTo>
                    <a:pt x="298" y="121"/>
                  </a:lnTo>
                  <a:lnTo>
                    <a:pt x="298" y="142"/>
                  </a:lnTo>
                  <a:moveTo>
                    <a:pt x="0" y="142"/>
                  </a:moveTo>
                  <a:lnTo>
                    <a:pt x="298" y="142"/>
                  </a:lnTo>
                  <a:lnTo>
                    <a:pt x="298" y="121"/>
                  </a:lnTo>
                  <a:lnTo>
                    <a:pt x="272" y="95"/>
                  </a:lnTo>
                  <a:lnTo>
                    <a:pt x="298" y="69"/>
                  </a:lnTo>
                  <a:lnTo>
                    <a:pt x="298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0" y="142"/>
                  </a:lnTo>
                  <a:moveTo>
                    <a:pt x="298" y="69"/>
                  </a:moveTo>
                  <a:lnTo>
                    <a:pt x="298" y="6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6" name="íšľîḍè">
              <a:extLst>
                <a:ext uri="{FF2B5EF4-FFF2-40B4-BE49-F238E27FC236}">
                  <a16:creationId xmlns:a16="http://schemas.microsoft.com/office/drawing/2014/main" id="{7DE927E5-DD08-40E4-B6F1-E8D7AF6C2B30}"/>
                </a:ext>
              </a:extLst>
            </p:cNvPr>
            <p:cNvSpPr/>
            <p:nvPr/>
          </p:nvSpPr>
          <p:spPr bwMode="auto">
            <a:xfrm flipH="1">
              <a:off x="2302988" y="5571921"/>
              <a:ext cx="301799" cy="177090"/>
            </a:xfrm>
            <a:custGeom>
              <a:avLst/>
              <a:gdLst>
                <a:gd name="T0" fmla="*/ 260 w 331"/>
                <a:gd name="T1" fmla="*/ 206 h 206"/>
                <a:gd name="T2" fmla="*/ 331 w 331"/>
                <a:gd name="T3" fmla="*/ 206 h 206"/>
                <a:gd name="T4" fmla="*/ 331 w 331"/>
                <a:gd name="T5" fmla="*/ 114 h 206"/>
                <a:gd name="T6" fmla="*/ 291 w 331"/>
                <a:gd name="T7" fmla="*/ 114 h 206"/>
                <a:gd name="T8" fmla="*/ 291 w 331"/>
                <a:gd name="T9" fmla="*/ 0 h 206"/>
                <a:gd name="T10" fmla="*/ 260 w 331"/>
                <a:gd name="T11" fmla="*/ 0 h 206"/>
                <a:gd name="T12" fmla="*/ 260 w 331"/>
                <a:gd name="T13" fmla="*/ 144 h 206"/>
                <a:gd name="T14" fmla="*/ 289 w 331"/>
                <a:gd name="T15" fmla="*/ 144 h 206"/>
                <a:gd name="T16" fmla="*/ 289 w 331"/>
                <a:gd name="T17" fmla="*/ 185 h 206"/>
                <a:gd name="T18" fmla="*/ 289 w 331"/>
                <a:gd name="T19" fmla="*/ 185 h 206"/>
                <a:gd name="T20" fmla="*/ 260 w 331"/>
                <a:gd name="T21" fmla="*/ 185 h 206"/>
                <a:gd name="T22" fmla="*/ 260 w 331"/>
                <a:gd name="T23" fmla="*/ 206 h 206"/>
                <a:gd name="T24" fmla="*/ 215 w 331"/>
                <a:gd name="T25" fmla="*/ 0 h 206"/>
                <a:gd name="T26" fmla="*/ 215 w 331"/>
                <a:gd name="T27" fmla="*/ 114 h 206"/>
                <a:gd name="T28" fmla="*/ 166 w 331"/>
                <a:gd name="T29" fmla="*/ 114 h 206"/>
                <a:gd name="T30" fmla="*/ 166 w 331"/>
                <a:gd name="T31" fmla="*/ 144 h 206"/>
                <a:gd name="T32" fmla="*/ 194 w 331"/>
                <a:gd name="T33" fmla="*/ 144 h 206"/>
                <a:gd name="T34" fmla="*/ 194 w 331"/>
                <a:gd name="T35" fmla="*/ 185 h 206"/>
                <a:gd name="T36" fmla="*/ 194 w 331"/>
                <a:gd name="T37" fmla="*/ 185 h 206"/>
                <a:gd name="T38" fmla="*/ 166 w 331"/>
                <a:gd name="T39" fmla="*/ 185 h 206"/>
                <a:gd name="T40" fmla="*/ 166 w 331"/>
                <a:gd name="T41" fmla="*/ 206 h 206"/>
                <a:gd name="T42" fmla="*/ 260 w 331"/>
                <a:gd name="T43" fmla="*/ 206 h 206"/>
                <a:gd name="T44" fmla="*/ 260 w 331"/>
                <a:gd name="T45" fmla="*/ 185 h 206"/>
                <a:gd name="T46" fmla="*/ 232 w 331"/>
                <a:gd name="T47" fmla="*/ 185 h 206"/>
                <a:gd name="T48" fmla="*/ 232 w 331"/>
                <a:gd name="T49" fmla="*/ 144 h 206"/>
                <a:gd name="T50" fmla="*/ 260 w 331"/>
                <a:gd name="T51" fmla="*/ 144 h 206"/>
                <a:gd name="T52" fmla="*/ 260 w 331"/>
                <a:gd name="T53" fmla="*/ 0 h 206"/>
                <a:gd name="T54" fmla="*/ 215 w 331"/>
                <a:gd name="T55" fmla="*/ 0 h 206"/>
                <a:gd name="T56" fmla="*/ 166 w 331"/>
                <a:gd name="T57" fmla="*/ 114 h 206"/>
                <a:gd name="T58" fmla="*/ 71 w 331"/>
                <a:gd name="T59" fmla="*/ 114 h 206"/>
                <a:gd name="T60" fmla="*/ 71 w 331"/>
                <a:gd name="T61" fmla="*/ 144 h 206"/>
                <a:gd name="T62" fmla="*/ 99 w 331"/>
                <a:gd name="T63" fmla="*/ 144 h 206"/>
                <a:gd name="T64" fmla="*/ 99 w 331"/>
                <a:gd name="T65" fmla="*/ 185 h 206"/>
                <a:gd name="T66" fmla="*/ 99 w 331"/>
                <a:gd name="T67" fmla="*/ 185 h 206"/>
                <a:gd name="T68" fmla="*/ 71 w 331"/>
                <a:gd name="T69" fmla="*/ 185 h 206"/>
                <a:gd name="T70" fmla="*/ 71 w 331"/>
                <a:gd name="T71" fmla="*/ 206 h 206"/>
                <a:gd name="T72" fmla="*/ 166 w 331"/>
                <a:gd name="T73" fmla="*/ 206 h 206"/>
                <a:gd name="T74" fmla="*/ 166 w 331"/>
                <a:gd name="T75" fmla="*/ 185 h 206"/>
                <a:gd name="T76" fmla="*/ 137 w 331"/>
                <a:gd name="T77" fmla="*/ 185 h 206"/>
                <a:gd name="T78" fmla="*/ 137 w 331"/>
                <a:gd name="T79" fmla="*/ 144 h 206"/>
                <a:gd name="T80" fmla="*/ 166 w 331"/>
                <a:gd name="T81" fmla="*/ 144 h 206"/>
                <a:gd name="T82" fmla="*/ 166 w 331"/>
                <a:gd name="T83" fmla="*/ 114 h 206"/>
                <a:gd name="T84" fmla="*/ 71 w 331"/>
                <a:gd name="T85" fmla="*/ 114 h 206"/>
                <a:gd name="T86" fmla="*/ 0 w 331"/>
                <a:gd name="T87" fmla="*/ 114 h 206"/>
                <a:gd name="T88" fmla="*/ 0 w 331"/>
                <a:gd name="T89" fmla="*/ 206 h 206"/>
                <a:gd name="T90" fmla="*/ 71 w 331"/>
                <a:gd name="T91" fmla="*/ 206 h 206"/>
                <a:gd name="T92" fmla="*/ 71 w 331"/>
                <a:gd name="T93" fmla="*/ 185 h 206"/>
                <a:gd name="T94" fmla="*/ 43 w 331"/>
                <a:gd name="T95" fmla="*/ 185 h 206"/>
                <a:gd name="T96" fmla="*/ 43 w 331"/>
                <a:gd name="T97" fmla="*/ 144 h 206"/>
                <a:gd name="T98" fmla="*/ 71 w 331"/>
                <a:gd name="T99" fmla="*/ 144 h 206"/>
                <a:gd name="T100" fmla="*/ 71 w 331"/>
                <a:gd name="T101" fmla="*/ 11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1" h="206">
                  <a:moveTo>
                    <a:pt x="260" y="206"/>
                  </a:moveTo>
                  <a:lnTo>
                    <a:pt x="331" y="206"/>
                  </a:lnTo>
                  <a:lnTo>
                    <a:pt x="331" y="114"/>
                  </a:lnTo>
                  <a:lnTo>
                    <a:pt x="291" y="114"/>
                  </a:lnTo>
                  <a:lnTo>
                    <a:pt x="291" y="0"/>
                  </a:lnTo>
                  <a:lnTo>
                    <a:pt x="260" y="0"/>
                  </a:lnTo>
                  <a:lnTo>
                    <a:pt x="260" y="144"/>
                  </a:lnTo>
                  <a:lnTo>
                    <a:pt x="289" y="144"/>
                  </a:lnTo>
                  <a:lnTo>
                    <a:pt x="289" y="185"/>
                  </a:lnTo>
                  <a:lnTo>
                    <a:pt x="289" y="185"/>
                  </a:lnTo>
                  <a:lnTo>
                    <a:pt x="260" y="185"/>
                  </a:lnTo>
                  <a:lnTo>
                    <a:pt x="260" y="206"/>
                  </a:lnTo>
                  <a:close/>
                  <a:moveTo>
                    <a:pt x="215" y="0"/>
                  </a:moveTo>
                  <a:lnTo>
                    <a:pt x="215" y="114"/>
                  </a:lnTo>
                  <a:lnTo>
                    <a:pt x="166" y="114"/>
                  </a:lnTo>
                  <a:lnTo>
                    <a:pt x="166" y="144"/>
                  </a:lnTo>
                  <a:lnTo>
                    <a:pt x="194" y="144"/>
                  </a:lnTo>
                  <a:lnTo>
                    <a:pt x="194" y="185"/>
                  </a:lnTo>
                  <a:lnTo>
                    <a:pt x="194" y="185"/>
                  </a:lnTo>
                  <a:lnTo>
                    <a:pt x="166" y="185"/>
                  </a:lnTo>
                  <a:lnTo>
                    <a:pt x="166" y="206"/>
                  </a:lnTo>
                  <a:lnTo>
                    <a:pt x="260" y="206"/>
                  </a:lnTo>
                  <a:lnTo>
                    <a:pt x="260" y="185"/>
                  </a:lnTo>
                  <a:lnTo>
                    <a:pt x="232" y="185"/>
                  </a:lnTo>
                  <a:lnTo>
                    <a:pt x="232" y="144"/>
                  </a:lnTo>
                  <a:lnTo>
                    <a:pt x="260" y="144"/>
                  </a:lnTo>
                  <a:lnTo>
                    <a:pt x="260" y="0"/>
                  </a:lnTo>
                  <a:lnTo>
                    <a:pt x="215" y="0"/>
                  </a:lnTo>
                  <a:close/>
                  <a:moveTo>
                    <a:pt x="166" y="114"/>
                  </a:moveTo>
                  <a:lnTo>
                    <a:pt x="71" y="114"/>
                  </a:lnTo>
                  <a:lnTo>
                    <a:pt x="71" y="144"/>
                  </a:lnTo>
                  <a:lnTo>
                    <a:pt x="99" y="144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71" y="185"/>
                  </a:lnTo>
                  <a:lnTo>
                    <a:pt x="71" y="206"/>
                  </a:lnTo>
                  <a:lnTo>
                    <a:pt x="166" y="206"/>
                  </a:lnTo>
                  <a:lnTo>
                    <a:pt x="166" y="185"/>
                  </a:lnTo>
                  <a:lnTo>
                    <a:pt x="137" y="185"/>
                  </a:lnTo>
                  <a:lnTo>
                    <a:pt x="137" y="144"/>
                  </a:lnTo>
                  <a:lnTo>
                    <a:pt x="166" y="144"/>
                  </a:lnTo>
                  <a:lnTo>
                    <a:pt x="166" y="114"/>
                  </a:lnTo>
                  <a:close/>
                  <a:moveTo>
                    <a:pt x="71" y="114"/>
                  </a:moveTo>
                  <a:lnTo>
                    <a:pt x="0" y="114"/>
                  </a:lnTo>
                  <a:lnTo>
                    <a:pt x="0" y="206"/>
                  </a:lnTo>
                  <a:lnTo>
                    <a:pt x="71" y="206"/>
                  </a:lnTo>
                  <a:lnTo>
                    <a:pt x="71" y="185"/>
                  </a:lnTo>
                  <a:lnTo>
                    <a:pt x="43" y="185"/>
                  </a:lnTo>
                  <a:lnTo>
                    <a:pt x="43" y="144"/>
                  </a:lnTo>
                  <a:lnTo>
                    <a:pt x="71" y="144"/>
                  </a:lnTo>
                  <a:lnTo>
                    <a:pt x="71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7" name="ïsḷiḓê">
              <a:extLst>
                <a:ext uri="{FF2B5EF4-FFF2-40B4-BE49-F238E27FC236}">
                  <a16:creationId xmlns:a16="http://schemas.microsoft.com/office/drawing/2014/main" id="{1968F502-A045-4887-934C-3F9722364E0C}"/>
                </a:ext>
              </a:extLst>
            </p:cNvPr>
            <p:cNvSpPr/>
            <p:nvPr/>
          </p:nvSpPr>
          <p:spPr bwMode="auto">
            <a:xfrm flipH="1">
              <a:off x="2268340" y="5759327"/>
              <a:ext cx="407565" cy="123791"/>
            </a:xfrm>
            <a:custGeom>
              <a:avLst/>
              <a:gdLst>
                <a:gd name="T0" fmla="*/ 431 w 447"/>
                <a:gd name="T1" fmla="*/ 144 h 144"/>
                <a:gd name="T2" fmla="*/ 447 w 447"/>
                <a:gd name="T3" fmla="*/ 0 h 144"/>
                <a:gd name="T4" fmla="*/ 0 w 447"/>
                <a:gd name="T5" fmla="*/ 0 h 144"/>
                <a:gd name="T6" fmla="*/ 50 w 447"/>
                <a:gd name="T7" fmla="*/ 144 h 144"/>
                <a:gd name="T8" fmla="*/ 431 w 447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144">
                  <a:moveTo>
                    <a:pt x="431" y="144"/>
                  </a:moveTo>
                  <a:lnTo>
                    <a:pt x="447" y="0"/>
                  </a:lnTo>
                  <a:lnTo>
                    <a:pt x="0" y="0"/>
                  </a:lnTo>
                  <a:lnTo>
                    <a:pt x="50" y="144"/>
                  </a:lnTo>
                  <a:lnTo>
                    <a:pt x="431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8" name="iŝḷiḑe">
              <a:extLst>
                <a:ext uri="{FF2B5EF4-FFF2-40B4-BE49-F238E27FC236}">
                  <a16:creationId xmlns:a16="http://schemas.microsoft.com/office/drawing/2014/main" id="{F89CD178-EC59-4211-9F46-3E11E0140FD2}"/>
                </a:ext>
              </a:extLst>
            </p:cNvPr>
            <p:cNvSpPr/>
            <p:nvPr/>
          </p:nvSpPr>
          <p:spPr bwMode="auto">
            <a:xfrm flipH="1">
              <a:off x="3252150" y="1957058"/>
              <a:ext cx="88443" cy="833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9" name="îṥľîḋè">
              <a:extLst>
                <a:ext uri="{FF2B5EF4-FFF2-40B4-BE49-F238E27FC236}">
                  <a16:creationId xmlns:a16="http://schemas.microsoft.com/office/drawing/2014/main" id="{A3A3F5F6-D27C-46CE-ADBA-C9C1AC550ADA}"/>
                </a:ext>
              </a:extLst>
            </p:cNvPr>
            <p:cNvSpPr/>
            <p:nvPr/>
          </p:nvSpPr>
          <p:spPr bwMode="auto">
            <a:xfrm flipH="1">
              <a:off x="3152766" y="2034428"/>
              <a:ext cx="416683" cy="304319"/>
            </a:xfrm>
            <a:custGeom>
              <a:avLst/>
              <a:gdLst>
                <a:gd name="T0" fmla="*/ 367 w 457"/>
                <a:gd name="T1" fmla="*/ 73 h 354"/>
                <a:gd name="T2" fmla="*/ 315 w 457"/>
                <a:gd name="T3" fmla="*/ 33 h 354"/>
                <a:gd name="T4" fmla="*/ 230 w 457"/>
                <a:gd name="T5" fmla="*/ 0 h 354"/>
                <a:gd name="T6" fmla="*/ 126 w 457"/>
                <a:gd name="T7" fmla="*/ 0 h 354"/>
                <a:gd name="T8" fmla="*/ 74 w 457"/>
                <a:gd name="T9" fmla="*/ 113 h 354"/>
                <a:gd name="T10" fmla="*/ 62 w 457"/>
                <a:gd name="T11" fmla="*/ 108 h 354"/>
                <a:gd name="T12" fmla="*/ 55 w 457"/>
                <a:gd name="T13" fmla="*/ 120 h 354"/>
                <a:gd name="T14" fmla="*/ 55 w 457"/>
                <a:gd name="T15" fmla="*/ 125 h 354"/>
                <a:gd name="T16" fmla="*/ 52 w 457"/>
                <a:gd name="T17" fmla="*/ 130 h 354"/>
                <a:gd name="T18" fmla="*/ 36 w 457"/>
                <a:gd name="T19" fmla="*/ 125 h 354"/>
                <a:gd name="T20" fmla="*/ 0 w 457"/>
                <a:gd name="T21" fmla="*/ 210 h 354"/>
                <a:gd name="T22" fmla="*/ 83 w 457"/>
                <a:gd name="T23" fmla="*/ 246 h 354"/>
                <a:gd name="T24" fmla="*/ 90 w 457"/>
                <a:gd name="T25" fmla="*/ 250 h 354"/>
                <a:gd name="T26" fmla="*/ 93 w 457"/>
                <a:gd name="T27" fmla="*/ 246 h 354"/>
                <a:gd name="T28" fmla="*/ 128 w 457"/>
                <a:gd name="T29" fmla="*/ 163 h 354"/>
                <a:gd name="T30" fmla="*/ 112 w 457"/>
                <a:gd name="T31" fmla="*/ 156 h 354"/>
                <a:gd name="T32" fmla="*/ 114 w 457"/>
                <a:gd name="T33" fmla="*/ 151 h 354"/>
                <a:gd name="T34" fmla="*/ 116 w 457"/>
                <a:gd name="T35" fmla="*/ 146 h 354"/>
                <a:gd name="T36" fmla="*/ 121 w 457"/>
                <a:gd name="T37" fmla="*/ 134 h 354"/>
                <a:gd name="T38" fmla="*/ 107 w 457"/>
                <a:gd name="T39" fmla="*/ 127 h 354"/>
                <a:gd name="T40" fmla="*/ 147 w 457"/>
                <a:gd name="T41" fmla="*/ 35 h 354"/>
                <a:gd name="T42" fmla="*/ 218 w 457"/>
                <a:gd name="T43" fmla="*/ 35 h 354"/>
                <a:gd name="T44" fmla="*/ 171 w 457"/>
                <a:gd name="T45" fmla="*/ 168 h 354"/>
                <a:gd name="T46" fmla="*/ 159 w 457"/>
                <a:gd name="T47" fmla="*/ 241 h 354"/>
                <a:gd name="T48" fmla="*/ 138 w 457"/>
                <a:gd name="T49" fmla="*/ 243 h 354"/>
                <a:gd name="T50" fmla="*/ 128 w 457"/>
                <a:gd name="T51" fmla="*/ 265 h 354"/>
                <a:gd name="T52" fmla="*/ 123 w 457"/>
                <a:gd name="T53" fmla="*/ 274 h 354"/>
                <a:gd name="T54" fmla="*/ 114 w 457"/>
                <a:gd name="T55" fmla="*/ 269 h 354"/>
                <a:gd name="T56" fmla="*/ 62 w 457"/>
                <a:gd name="T57" fmla="*/ 248 h 354"/>
                <a:gd name="T58" fmla="*/ 52 w 457"/>
                <a:gd name="T59" fmla="*/ 248 h 354"/>
                <a:gd name="T60" fmla="*/ 57 w 457"/>
                <a:gd name="T61" fmla="*/ 295 h 354"/>
                <a:gd name="T62" fmla="*/ 199 w 457"/>
                <a:gd name="T63" fmla="*/ 286 h 354"/>
                <a:gd name="T64" fmla="*/ 213 w 457"/>
                <a:gd name="T65" fmla="*/ 198 h 354"/>
                <a:gd name="T66" fmla="*/ 218 w 457"/>
                <a:gd name="T67" fmla="*/ 201 h 354"/>
                <a:gd name="T68" fmla="*/ 272 w 457"/>
                <a:gd name="T69" fmla="*/ 243 h 354"/>
                <a:gd name="T70" fmla="*/ 280 w 457"/>
                <a:gd name="T71" fmla="*/ 354 h 354"/>
                <a:gd name="T72" fmla="*/ 327 w 457"/>
                <a:gd name="T73" fmla="*/ 352 h 354"/>
                <a:gd name="T74" fmla="*/ 320 w 457"/>
                <a:gd name="T75" fmla="*/ 217 h 354"/>
                <a:gd name="T76" fmla="*/ 251 w 457"/>
                <a:gd name="T77" fmla="*/ 168 h 354"/>
                <a:gd name="T78" fmla="*/ 301 w 457"/>
                <a:gd name="T79" fmla="*/ 66 h 354"/>
                <a:gd name="T80" fmla="*/ 367 w 457"/>
                <a:gd name="T81" fmla="*/ 118 h 354"/>
                <a:gd name="T82" fmla="*/ 457 w 457"/>
                <a:gd name="T83" fmla="*/ 42 h 354"/>
                <a:gd name="T84" fmla="*/ 433 w 457"/>
                <a:gd name="T85" fmla="*/ 14 h 354"/>
                <a:gd name="T86" fmla="*/ 367 w 457"/>
                <a:gd name="T87" fmla="*/ 7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7" h="354">
                  <a:moveTo>
                    <a:pt x="367" y="73"/>
                  </a:moveTo>
                  <a:lnTo>
                    <a:pt x="315" y="33"/>
                  </a:lnTo>
                  <a:lnTo>
                    <a:pt x="230" y="0"/>
                  </a:lnTo>
                  <a:lnTo>
                    <a:pt x="126" y="0"/>
                  </a:lnTo>
                  <a:lnTo>
                    <a:pt x="74" y="113"/>
                  </a:lnTo>
                  <a:lnTo>
                    <a:pt x="62" y="108"/>
                  </a:lnTo>
                  <a:lnTo>
                    <a:pt x="55" y="120"/>
                  </a:lnTo>
                  <a:lnTo>
                    <a:pt x="55" y="125"/>
                  </a:lnTo>
                  <a:lnTo>
                    <a:pt x="52" y="130"/>
                  </a:lnTo>
                  <a:lnTo>
                    <a:pt x="36" y="125"/>
                  </a:lnTo>
                  <a:lnTo>
                    <a:pt x="0" y="210"/>
                  </a:lnTo>
                  <a:lnTo>
                    <a:pt x="83" y="246"/>
                  </a:lnTo>
                  <a:lnTo>
                    <a:pt x="90" y="250"/>
                  </a:lnTo>
                  <a:lnTo>
                    <a:pt x="93" y="246"/>
                  </a:lnTo>
                  <a:lnTo>
                    <a:pt x="128" y="163"/>
                  </a:lnTo>
                  <a:lnTo>
                    <a:pt x="112" y="156"/>
                  </a:lnTo>
                  <a:lnTo>
                    <a:pt x="114" y="151"/>
                  </a:lnTo>
                  <a:lnTo>
                    <a:pt x="116" y="146"/>
                  </a:lnTo>
                  <a:lnTo>
                    <a:pt x="121" y="134"/>
                  </a:lnTo>
                  <a:lnTo>
                    <a:pt x="107" y="127"/>
                  </a:lnTo>
                  <a:lnTo>
                    <a:pt x="147" y="35"/>
                  </a:lnTo>
                  <a:lnTo>
                    <a:pt x="218" y="35"/>
                  </a:lnTo>
                  <a:lnTo>
                    <a:pt x="171" y="168"/>
                  </a:lnTo>
                  <a:lnTo>
                    <a:pt x="159" y="241"/>
                  </a:lnTo>
                  <a:lnTo>
                    <a:pt x="138" y="243"/>
                  </a:lnTo>
                  <a:lnTo>
                    <a:pt x="128" y="265"/>
                  </a:lnTo>
                  <a:lnTo>
                    <a:pt x="123" y="274"/>
                  </a:lnTo>
                  <a:lnTo>
                    <a:pt x="114" y="269"/>
                  </a:lnTo>
                  <a:lnTo>
                    <a:pt x="62" y="248"/>
                  </a:lnTo>
                  <a:lnTo>
                    <a:pt x="52" y="248"/>
                  </a:lnTo>
                  <a:lnTo>
                    <a:pt x="57" y="295"/>
                  </a:lnTo>
                  <a:lnTo>
                    <a:pt x="199" y="286"/>
                  </a:lnTo>
                  <a:lnTo>
                    <a:pt x="213" y="198"/>
                  </a:lnTo>
                  <a:lnTo>
                    <a:pt x="218" y="201"/>
                  </a:lnTo>
                  <a:lnTo>
                    <a:pt x="272" y="243"/>
                  </a:lnTo>
                  <a:lnTo>
                    <a:pt x="280" y="354"/>
                  </a:lnTo>
                  <a:lnTo>
                    <a:pt x="327" y="352"/>
                  </a:lnTo>
                  <a:lnTo>
                    <a:pt x="320" y="217"/>
                  </a:lnTo>
                  <a:lnTo>
                    <a:pt x="251" y="168"/>
                  </a:lnTo>
                  <a:lnTo>
                    <a:pt x="301" y="66"/>
                  </a:lnTo>
                  <a:lnTo>
                    <a:pt x="367" y="118"/>
                  </a:lnTo>
                  <a:lnTo>
                    <a:pt x="457" y="42"/>
                  </a:lnTo>
                  <a:lnTo>
                    <a:pt x="433" y="14"/>
                  </a:lnTo>
                  <a:lnTo>
                    <a:pt x="36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0" name="îṥliḓê">
              <a:extLst>
                <a:ext uri="{FF2B5EF4-FFF2-40B4-BE49-F238E27FC236}">
                  <a16:creationId xmlns:a16="http://schemas.microsoft.com/office/drawing/2014/main" id="{33781E7C-5616-4D1F-AB75-ECFBE1AF44D3}"/>
                </a:ext>
              </a:extLst>
            </p:cNvPr>
            <p:cNvSpPr/>
            <p:nvPr/>
          </p:nvSpPr>
          <p:spPr bwMode="auto">
            <a:xfrm flipH="1">
              <a:off x="3547567" y="2131567"/>
              <a:ext cx="47413" cy="79089"/>
            </a:xfrm>
            <a:custGeom>
              <a:avLst/>
              <a:gdLst>
                <a:gd name="T0" fmla="*/ 0 w 52"/>
                <a:gd name="T1" fmla="*/ 88 h 92"/>
                <a:gd name="T2" fmla="*/ 38 w 52"/>
                <a:gd name="T3" fmla="*/ 0 h 92"/>
                <a:gd name="T4" fmla="*/ 52 w 52"/>
                <a:gd name="T5" fmla="*/ 7 h 92"/>
                <a:gd name="T6" fmla="*/ 16 w 52"/>
                <a:gd name="T7" fmla="*/ 92 h 92"/>
                <a:gd name="T8" fmla="*/ 0 w 52"/>
                <a:gd name="T9" fmla="*/ 8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92">
                  <a:moveTo>
                    <a:pt x="0" y="88"/>
                  </a:moveTo>
                  <a:lnTo>
                    <a:pt x="38" y="0"/>
                  </a:lnTo>
                  <a:lnTo>
                    <a:pt x="52" y="7"/>
                  </a:lnTo>
                  <a:lnTo>
                    <a:pt x="16" y="92"/>
                  </a:lnTo>
                  <a:lnTo>
                    <a:pt x="0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1" name="îṥḷîdê">
              <a:extLst>
                <a:ext uri="{FF2B5EF4-FFF2-40B4-BE49-F238E27FC236}">
                  <a16:creationId xmlns:a16="http://schemas.microsoft.com/office/drawing/2014/main" id="{CB00183F-98A1-4B68-89D9-3464C299CCFD}"/>
                </a:ext>
              </a:extLst>
            </p:cNvPr>
            <p:cNvSpPr/>
            <p:nvPr/>
          </p:nvSpPr>
          <p:spPr bwMode="auto">
            <a:xfrm flipH="1">
              <a:off x="3429035" y="2178849"/>
              <a:ext cx="47413" cy="79089"/>
            </a:xfrm>
            <a:custGeom>
              <a:avLst/>
              <a:gdLst>
                <a:gd name="T0" fmla="*/ 24 w 52"/>
                <a:gd name="T1" fmla="*/ 75 h 92"/>
                <a:gd name="T2" fmla="*/ 52 w 52"/>
                <a:gd name="T3" fmla="*/ 7 h 92"/>
                <a:gd name="T4" fmla="*/ 38 w 52"/>
                <a:gd name="T5" fmla="*/ 0 h 92"/>
                <a:gd name="T6" fmla="*/ 5 w 52"/>
                <a:gd name="T7" fmla="*/ 78 h 92"/>
                <a:gd name="T8" fmla="*/ 0 w 52"/>
                <a:gd name="T9" fmla="*/ 87 h 92"/>
                <a:gd name="T10" fmla="*/ 17 w 52"/>
                <a:gd name="T11" fmla="*/ 92 h 92"/>
                <a:gd name="T12" fmla="*/ 24 w 52"/>
                <a:gd name="T13" fmla="*/ 7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92">
                  <a:moveTo>
                    <a:pt x="24" y="75"/>
                  </a:moveTo>
                  <a:lnTo>
                    <a:pt x="52" y="7"/>
                  </a:lnTo>
                  <a:lnTo>
                    <a:pt x="38" y="0"/>
                  </a:lnTo>
                  <a:lnTo>
                    <a:pt x="5" y="78"/>
                  </a:lnTo>
                  <a:lnTo>
                    <a:pt x="0" y="87"/>
                  </a:lnTo>
                  <a:lnTo>
                    <a:pt x="17" y="92"/>
                  </a:lnTo>
                  <a:lnTo>
                    <a:pt x="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2" name="iṣḻîďê">
              <a:extLst>
                <a:ext uri="{FF2B5EF4-FFF2-40B4-BE49-F238E27FC236}">
                  <a16:creationId xmlns:a16="http://schemas.microsoft.com/office/drawing/2014/main" id="{5D3A067B-2DA2-4E4A-9525-A438918CDD2E}"/>
                </a:ext>
              </a:extLst>
            </p:cNvPr>
            <p:cNvSpPr/>
            <p:nvPr/>
          </p:nvSpPr>
          <p:spPr bwMode="auto">
            <a:xfrm flipH="1">
              <a:off x="3905896" y="3501863"/>
              <a:ext cx="211533" cy="317214"/>
            </a:xfrm>
            <a:custGeom>
              <a:avLst/>
              <a:gdLst>
                <a:gd name="T0" fmla="*/ 232 w 232"/>
                <a:gd name="T1" fmla="*/ 369 h 369"/>
                <a:gd name="T2" fmla="*/ 206 w 232"/>
                <a:gd name="T3" fmla="*/ 7 h 369"/>
                <a:gd name="T4" fmla="*/ 185 w 232"/>
                <a:gd name="T5" fmla="*/ 0 h 369"/>
                <a:gd name="T6" fmla="*/ 206 w 232"/>
                <a:gd name="T7" fmla="*/ 29 h 369"/>
                <a:gd name="T8" fmla="*/ 206 w 232"/>
                <a:gd name="T9" fmla="*/ 239 h 369"/>
                <a:gd name="T10" fmla="*/ 185 w 232"/>
                <a:gd name="T11" fmla="*/ 265 h 369"/>
                <a:gd name="T12" fmla="*/ 206 w 232"/>
                <a:gd name="T13" fmla="*/ 296 h 369"/>
                <a:gd name="T14" fmla="*/ 185 w 232"/>
                <a:gd name="T15" fmla="*/ 296 h 369"/>
                <a:gd name="T16" fmla="*/ 206 w 232"/>
                <a:gd name="T17" fmla="*/ 317 h 369"/>
                <a:gd name="T18" fmla="*/ 206 w 232"/>
                <a:gd name="T19" fmla="*/ 346 h 369"/>
                <a:gd name="T20" fmla="*/ 185 w 232"/>
                <a:gd name="T21" fmla="*/ 369 h 369"/>
                <a:gd name="T22" fmla="*/ 161 w 232"/>
                <a:gd name="T23" fmla="*/ 7 h 369"/>
                <a:gd name="T24" fmla="*/ 116 w 232"/>
                <a:gd name="T25" fmla="*/ 29 h 369"/>
                <a:gd name="T26" fmla="*/ 185 w 232"/>
                <a:gd name="T27" fmla="*/ 0 h 369"/>
                <a:gd name="T28" fmla="*/ 161 w 232"/>
                <a:gd name="T29" fmla="*/ 0 h 369"/>
                <a:gd name="T30" fmla="*/ 185 w 232"/>
                <a:gd name="T31" fmla="*/ 369 h 369"/>
                <a:gd name="T32" fmla="*/ 161 w 232"/>
                <a:gd name="T33" fmla="*/ 346 h 369"/>
                <a:gd name="T34" fmla="*/ 185 w 232"/>
                <a:gd name="T35" fmla="*/ 317 h 369"/>
                <a:gd name="T36" fmla="*/ 161 w 232"/>
                <a:gd name="T37" fmla="*/ 296 h 369"/>
                <a:gd name="T38" fmla="*/ 185 w 232"/>
                <a:gd name="T39" fmla="*/ 265 h 369"/>
                <a:gd name="T40" fmla="*/ 116 w 232"/>
                <a:gd name="T41" fmla="*/ 239 h 369"/>
                <a:gd name="T42" fmla="*/ 138 w 232"/>
                <a:gd name="T43" fmla="*/ 265 h 369"/>
                <a:gd name="T44" fmla="*/ 138 w 232"/>
                <a:gd name="T45" fmla="*/ 296 h 369"/>
                <a:gd name="T46" fmla="*/ 116 w 232"/>
                <a:gd name="T47" fmla="*/ 317 h 369"/>
                <a:gd name="T48" fmla="*/ 138 w 232"/>
                <a:gd name="T49" fmla="*/ 346 h 369"/>
                <a:gd name="T50" fmla="*/ 116 w 232"/>
                <a:gd name="T51" fmla="*/ 346 h 369"/>
                <a:gd name="T52" fmla="*/ 116 w 232"/>
                <a:gd name="T53" fmla="*/ 7 h 369"/>
                <a:gd name="T54" fmla="*/ 48 w 232"/>
                <a:gd name="T55" fmla="*/ 29 h 369"/>
                <a:gd name="T56" fmla="*/ 116 w 232"/>
                <a:gd name="T57" fmla="*/ 7 h 369"/>
                <a:gd name="T58" fmla="*/ 48 w 232"/>
                <a:gd name="T59" fmla="*/ 369 h 369"/>
                <a:gd name="T60" fmla="*/ 116 w 232"/>
                <a:gd name="T61" fmla="*/ 346 h 369"/>
                <a:gd name="T62" fmla="*/ 93 w 232"/>
                <a:gd name="T63" fmla="*/ 317 h 369"/>
                <a:gd name="T64" fmla="*/ 116 w 232"/>
                <a:gd name="T65" fmla="*/ 296 h 369"/>
                <a:gd name="T66" fmla="*/ 93 w 232"/>
                <a:gd name="T67" fmla="*/ 265 h 369"/>
                <a:gd name="T68" fmla="*/ 116 w 232"/>
                <a:gd name="T69" fmla="*/ 239 h 369"/>
                <a:gd name="T70" fmla="*/ 48 w 232"/>
                <a:gd name="T71" fmla="*/ 265 h 369"/>
                <a:gd name="T72" fmla="*/ 69 w 232"/>
                <a:gd name="T73" fmla="*/ 296 h 369"/>
                <a:gd name="T74" fmla="*/ 48 w 232"/>
                <a:gd name="T75" fmla="*/ 296 h 369"/>
                <a:gd name="T76" fmla="*/ 69 w 232"/>
                <a:gd name="T77" fmla="*/ 317 h 369"/>
                <a:gd name="T78" fmla="*/ 69 w 232"/>
                <a:gd name="T79" fmla="*/ 346 h 369"/>
                <a:gd name="T80" fmla="*/ 48 w 232"/>
                <a:gd name="T81" fmla="*/ 369 h 369"/>
                <a:gd name="T82" fmla="*/ 0 w 232"/>
                <a:gd name="T83" fmla="*/ 7 h 369"/>
                <a:gd name="T84" fmla="*/ 48 w 232"/>
                <a:gd name="T85" fmla="*/ 369 h 369"/>
                <a:gd name="T86" fmla="*/ 26 w 232"/>
                <a:gd name="T87" fmla="*/ 346 h 369"/>
                <a:gd name="T88" fmla="*/ 48 w 232"/>
                <a:gd name="T89" fmla="*/ 317 h 369"/>
                <a:gd name="T90" fmla="*/ 26 w 232"/>
                <a:gd name="T91" fmla="*/ 296 h 369"/>
                <a:gd name="T92" fmla="*/ 48 w 232"/>
                <a:gd name="T93" fmla="*/ 265 h 369"/>
                <a:gd name="T94" fmla="*/ 26 w 232"/>
                <a:gd name="T95" fmla="*/ 239 h 369"/>
                <a:gd name="T96" fmla="*/ 48 w 232"/>
                <a:gd name="T97" fmla="*/ 2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369">
                  <a:moveTo>
                    <a:pt x="185" y="369"/>
                  </a:moveTo>
                  <a:lnTo>
                    <a:pt x="232" y="369"/>
                  </a:lnTo>
                  <a:lnTo>
                    <a:pt x="232" y="7"/>
                  </a:lnTo>
                  <a:lnTo>
                    <a:pt x="206" y="7"/>
                  </a:lnTo>
                  <a:lnTo>
                    <a:pt x="206" y="0"/>
                  </a:lnTo>
                  <a:lnTo>
                    <a:pt x="185" y="0"/>
                  </a:lnTo>
                  <a:lnTo>
                    <a:pt x="185" y="29"/>
                  </a:lnTo>
                  <a:lnTo>
                    <a:pt x="206" y="29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185" y="239"/>
                  </a:lnTo>
                  <a:lnTo>
                    <a:pt x="185" y="265"/>
                  </a:lnTo>
                  <a:lnTo>
                    <a:pt x="206" y="265"/>
                  </a:lnTo>
                  <a:lnTo>
                    <a:pt x="206" y="296"/>
                  </a:lnTo>
                  <a:lnTo>
                    <a:pt x="206" y="296"/>
                  </a:lnTo>
                  <a:lnTo>
                    <a:pt x="185" y="296"/>
                  </a:lnTo>
                  <a:lnTo>
                    <a:pt x="185" y="317"/>
                  </a:lnTo>
                  <a:lnTo>
                    <a:pt x="206" y="317"/>
                  </a:lnTo>
                  <a:lnTo>
                    <a:pt x="206" y="346"/>
                  </a:lnTo>
                  <a:lnTo>
                    <a:pt x="206" y="346"/>
                  </a:lnTo>
                  <a:lnTo>
                    <a:pt x="185" y="346"/>
                  </a:lnTo>
                  <a:lnTo>
                    <a:pt x="185" y="369"/>
                  </a:lnTo>
                  <a:close/>
                  <a:moveTo>
                    <a:pt x="161" y="0"/>
                  </a:moveTo>
                  <a:lnTo>
                    <a:pt x="161" y="7"/>
                  </a:lnTo>
                  <a:lnTo>
                    <a:pt x="116" y="7"/>
                  </a:lnTo>
                  <a:lnTo>
                    <a:pt x="116" y="29"/>
                  </a:lnTo>
                  <a:lnTo>
                    <a:pt x="185" y="29"/>
                  </a:lnTo>
                  <a:lnTo>
                    <a:pt x="185" y="0"/>
                  </a:lnTo>
                  <a:lnTo>
                    <a:pt x="161" y="0"/>
                  </a:lnTo>
                  <a:lnTo>
                    <a:pt x="161" y="0"/>
                  </a:lnTo>
                  <a:close/>
                  <a:moveTo>
                    <a:pt x="116" y="369"/>
                  </a:moveTo>
                  <a:lnTo>
                    <a:pt x="185" y="369"/>
                  </a:lnTo>
                  <a:lnTo>
                    <a:pt x="185" y="346"/>
                  </a:lnTo>
                  <a:lnTo>
                    <a:pt x="161" y="346"/>
                  </a:lnTo>
                  <a:lnTo>
                    <a:pt x="161" y="317"/>
                  </a:lnTo>
                  <a:lnTo>
                    <a:pt x="185" y="317"/>
                  </a:lnTo>
                  <a:lnTo>
                    <a:pt x="185" y="296"/>
                  </a:lnTo>
                  <a:lnTo>
                    <a:pt x="161" y="296"/>
                  </a:lnTo>
                  <a:lnTo>
                    <a:pt x="161" y="265"/>
                  </a:lnTo>
                  <a:lnTo>
                    <a:pt x="185" y="265"/>
                  </a:lnTo>
                  <a:lnTo>
                    <a:pt x="185" y="239"/>
                  </a:lnTo>
                  <a:lnTo>
                    <a:pt x="116" y="239"/>
                  </a:lnTo>
                  <a:lnTo>
                    <a:pt x="116" y="265"/>
                  </a:lnTo>
                  <a:lnTo>
                    <a:pt x="138" y="265"/>
                  </a:lnTo>
                  <a:lnTo>
                    <a:pt x="138" y="296"/>
                  </a:lnTo>
                  <a:lnTo>
                    <a:pt x="138" y="296"/>
                  </a:lnTo>
                  <a:lnTo>
                    <a:pt x="116" y="296"/>
                  </a:lnTo>
                  <a:lnTo>
                    <a:pt x="116" y="317"/>
                  </a:lnTo>
                  <a:lnTo>
                    <a:pt x="138" y="317"/>
                  </a:lnTo>
                  <a:lnTo>
                    <a:pt x="138" y="346"/>
                  </a:lnTo>
                  <a:lnTo>
                    <a:pt x="138" y="346"/>
                  </a:lnTo>
                  <a:lnTo>
                    <a:pt x="116" y="346"/>
                  </a:lnTo>
                  <a:lnTo>
                    <a:pt x="116" y="369"/>
                  </a:lnTo>
                  <a:close/>
                  <a:moveTo>
                    <a:pt x="116" y="7"/>
                  </a:moveTo>
                  <a:lnTo>
                    <a:pt x="48" y="7"/>
                  </a:lnTo>
                  <a:lnTo>
                    <a:pt x="48" y="29"/>
                  </a:lnTo>
                  <a:lnTo>
                    <a:pt x="116" y="29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48" y="369"/>
                  </a:moveTo>
                  <a:lnTo>
                    <a:pt x="116" y="369"/>
                  </a:lnTo>
                  <a:lnTo>
                    <a:pt x="116" y="346"/>
                  </a:lnTo>
                  <a:lnTo>
                    <a:pt x="93" y="346"/>
                  </a:lnTo>
                  <a:lnTo>
                    <a:pt x="93" y="317"/>
                  </a:lnTo>
                  <a:lnTo>
                    <a:pt x="116" y="317"/>
                  </a:lnTo>
                  <a:lnTo>
                    <a:pt x="116" y="296"/>
                  </a:lnTo>
                  <a:lnTo>
                    <a:pt x="93" y="296"/>
                  </a:lnTo>
                  <a:lnTo>
                    <a:pt x="93" y="265"/>
                  </a:lnTo>
                  <a:lnTo>
                    <a:pt x="116" y="265"/>
                  </a:lnTo>
                  <a:lnTo>
                    <a:pt x="116" y="239"/>
                  </a:lnTo>
                  <a:lnTo>
                    <a:pt x="48" y="239"/>
                  </a:lnTo>
                  <a:lnTo>
                    <a:pt x="48" y="265"/>
                  </a:lnTo>
                  <a:lnTo>
                    <a:pt x="69" y="265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48" y="296"/>
                  </a:lnTo>
                  <a:lnTo>
                    <a:pt x="48" y="317"/>
                  </a:lnTo>
                  <a:lnTo>
                    <a:pt x="69" y="317"/>
                  </a:lnTo>
                  <a:lnTo>
                    <a:pt x="69" y="346"/>
                  </a:lnTo>
                  <a:lnTo>
                    <a:pt x="69" y="346"/>
                  </a:lnTo>
                  <a:lnTo>
                    <a:pt x="48" y="346"/>
                  </a:lnTo>
                  <a:lnTo>
                    <a:pt x="48" y="369"/>
                  </a:lnTo>
                  <a:close/>
                  <a:moveTo>
                    <a:pt x="48" y="7"/>
                  </a:moveTo>
                  <a:lnTo>
                    <a:pt x="0" y="7"/>
                  </a:lnTo>
                  <a:lnTo>
                    <a:pt x="0" y="369"/>
                  </a:lnTo>
                  <a:lnTo>
                    <a:pt x="48" y="369"/>
                  </a:lnTo>
                  <a:lnTo>
                    <a:pt x="48" y="346"/>
                  </a:lnTo>
                  <a:lnTo>
                    <a:pt x="26" y="346"/>
                  </a:lnTo>
                  <a:lnTo>
                    <a:pt x="26" y="317"/>
                  </a:lnTo>
                  <a:lnTo>
                    <a:pt x="48" y="317"/>
                  </a:lnTo>
                  <a:lnTo>
                    <a:pt x="48" y="296"/>
                  </a:lnTo>
                  <a:lnTo>
                    <a:pt x="26" y="296"/>
                  </a:lnTo>
                  <a:lnTo>
                    <a:pt x="26" y="265"/>
                  </a:lnTo>
                  <a:lnTo>
                    <a:pt x="48" y="265"/>
                  </a:lnTo>
                  <a:lnTo>
                    <a:pt x="48" y="239"/>
                  </a:lnTo>
                  <a:lnTo>
                    <a:pt x="26" y="239"/>
                  </a:lnTo>
                  <a:lnTo>
                    <a:pt x="26" y="29"/>
                  </a:lnTo>
                  <a:lnTo>
                    <a:pt x="48" y="29"/>
                  </a:lnTo>
                  <a:lnTo>
                    <a:pt x="4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3" name="íş1ïde">
              <a:extLst>
                <a:ext uri="{FF2B5EF4-FFF2-40B4-BE49-F238E27FC236}">
                  <a16:creationId xmlns:a16="http://schemas.microsoft.com/office/drawing/2014/main" id="{F76F71C7-4720-4ADD-B65B-9166D7076311}"/>
                </a:ext>
              </a:extLst>
            </p:cNvPr>
            <p:cNvSpPr/>
            <p:nvPr/>
          </p:nvSpPr>
          <p:spPr bwMode="auto">
            <a:xfrm flipH="1">
              <a:off x="2272900" y="1160153"/>
              <a:ext cx="145885" cy="61036"/>
            </a:xfrm>
            <a:custGeom>
              <a:avLst/>
              <a:gdLst>
                <a:gd name="T0" fmla="*/ 0 w 160"/>
                <a:gd name="T1" fmla="*/ 40 h 71"/>
                <a:gd name="T2" fmla="*/ 61 w 160"/>
                <a:gd name="T3" fmla="*/ 71 h 71"/>
                <a:gd name="T4" fmla="*/ 160 w 160"/>
                <a:gd name="T5" fmla="*/ 71 h 71"/>
                <a:gd name="T6" fmla="*/ 18 w 160"/>
                <a:gd name="T7" fmla="*/ 0 h 71"/>
                <a:gd name="T8" fmla="*/ 0 w 160"/>
                <a:gd name="T9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71">
                  <a:moveTo>
                    <a:pt x="0" y="40"/>
                  </a:moveTo>
                  <a:lnTo>
                    <a:pt x="61" y="71"/>
                  </a:lnTo>
                  <a:lnTo>
                    <a:pt x="160" y="71"/>
                  </a:lnTo>
                  <a:lnTo>
                    <a:pt x="18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4" name="iṡļíḑê">
              <a:extLst>
                <a:ext uri="{FF2B5EF4-FFF2-40B4-BE49-F238E27FC236}">
                  <a16:creationId xmlns:a16="http://schemas.microsoft.com/office/drawing/2014/main" id="{47ECB357-A1C1-465F-8D31-8A391AED22C7}"/>
                </a:ext>
              </a:extLst>
            </p:cNvPr>
            <p:cNvSpPr/>
            <p:nvPr/>
          </p:nvSpPr>
          <p:spPr bwMode="auto">
            <a:xfrm flipH="1">
              <a:off x="2065014" y="1230646"/>
              <a:ext cx="353770" cy="166774"/>
            </a:xfrm>
            <a:custGeom>
              <a:avLst/>
              <a:gdLst>
                <a:gd name="T0" fmla="*/ 156 w 388"/>
                <a:gd name="T1" fmla="*/ 194 h 194"/>
                <a:gd name="T2" fmla="*/ 312 w 388"/>
                <a:gd name="T3" fmla="*/ 194 h 194"/>
                <a:gd name="T4" fmla="*/ 312 w 388"/>
                <a:gd name="T5" fmla="*/ 156 h 194"/>
                <a:gd name="T6" fmla="*/ 388 w 388"/>
                <a:gd name="T7" fmla="*/ 156 h 194"/>
                <a:gd name="T8" fmla="*/ 388 w 388"/>
                <a:gd name="T9" fmla="*/ 38 h 194"/>
                <a:gd name="T10" fmla="*/ 312 w 388"/>
                <a:gd name="T11" fmla="*/ 38 h 194"/>
                <a:gd name="T12" fmla="*/ 312 w 388"/>
                <a:gd name="T13" fmla="*/ 0 h 194"/>
                <a:gd name="T14" fmla="*/ 182 w 388"/>
                <a:gd name="T15" fmla="*/ 0 h 194"/>
                <a:gd name="T16" fmla="*/ 156 w 388"/>
                <a:gd name="T17" fmla="*/ 0 h 194"/>
                <a:gd name="T18" fmla="*/ 156 w 388"/>
                <a:gd name="T19" fmla="*/ 76 h 194"/>
                <a:gd name="T20" fmla="*/ 234 w 388"/>
                <a:gd name="T21" fmla="*/ 76 h 194"/>
                <a:gd name="T22" fmla="*/ 234 w 388"/>
                <a:gd name="T23" fmla="*/ 119 h 194"/>
                <a:gd name="T24" fmla="*/ 156 w 388"/>
                <a:gd name="T25" fmla="*/ 119 h 194"/>
                <a:gd name="T26" fmla="*/ 156 w 388"/>
                <a:gd name="T27" fmla="*/ 194 h 194"/>
                <a:gd name="T28" fmla="*/ 0 w 388"/>
                <a:gd name="T29" fmla="*/ 194 h 194"/>
                <a:gd name="T30" fmla="*/ 156 w 388"/>
                <a:gd name="T31" fmla="*/ 194 h 194"/>
                <a:gd name="T32" fmla="*/ 156 w 388"/>
                <a:gd name="T33" fmla="*/ 119 h 194"/>
                <a:gd name="T34" fmla="*/ 78 w 388"/>
                <a:gd name="T35" fmla="*/ 119 h 194"/>
                <a:gd name="T36" fmla="*/ 78 w 388"/>
                <a:gd name="T37" fmla="*/ 76 h 194"/>
                <a:gd name="T38" fmla="*/ 78 w 388"/>
                <a:gd name="T39" fmla="*/ 76 h 194"/>
                <a:gd name="T40" fmla="*/ 156 w 388"/>
                <a:gd name="T41" fmla="*/ 76 h 194"/>
                <a:gd name="T42" fmla="*/ 156 w 388"/>
                <a:gd name="T43" fmla="*/ 0 h 194"/>
                <a:gd name="T44" fmla="*/ 82 w 388"/>
                <a:gd name="T45" fmla="*/ 0 h 194"/>
                <a:gd name="T46" fmla="*/ 0 w 388"/>
                <a:gd name="T47" fmla="*/ 0 h 194"/>
                <a:gd name="T48" fmla="*/ 0 w 388"/>
                <a:gd name="T4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8" h="194">
                  <a:moveTo>
                    <a:pt x="156" y="194"/>
                  </a:moveTo>
                  <a:lnTo>
                    <a:pt x="312" y="194"/>
                  </a:lnTo>
                  <a:lnTo>
                    <a:pt x="312" y="156"/>
                  </a:lnTo>
                  <a:lnTo>
                    <a:pt x="388" y="156"/>
                  </a:lnTo>
                  <a:lnTo>
                    <a:pt x="388" y="38"/>
                  </a:lnTo>
                  <a:lnTo>
                    <a:pt x="312" y="38"/>
                  </a:lnTo>
                  <a:lnTo>
                    <a:pt x="312" y="0"/>
                  </a:lnTo>
                  <a:lnTo>
                    <a:pt x="182" y="0"/>
                  </a:lnTo>
                  <a:lnTo>
                    <a:pt x="156" y="0"/>
                  </a:lnTo>
                  <a:lnTo>
                    <a:pt x="156" y="76"/>
                  </a:lnTo>
                  <a:lnTo>
                    <a:pt x="234" y="76"/>
                  </a:lnTo>
                  <a:lnTo>
                    <a:pt x="234" y="119"/>
                  </a:lnTo>
                  <a:lnTo>
                    <a:pt x="156" y="119"/>
                  </a:lnTo>
                  <a:lnTo>
                    <a:pt x="156" y="194"/>
                  </a:lnTo>
                  <a:close/>
                  <a:moveTo>
                    <a:pt x="0" y="194"/>
                  </a:moveTo>
                  <a:lnTo>
                    <a:pt x="156" y="194"/>
                  </a:lnTo>
                  <a:lnTo>
                    <a:pt x="156" y="119"/>
                  </a:lnTo>
                  <a:lnTo>
                    <a:pt x="78" y="119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156" y="76"/>
                  </a:lnTo>
                  <a:lnTo>
                    <a:pt x="156" y="0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5" name="íṧļidê">
              <a:extLst>
                <a:ext uri="{FF2B5EF4-FFF2-40B4-BE49-F238E27FC236}">
                  <a16:creationId xmlns:a16="http://schemas.microsoft.com/office/drawing/2014/main" id="{773BF8A1-931E-4610-AAA7-BFA22CA8683C}"/>
                </a:ext>
              </a:extLst>
            </p:cNvPr>
            <p:cNvSpPr/>
            <p:nvPr/>
          </p:nvSpPr>
          <p:spPr bwMode="auto">
            <a:xfrm flipH="1">
              <a:off x="3508360" y="5897732"/>
              <a:ext cx="255298" cy="189124"/>
            </a:xfrm>
            <a:custGeom>
              <a:avLst/>
              <a:gdLst>
                <a:gd name="T0" fmla="*/ 93 w 118"/>
                <a:gd name="T1" fmla="*/ 93 h 93"/>
                <a:gd name="T2" fmla="*/ 93 w 118"/>
                <a:gd name="T3" fmla="*/ 61 h 93"/>
                <a:gd name="T4" fmla="*/ 109 w 118"/>
                <a:gd name="T5" fmla="*/ 47 h 93"/>
                <a:gd name="T6" fmla="*/ 118 w 118"/>
                <a:gd name="T7" fmla="*/ 47 h 93"/>
                <a:gd name="T8" fmla="*/ 118 w 118"/>
                <a:gd name="T9" fmla="*/ 12 h 93"/>
                <a:gd name="T10" fmla="*/ 105 w 118"/>
                <a:gd name="T11" fmla="*/ 0 h 93"/>
                <a:gd name="T12" fmla="*/ 76 w 118"/>
                <a:gd name="T13" fmla="*/ 0 h 93"/>
                <a:gd name="T14" fmla="*/ 76 w 118"/>
                <a:gd name="T15" fmla="*/ 15 h 93"/>
                <a:gd name="T16" fmla="*/ 87 w 118"/>
                <a:gd name="T17" fmla="*/ 25 h 93"/>
                <a:gd name="T18" fmla="*/ 76 w 118"/>
                <a:gd name="T19" fmla="*/ 36 h 93"/>
                <a:gd name="T20" fmla="*/ 76 w 118"/>
                <a:gd name="T21" fmla="*/ 43 h 93"/>
                <a:gd name="T22" fmla="*/ 87 w 118"/>
                <a:gd name="T23" fmla="*/ 53 h 93"/>
                <a:gd name="T24" fmla="*/ 76 w 118"/>
                <a:gd name="T25" fmla="*/ 64 h 93"/>
                <a:gd name="T26" fmla="*/ 76 w 118"/>
                <a:gd name="T27" fmla="*/ 93 h 93"/>
                <a:gd name="T28" fmla="*/ 93 w 118"/>
                <a:gd name="T29" fmla="*/ 93 h 93"/>
                <a:gd name="T30" fmla="*/ 76 w 118"/>
                <a:gd name="T31" fmla="*/ 0 h 93"/>
                <a:gd name="T32" fmla="*/ 42 w 118"/>
                <a:gd name="T33" fmla="*/ 0 h 93"/>
                <a:gd name="T34" fmla="*/ 42 w 118"/>
                <a:gd name="T35" fmla="*/ 15 h 93"/>
                <a:gd name="T36" fmla="*/ 42 w 118"/>
                <a:gd name="T37" fmla="*/ 15 h 93"/>
                <a:gd name="T38" fmla="*/ 53 w 118"/>
                <a:gd name="T39" fmla="*/ 25 h 93"/>
                <a:gd name="T40" fmla="*/ 42 w 118"/>
                <a:gd name="T41" fmla="*/ 36 h 93"/>
                <a:gd name="T42" fmla="*/ 42 w 118"/>
                <a:gd name="T43" fmla="*/ 43 h 93"/>
                <a:gd name="T44" fmla="*/ 42 w 118"/>
                <a:gd name="T45" fmla="*/ 43 h 93"/>
                <a:gd name="T46" fmla="*/ 53 w 118"/>
                <a:gd name="T47" fmla="*/ 53 h 93"/>
                <a:gd name="T48" fmla="*/ 42 w 118"/>
                <a:gd name="T49" fmla="*/ 64 h 93"/>
                <a:gd name="T50" fmla="*/ 42 w 118"/>
                <a:gd name="T51" fmla="*/ 93 h 93"/>
                <a:gd name="T52" fmla="*/ 76 w 118"/>
                <a:gd name="T53" fmla="*/ 93 h 93"/>
                <a:gd name="T54" fmla="*/ 76 w 118"/>
                <a:gd name="T55" fmla="*/ 64 h 93"/>
                <a:gd name="T56" fmla="*/ 76 w 118"/>
                <a:gd name="T57" fmla="*/ 64 h 93"/>
                <a:gd name="T58" fmla="*/ 65 w 118"/>
                <a:gd name="T59" fmla="*/ 53 h 93"/>
                <a:gd name="T60" fmla="*/ 76 w 118"/>
                <a:gd name="T61" fmla="*/ 43 h 93"/>
                <a:gd name="T62" fmla="*/ 76 w 118"/>
                <a:gd name="T63" fmla="*/ 43 h 93"/>
                <a:gd name="T64" fmla="*/ 76 w 118"/>
                <a:gd name="T65" fmla="*/ 43 h 93"/>
                <a:gd name="T66" fmla="*/ 76 w 118"/>
                <a:gd name="T67" fmla="*/ 36 h 93"/>
                <a:gd name="T68" fmla="*/ 76 w 118"/>
                <a:gd name="T69" fmla="*/ 36 h 93"/>
                <a:gd name="T70" fmla="*/ 65 w 118"/>
                <a:gd name="T71" fmla="*/ 25 h 93"/>
                <a:gd name="T72" fmla="*/ 76 w 118"/>
                <a:gd name="T73" fmla="*/ 15 h 93"/>
                <a:gd name="T74" fmla="*/ 76 w 118"/>
                <a:gd name="T75" fmla="*/ 15 h 93"/>
                <a:gd name="T76" fmla="*/ 76 w 118"/>
                <a:gd name="T77" fmla="*/ 15 h 93"/>
                <a:gd name="T78" fmla="*/ 76 w 118"/>
                <a:gd name="T79" fmla="*/ 0 h 93"/>
                <a:gd name="T80" fmla="*/ 42 w 118"/>
                <a:gd name="T81" fmla="*/ 0 h 93"/>
                <a:gd name="T82" fmla="*/ 13 w 118"/>
                <a:gd name="T83" fmla="*/ 0 h 93"/>
                <a:gd name="T84" fmla="*/ 0 w 118"/>
                <a:gd name="T85" fmla="*/ 12 h 93"/>
                <a:gd name="T86" fmla="*/ 0 w 118"/>
                <a:gd name="T87" fmla="*/ 47 h 93"/>
                <a:gd name="T88" fmla="*/ 10 w 118"/>
                <a:gd name="T89" fmla="*/ 47 h 93"/>
                <a:gd name="T90" fmla="*/ 25 w 118"/>
                <a:gd name="T91" fmla="*/ 61 h 93"/>
                <a:gd name="T92" fmla="*/ 25 w 118"/>
                <a:gd name="T93" fmla="*/ 93 h 93"/>
                <a:gd name="T94" fmla="*/ 42 w 118"/>
                <a:gd name="T95" fmla="*/ 93 h 93"/>
                <a:gd name="T96" fmla="*/ 42 w 118"/>
                <a:gd name="T97" fmla="*/ 64 h 93"/>
                <a:gd name="T98" fmla="*/ 32 w 118"/>
                <a:gd name="T99" fmla="*/ 53 h 93"/>
                <a:gd name="T100" fmla="*/ 42 w 118"/>
                <a:gd name="T101" fmla="*/ 43 h 93"/>
                <a:gd name="T102" fmla="*/ 42 w 118"/>
                <a:gd name="T103" fmla="*/ 36 h 93"/>
                <a:gd name="T104" fmla="*/ 32 w 118"/>
                <a:gd name="T105" fmla="*/ 25 h 93"/>
                <a:gd name="T106" fmla="*/ 42 w 118"/>
                <a:gd name="T107" fmla="*/ 15 h 93"/>
                <a:gd name="T108" fmla="*/ 42 w 118"/>
                <a:gd name="T109" fmla="*/ 0 h 93"/>
                <a:gd name="T110" fmla="*/ 42 w 118"/>
                <a:gd name="T111" fmla="*/ 15 h 93"/>
                <a:gd name="T112" fmla="*/ 42 w 118"/>
                <a:gd name="T113" fmla="*/ 15 h 93"/>
                <a:gd name="T114" fmla="*/ 42 w 118"/>
                <a:gd name="T115" fmla="*/ 43 h 93"/>
                <a:gd name="T116" fmla="*/ 42 w 118"/>
                <a:gd name="T117" fmla="*/ 4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" h="93">
                  <a:moveTo>
                    <a:pt x="93" y="93"/>
                  </a:moveTo>
                  <a:cubicBezTo>
                    <a:pt x="93" y="61"/>
                    <a:pt x="93" y="61"/>
                    <a:pt x="93" y="61"/>
                  </a:cubicBezTo>
                  <a:cubicBezTo>
                    <a:pt x="93" y="52"/>
                    <a:pt x="99" y="47"/>
                    <a:pt x="109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5"/>
                    <a:pt x="112" y="0"/>
                    <a:pt x="10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2" y="15"/>
                    <a:pt x="87" y="19"/>
                    <a:pt x="87" y="25"/>
                  </a:cubicBezTo>
                  <a:cubicBezTo>
                    <a:pt x="87" y="31"/>
                    <a:pt x="82" y="36"/>
                    <a:pt x="76" y="36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82" y="43"/>
                    <a:pt x="87" y="47"/>
                    <a:pt x="87" y="53"/>
                  </a:cubicBezTo>
                  <a:cubicBezTo>
                    <a:pt x="87" y="59"/>
                    <a:pt x="82" y="64"/>
                    <a:pt x="76" y="64"/>
                  </a:cubicBezTo>
                  <a:cubicBezTo>
                    <a:pt x="76" y="93"/>
                    <a:pt x="76" y="93"/>
                    <a:pt x="76" y="93"/>
                  </a:cubicBezTo>
                  <a:lnTo>
                    <a:pt x="93" y="93"/>
                  </a:lnTo>
                  <a:close/>
                  <a:moveTo>
                    <a:pt x="76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8" y="15"/>
                    <a:pt x="53" y="19"/>
                    <a:pt x="53" y="25"/>
                  </a:cubicBezTo>
                  <a:cubicBezTo>
                    <a:pt x="53" y="31"/>
                    <a:pt x="48" y="36"/>
                    <a:pt x="42" y="36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8" y="43"/>
                    <a:pt x="53" y="47"/>
                    <a:pt x="53" y="53"/>
                  </a:cubicBezTo>
                  <a:cubicBezTo>
                    <a:pt x="53" y="59"/>
                    <a:pt x="48" y="64"/>
                    <a:pt x="42" y="64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0" y="64"/>
                    <a:pt x="65" y="59"/>
                    <a:pt x="65" y="53"/>
                  </a:cubicBezTo>
                  <a:cubicBezTo>
                    <a:pt x="65" y="47"/>
                    <a:pt x="70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0" y="36"/>
                    <a:pt x="65" y="31"/>
                    <a:pt x="65" y="25"/>
                  </a:cubicBezTo>
                  <a:cubicBezTo>
                    <a:pt x="65" y="19"/>
                    <a:pt x="70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lnTo>
                    <a:pt x="76" y="0"/>
                  </a:lnTo>
                  <a:close/>
                  <a:moveTo>
                    <a:pt x="42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20" y="47"/>
                    <a:pt x="25" y="52"/>
                    <a:pt x="25" y="61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36" y="64"/>
                    <a:pt x="32" y="59"/>
                    <a:pt x="32" y="53"/>
                  </a:cubicBezTo>
                  <a:cubicBezTo>
                    <a:pt x="32" y="47"/>
                    <a:pt x="36" y="43"/>
                    <a:pt x="42" y="43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36"/>
                    <a:pt x="32" y="31"/>
                    <a:pt x="32" y="25"/>
                  </a:cubicBezTo>
                  <a:cubicBezTo>
                    <a:pt x="32" y="19"/>
                    <a:pt x="36" y="15"/>
                    <a:pt x="42" y="15"/>
                  </a:cubicBezTo>
                  <a:cubicBezTo>
                    <a:pt x="42" y="0"/>
                    <a:pt x="42" y="0"/>
                    <a:pt x="42" y="0"/>
                  </a:cubicBezTo>
                  <a:close/>
                  <a:moveTo>
                    <a:pt x="42" y="15"/>
                  </a:moveTo>
                  <a:cubicBezTo>
                    <a:pt x="42" y="15"/>
                    <a:pt x="42" y="15"/>
                    <a:pt x="42" y="15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6" name="iŝlïḓe">
              <a:extLst>
                <a:ext uri="{FF2B5EF4-FFF2-40B4-BE49-F238E27FC236}">
                  <a16:creationId xmlns:a16="http://schemas.microsoft.com/office/drawing/2014/main" id="{EAF10631-C9E4-4886-BCD7-BA04A4921D32}"/>
                </a:ext>
              </a:extLst>
            </p:cNvPr>
            <p:cNvSpPr/>
            <p:nvPr/>
          </p:nvSpPr>
          <p:spPr bwMode="auto">
            <a:xfrm flipH="1">
              <a:off x="3463683" y="6000891"/>
              <a:ext cx="344652" cy="172792"/>
            </a:xfrm>
            <a:custGeom>
              <a:avLst/>
              <a:gdLst>
                <a:gd name="T0" fmla="*/ 150 w 160"/>
                <a:gd name="T1" fmla="*/ 0 h 85"/>
                <a:gd name="T2" fmla="*/ 139 w 160"/>
                <a:gd name="T3" fmla="*/ 0 h 85"/>
                <a:gd name="T4" fmla="*/ 130 w 160"/>
                <a:gd name="T5" fmla="*/ 0 h 85"/>
                <a:gd name="T6" fmla="*/ 119 w 160"/>
                <a:gd name="T7" fmla="*/ 10 h 85"/>
                <a:gd name="T8" fmla="*/ 119 w 160"/>
                <a:gd name="T9" fmla="*/ 47 h 85"/>
                <a:gd name="T10" fmla="*/ 42 w 160"/>
                <a:gd name="T11" fmla="*/ 47 h 85"/>
                <a:gd name="T12" fmla="*/ 42 w 160"/>
                <a:gd name="T13" fmla="*/ 10 h 85"/>
                <a:gd name="T14" fmla="*/ 31 w 160"/>
                <a:gd name="T15" fmla="*/ 0 h 85"/>
                <a:gd name="T16" fmla="*/ 21 w 160"/>
                <a:gd name="T17" fmla="*/ 0 h 85"/>
                <a:gd name="T18" fmla="*/ 11 w 160"/>
                <a:gd name="T19" fmla="*/ 0 h 85"/>
                <a:gd name="T20" fmla="*/ 0 w 160"/>
                <a:gd name="T21" fmla="*/ 10 h 85"/>
                <a:gd name="T22" fmla="*/ 0 w 160"/>
                <a:gd name="T23" fmla="*/ 63 h 85"/>
                <a:gd name="T24" fmla="*/ 15 w 160"/>
                <a:gd name="T25" fmla="*/ 79 h 85"/>
                <a:gd name="T26" fmla="*/ 16 w 160"/>
                <a:gd name="T27" fmla="*/ 80 h 85"/>
                <a:gd name="T28" fmla="*/ 17 w 160"/>
                <a:gd name="T29" fmla="*/ 83 h 85"/>
                <a:gd name="T30" fmla="*/ 22 w 160"/>
                <a:gd name="T31" fmla="*/ 85 h 85"/>
                <a:gd name="T32" fmla="*/ 25 w 160"/>
                <a:gd name="T33" fmla="*/ 85 h 85"/>
                <a:gd name="T34" fmla="*/ 30 w 160"/>
                <a:gd name="T35" fmla="*/ 83 h 85"/>
                <a:gd name="T36" fmla="*/ 31 w 160"/>
                <a:gd name="T37" fmla="*/ 80 h 85"/>
                <a:gd name="T38" fmla="*/ 31 w 160"/>
                <a:gd name="T39" fmla="*/ 79 h 85"/>
                <a:gd name="T40" fmla="*/ 129 w 160"/>
                <a:gd name="T41" fmla="*/ 79 h 85"/>
                <a:gd name="T42" fmla="*/ 129 w 160"/>
                <a:gd name="T43" fmla="*/ 80 h 85"/>
                <a:gd name="T44" fmla="*/ 130 w 160"/>
                <a:gd name="T45" fmla="*/ 83 h 85"/>
                <a:gd name="T46" fmla="*/ 135 w 160"/>
                <a:gd name="T47" fmla="*/ 85 h 85"/>
                <a:gd name="T48" fmla="*/ 138 w 160"/>
                <a:gd name="T49" fmla="*/ 85 h 85"/>
                <a:gd name="T50" fmla="*/ 143 w 160"/>
                <a:gd name="T51" fmla="*/ 83 h 85"/>
                <a:gd name="T52" fmla="*/ 144 w 160"/>
                <a:gd name="T53" fmla="*/ 80 h 85"/>
                <a:gd name="T54" fmla="*/ 145 w 160"/>
                <a:gd name="T55" fmla="*/ 79 h 85"/>
                <a:gd name="T56" fmla="*/ 150 w 160"/>
                <a:gd name="T57" fmla="*/ 79 h 85"/>
                <a:gd name="T58" fmla="*/ 160 w 160"/>
                <a:gd name="T59" fmla="*/ 63 h 85"/>
                <a:gd name="T60" fmla="*/ 160 w 160"/>
                <a:gd name="T61" fmla="*/ 10 h 85"/>
                <a:gd name="T62" fmla="*/ 150 w 160"/>
                <a:gd name="T6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85">
                  <a:moveTo>
                    <a:pt x="150" y="0"/>
                  </a:moveTo>
                  <a:cubicBezTo>
                    <a:pt x="139" y="0"/>
                    <a:pt x="139" y="0"/>
                    <a:pt x="139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2" y="0"/>
                    <a:pt x="119" y="3"/>
                    <a:pt x="119" y="10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3"/>
                    <a:pt x="38" y="0"/>
                    <a:pt x="3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0"/>
                    <a:pt x="0" y="3"/>
                    <a:pt x="0" y="1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70"/>
                    <a:pt x="8" y="79"/>
                    <a:pt x="15" y="79"/>
                  </a:cubicBezTo>
                  <a:cubicBezTo>
                    <a:pt x="15" y="79"/>
                    <a:pt x="16" y="80"/>
                    <a:pt x="16" y="80"/>
                  </a:cubicBezTo>
                  <a:cubicBezTo>
                    <a:pt x="16" y="81"/>
                    <a:pt x="16" y="82"/>
                    <a:pt x="17" y="83"/>
                  </a:cubicBezTo>
                  <a:cubicBezTo>
                    <a:pt x="18" y="84"/>
                    <a:pt x="20" y="85"/>
                    <a:pt x="22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7" y="85"/>
                    <a:pt x="29" y="84"/>
                    <a:pt x="30" y="83"/>
                  </a:cubicBezTo>
                  <a:cubicBezTo>
                    <a:pt x="31" y="82"/>
                    <a:pt x="31" y="81"/>
                    <a:pt x="31" y="80"/>
                  </a:cubicBezTo>
                  <a:cubicBezTo>
                    <a:pt x="31" y="80"/>
                    <a:pt x="31" y="79"/>
                    <a:pt x="31" y="79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9" y="79"/>
                    <a:pt x="129" y="80"/>
                    <a:pt x="129" y="80"/>
                  </a:cubicBezTo>
                  <a:cubicBezTo>
                    <a:pt x="129" y="81"/>
                    <a:pt x="130" y="82"/>
                    <a:pt x="130" y="83"/>
                  </a:cubicBezTo>
                  <a:cubicBezTo>
                    <a:pt x="131" y="84"/>
                    <a:pt x="133" y="85"/>
                    <a:pt x="135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40" y="85"/>
                    <a:pt x="142" y="84"/>
                    <a:pt x="143" y="83"/>
                  </a:cubicBezTo>
                  <a:cubicBezTo>
                    <a:pt x="144" y="82"/>
                    <a:pt x="144" y="81"/>
                    <a:pt x="144" y="80"/>
                  </a:cubicBezTo>
                  <a:cubicBezTo>
                    <a:pt x="145" y="80"/>
                    <a:pt x="145" y="79"/>
                    <a:pt x="145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57" y="79"/>
                    <a:pt x="160" y="70"/>
                    <a:pt x="160" y="63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3"/>
                    <a:pt x="157" y="0"/>
                    <a:pt x="1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7" name="iṩļïḓe">
              <a:extLst>
                <a:ext uri="{FF2B5EF4-FFF2-40B4-BE49-F238E27FC236}">
                  <a16:creationId xmlns:a16="http://schemas.microsoft.com/office/drawing/2014/main" id="{3B16C216-8251-4F3F-B28B-59A6719E550B}"/>
                </a:ext>
              </a:extLst>
            </p:cNvPr>
            <p:cNvSpPr/>
            <p:nvPr/>
          </p:nvSpPr>
          <p:spPr bwMode="auto">
            <a:xfrm flipH="1">
              <a:off x="3657892" y="5936416"/>
              <a:ext cx="27353" cy="257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8" name="í$ļîḋè">
              <a:extLst>
                <a:ext uri="{FF2B5EF4-FFF2-40B4-BE49-F238E27FC236}">
                  <a16:creationId xmlns:a16="http://schemas.microsoft.com/office/drawing/2014/main" id="{A5499AD5-74F2-4765-AD27-67482E34CFDA}"/>
                </a:ext>
              </a:extLst>
            </p:cNvPr>
            <p:cNvSpPr/>
            <p:nvPr/>
          </p:nvSpPr>
          <p:spPr bwMode="auto">
            <a:xfrm flipH="1">
              <a:off x="3586773" y="5936416"/>
              <a:ext cx="25530" cy="257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9" name="íṧľiďè">
              <a:extLst>
                <a:ext uri="{FF2B5EF4-FFF2-40B4-BE49-F238E27FC236}">
                  <a16:creationId xmlns:a16="http://schemas.microsoft.com/office/drawing/2014/main" id="{53DCD55A-7159-43DD-995C-52377795102E}"/>
                </a:ext>
              </a:extLst>
            </p:cNvPr>
            <p:cNvSpPr/>
            <p:nvPr/>
          </p:nvSpPr>
          <p:spPr bwMode="auto">
            <a:xfrm flipH="1">
              <a:off x="3657892" y="5993153"/>
              <a:ext cx="27353" cy="26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0" name="iSḻïḍè">
              <a:extLst>
                <a:ext uri="{FF2B5EF4-FFF2-40B4-BE49-F238E27FC236}">
                  <a16:creationId xmlns:a16="http://schemas.microsoft.com/office/drawing/2014/main" id="{C5CA7987-6B52-4F3A-96DB-DAA348BC2E66}"/>
                </a:ext>
              </a:extLst>
            </p:cNvPr>
            <p:cNvSpPr/>
            <p:nvPr/>
          </p:nvSpPr>
          <p:spPr bwMode="auto">
            <a:xfrm flipH="1">
              <a:off x="3586773" y="5993153"/>
              <a:ext cx="25530" cy="26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1" name="ísļiḋe">
              <a:extLst>
                <a:ext uri="{FF2B5EF4-FFF2-40B4-BE49-F238E27FC236}">
                  <a16:creationId xmlns:a16="http://schemas.microsoft.com/office/drawing/2014/main" id="{4264192B-3D90-45E7-9DA2-03A8D551B499}"/>
                </a:ext>
              </a:extLst>
            </p:cNvPr>
            <p:cNvSpPr/>
            <p:nvPr/>
          </p:nvSpPr>
          <p:spPr bwMode="auto">
            <a:xfrm flipH="1">
              <a:off x="1911835" y="2849383"/>
              <a:ext cx="418507" cy="183108"/>
            </a:xfrm>
            <a:custGeom>
              <a:avLst/>
              <a:gdLst>
                <a:gd name="T0" fmla="*/ 409 w 459"/>
                <a:gd name="T1" fmla="*/ 0 h 213"/>
                <a:gd name="T2" fmla="*/ 409 w 459"/>
                <a:gd name="T3" fmla="*/ 71 h 213"/>
                <a:gd name="T4" fmla="*/ 409 w 459"/>
                <a:gd name="T5" fmla="*/ 71 h 213"/>
                <a:gd name="T6" fmla="*/ 409 w 459"/>
                <a:gd name="T7" fmla="*/ 31 h 213"/>
                <a:gd name="T8" fmla="*/ 397 w 459"/>
                <a:gd name="T9" fmla="*/ 90 h 213"/>
                <a:gd name="T10" fmla="*/ 378 w 459"/>
                <a:gd name="T11" fmla="*/ 154 h 213"/>
                <a:gd name="T12" fmla="*/ 378 w 459"/>
                <a:gd name="T13" fmla="*/ 194 h 213"/>
                <a:gd name="T14" fmla="*/ 378 w 459"/>
                <a:gd name="T15" fmla="*/ 194 h 213"/>
                <a:gd name="T16" fmla="*/ 378 w 459"/>
                <a:gd name="T17" fmla="*/ 0 h 213"/>
                <a:gd name="T18" fmla="*/ 369 w 459"/>
                <a:gd name="T19" fmla="*/ 71 h 213"/>
                <a:gd name="T20" fmla="*/ 378 w 459"/>
                <a:gd name="T21" fmla="*/ 130 h 213"/>
                <a:gd name="T22" fmla="*/ 378 w 459"/>
                <a:gd name="T23" fmla="*/ 0 h 213"/>
                <a:gd name="T24" fmla="*/ 317 w 459"/>
                <a:gd name="T25" fmla="*/ 194 h 213"/>
                <a:gd name="T26" fmla="*/ 317 w 459"/>
                <a:gd name="T27" fmla="*/ 0 h 213"/>
                <a:gd name="T28" fmla="*/ 317 w 459"/>
                <a:gd name="T29" fmla="*/ 130 h 213"/>
                <a:gd name="T30" fmla="*/ 328 w 459"/>
                <a:gd name="T31" fmla="*/ 71 h 213"/>
                <a:gd name="T32" fmla="*/ 347 w 459"/>
                <a:gd name="T33" fmla="*/ 0 h 213"/>
                <a:gd name="T34" fmla="*/ 288 w 459"/>
                <a:gd name="T35" fmla="*/ 194 h 213"/>
                <a:gd name="T36" fmla="*/ 288 w 459"/>
                <a:gd name="T37" fmla="*/ 0 h 213"/>
                <a:gd name="T38" fmla="*/ 288 w 459"/>
                <a:gd name="T39" fmla="*/ 71 h 213"/>
                <a:gd name="T40" fmla="*/ 298 w 459"/>
                <a:gd name="T41" fmla="*/ 130 h 213"/>
                <a:gd name="T42" fmla="*/ 317 w 459"/>
                <a:gd name="T43" fmla="*/ 0 h 213"/>
                <a:gd name="T44" fmla="*/ 257 w 459"/>
                <a:gd name="T45" fmla="*/ 194 h 213"/>
                <a:gd name="T46" fmla="*/ 257 w 459"/>
                <a:gd name="T47" fmla="*/ 0 h 213"/>
                <a:gd name="T48" fmla="*/ 257 w 459"/>
                <a:gd name="T49" fmla="*/ 130 h 213"/>
                <a:gd name="T50" fmla="*/ 267 w 459"/>
                <a:gd name="T51" fmla="*/ 71 h 213"/>
                <a:gd name="T52" fmla="*/ 288 w 459"/>
                <a:gd name="T53" fmla="*/ 0 h 213"/>
                <a:gd name="T54" fmla="*/ 227 w 459"/>
                <a:gd name="T55" fmla="*/ 194 h 213"/>
                <a:gd name="T56" fmla="*/ 227 w 459"/>
                <a:gd name="T57" fmla="*/ 0 h 213"/>
                <a:gd name="T58" fmla="*/ 227 w 459"/>
                <a:gd name="T59" fmla="*/ 71 h 213"/>
                <a:gd name="T60" fmla="*/ 239 w 459"/>
                <a:gd name="T61" fmla="*/ 130 h 213"/>
                <a:gd name="T62" fmla="*/ 257 w 459"/>
                <a:gd name="T63" fmla="*/ 0 h 213"/>
                <a:gd name="T64" fmla="*/ 198 w 459"/>
                <a:gd name="T65" fmla="*/ 194 h 213"/>
                <a:gd name="T66" fmla="*/ 198 w 459"/>
                <a:gd name="T67" fmla="*/ 0 h 213"/>
                <a:gd name="T68" fmla="*/ 198 w 459"/>
                <a:gd name="T69" fmla="*/ 130 h 213"/>
                <a:gd name="T70" fmla="*/ 208 w 459"/>
                <a:gd name="T71" fmla="*/ 71 h 213"/>
                <a:gd name="T72" fmla="*/ 227 w 459"/>
                <a:gd name="T73" fmla="*/ 0 h 213"/>
                <a:gd name="T74" fmla="*/ 168 w 459"/>
                <a:gd name="T75" fmla="*/ 194 h 213"/>
                <a:gd name="T76" fmla="*/ 168 w 459"/>
                <a:gd name="T77" fmla="*/ 0 h 213"/>
                <a:gd name="T78" fmla="*/ 168 w 459"/>
                <a:gd name="T79" fmla="*/ 71 h 213"/>
                <a:gd name="T80" fmla="*/ 177 w 459"/>
                <a:gd name="T81" fmla="*/ 130 h 213"/>
                <a:gd name="T82" fmla="*/ 198 w 459"/>
                <a:gd name="T83" fmla="*/ 0 h 213"/>
                <a:gd name="T84" fmla="*/ 137 w 459"/>
                <a:gd name="T85" fmla="*/ 194 h 213"/>
                <a:gd name="T86" fmla="*/ 137 w 459"/>
                <a:gd name="T87" fmla="*/ 0 h 213"/>
                <a:gd name="T88" fmla="*/ 137 w 459"/>
                <a:gd name="T89" fmla="*/ 130 h 213"/>
                <a:gd name="T90" fmla="*/ 146 w 459"/>
                <a:gd name="T91" fmla="*/ 71 h 213"/>
                <a:gd name="T92" fmla="*/ 168 w 459"/>
                <a:gd name="T93" fmla="*/ 0 h 213"/>
                <a:gd name="T94" fmla="*/ 106 w 459"/>
                <a:gd name="T95" fmla="*/ 194 h 213"/>
                <a:gd name="T96" fmla="*/ 106 w 459"/>
                <a:gd name="T97" fmla="*/ 0 h 213"/>
                <a:gd name="T98" fmla="*/ 106 w 459"/>
                <a:gd name="T99" fmla="*/ 71 h 213"/>
                <a:gd name="T100" fmla="*/ 118 w 459"/>
                <a:gd name="T101" fmla="*/ 130 h 213"/>
                <a:gd name="T102" fmla="*/ 137 w 459"/>
                <a:gd name="T103" fmla="*/ 0 h 213"/>
                <a:gd name="T104" fmla="*/ 78 w 459"/>
                <a:gd name="T105" fmla="*/ 194 h 213"/>
                <a:gd name="T106" fmla="*/ 78 w 459"/>
                <a:gd name="T107" fmla="*/ 0 h 213"/>
                <a:gd name="T108" fmla="*/ 78 w 459"/>
                <a:gd name="T109" fmla="*/ 130 h 213"/>
                <a:gd name="T110" fmla="*/ 87 w 459"/>
                <a:gd name="T111" fmla="*/ 71 h 213"/>
                <a:gd name="T112" fmla="*/ 106 w 459"/>
                <a:gd name="T113" fmla="*/ 0 h 213"/>
                <a:gd name="T114" fmla="*/ 78 w 459"/>
                <a:gd name="T115" fmla="*/ 154 h 213"/>
                <a:gd name="T116" fmla="*/ 56 w 459"/>
                <a:gd name="T117" fmla="*/ 90 h 213"/>
                <a:gd name="T118" fmla="*/ 47 w 459"/>
                <a:gd name="T119" fmla="*/ 31 h 213"/>
                <a:gd name="T120" fmla="*/ 47 w 459"/>
                <a:gd name="T121" fmla="*/ 213 h 213"/>
                <a:gd name="T122" fmla="*/ 26 w 459"/>
                <a:gd name="T123" fmla="*/ 71 h 213"/>
                <a:gd name="T124" fmla="*/ 47 w 459"/>
                <a:gd name="T125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9" h="213">
                  <a:moveTo>
                    <a:pt x="409" y="213"/>
                  </a:moveTo>
                  <a:lnTo>
                    <a:pt x="459" y="213"/>
                  </a:lnTo>
                  <a:lnTo>
                    <a:pt x="459" y="0"/>
                  </a:lnTo>
                  <a:lnTo>
                    <a:pt x="409" y="0"/>
                  </a:lnTo>
                  <a:lnTo>
                    <a:pt x="409" y="31"/>
                  </a:lnTo>
                  <a:lnTo>
                    <a:pt x="428" y="31"/>
                  </a:lnTo>
                  <a:lnTo>
                    <a:pt x="428" y="71"/>
                  </a:lnTo>
                  <a:lnTo>
                    <a:pt x="409" y="71"/>
                  </a:lnTo>
                  <a:lnTo>
                    <a:pt x="409" y="213"/>
                  </a:lnTo>
                  <a:close/>
                  <a:moveTo>
                    <a:pt x="378" y="213"/>
                  </a:moveTo>
                  <a:lnTo>
                    <a:pt x="409" y="213"/>
                  </a:lnTo>
                  <a:lnTo>
                    <a:pt x="409" y="71"/>
                  </a:lnTo>
                  <a:lnTo>
                    <a:pt x="388" y="71"/>
                  </a:lnTo>
                  <a:lnTo>
                    <a:pt x="388" y="31"/>
                  </a:lnTo>
                  <a:lnTo>
                    <a:pt x="388" y="31"/>
                  </a:lnTo>
                  <a:lnTo>
                    <a:pt x="409" y="31"/>
                  </a:lnTo>
                  <a:lnTo>
                    <a:pt x="409" y="0"/>
                  </a:lnTo>
                  <a:lnTo>
                    <a:pt x="378" y="0"/>
                  </a:lnTo>
                  <a:lnTo>
                    <a:pt x="378" y="90"/>
                  </a:lnTo>
                  <a:lnTo>
                    <a:pt x="397" y="90"/>
                  </a:lnTo>
                  <a:lnTo>
                    <a:pt x="397" y="130"/>
                  </a:lnTo>
                  <a:lnTo>
                    <a:pt x="397" y="130"/>
                  </a:lnTo>
                  <a:lnTo>
                    <a:pt x="378" y="130"/>
                  </a:lnTo>
                  <a:lnTo>
                    <a:pt x="378" y="154"/>
                  </a:lnTo>
                  <a:lnTo>
                    <a:pt x="378" y="154"/>
                  </a:lnTo>
                  <a:lnTo>
                    <a:pt x="378" y="194"/>
                  </a:lnTo>
                  <a:lnTo>
                    <a:pt x="378" y="194"/>
                  </a:lnTo>
                  <a:lnTo>
                    <a:pt x="378" y="194"/>
                  </a:lnTo>
                  <a:lnTo>
                    <a:pt x="378" y="213"/>
                  </a:lnTo>
                  <a:close/>
                  <a:moveTo>
                    <a:pt x="347" y="213"/>
                  </a:moveTo>
                  <a:lnTo>
                    <a:pt x="378" y="213"/>
                  </a:lnTo>
                  <a:lnTo>
                    <a:pt x="378" y="194"/>
                  </a:lnTo>
                  <a:lnTo>
                    <a:pt x="347" y="194"/>
                  </a:lnTo>
                  <a:lnTo>
                    <a:pt x="347" y="213"/>
                  </a:lnTo>
                  <a:lnTo>
                    <a:pt x="347" y="213"/>
                  </a:lnTo>
                  <a:close/>
                  <a:moveTo>
                    <a:pt x="378" y="0"/>
                  </a:moveTo>
                  <a:lnTo>
                    <a:pt x="347" y="0"/>
                  </a:lnTo>
                  <a:lnTo>
                    <a:pt x="347" y="31"/>
                  </a:lnTo>
                  <a:lnTo>
                    <a:pt x="369" y="31"/>
                  </a:lnTo>
                  <a:lnTo>
                    <a:pt x="369" y="71"/>
                  </a:lnTo>
                  <a:lnTo>
                    <a:pt x="347" y="71"/>
                  </a:lnTo>
                  <a:lnTo>
                    <a:pt x="347" y="154"/>
                  </a:lnTo>
                  <a:lnTo>
                    <a:pt x="378" y="154"/>
                  </a:lnTo>
                  <a:lnTo>
                    <a:pt x="378" y="130"/>
                  </a:lnTo>
                  <a:lnTo>
                    <a:pt x="357" y="130"/>
                  </a:lnTo>
                  <a:lnTo>
                    <a:pt x="357" y="90"/>
                  </a:lnTo>
                  <a:lnTo>
                    <a:pt x="378" y="90"/>
                  </a:lnTo>
                  <a:lnTo>
                    <a:pt x="378" y="0"/>
                  </a:lnTo>
                  <a:close/>
                  <a:moveTo>
                    <a:pt x="317" y="213"/>
                  </a:moveTo>
                  <a:lnTo>
                    <a:pt x="347" y="213"/>
                  </a:lnTo>
                  <a:lnTo>
                    <a:pt x="347" y="194"/>
                  </a:lnTo>
                  <a:lnTo>
                    <a:pt x="317" y="194"/>
                  </a:lnTo>
                  <a:lnTo>
                    <a:pt x="317" y="213"/>
                  </a:lnTo>
                  <a:lnTo>
                    <a:pt x="317" y="213"/>
                  </a:lnTo>
                  <a:close/>
                  <a:moveTo>
                    <a:pt x="347" y="0"/>
                  </a:moveTo>
                  <a:lnTo>
                    <a:pt x="317" y="0"/>
                  </a:lnTo>
                  <a:lnTo>
                    <a:pt x="317" y="90"/>
                  </a:lnTo>
                  <a:lnTo>
                    <a:pt x="338" y="90"/>
                  </a:lnTo>
                  <a:lnTo>
                    <a:pt x="338" y="130"/>
                  </a:lnTo>
                  <a:lnTo>
                    <a:pt x="317" y="130"/>
                  </a:lnTo>
                  <a:lnTo>
                    <a:pt x="317" y="154"/>
                  </a:lnTo>
                  <a:lnTo>
                    <a:pt x="347" y="154"/>
                  </a:lnTo>
                  <a:lnTo>
                    <a:pt x="347" y="71"/>
                  </a:lnTo>
                  <a:lnTo>
                    <a:pt x="328" y="7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47" y="31"/>
                  </a:lnTo>
                  <a:lnTo>
                    <a:pt x="347" y="0"/>
                  </a:lnTo>
                  <a:close/>
                  <a:moveTo>
                    <a:pt x="288" y="213"/>
                  </a:moveTo>
                  <a:lnTo>
                    <a:pt x="317" y="213"/>
                  </a:lnTo>
                  <a:lnTo>
                    <a:pt x="317" y="194"/>
                  </a:lnTo>
                  <a:lnTo>
                    <a:pt x="288" y="194"/>
                  </a:lnTo>
                  <a:lnTo>
                    <a:pt x="288" y="213"/>
                  </a:lnTo>
                  <a:lnTo>
                    <a:pt x="288" y="213"/>
                  </a:lnTo>
                  <a:close/>
                  <a:moveTo>
                    <a:pt x="317" y="0"/>
                  </a:moveTo>
                  <a:lnTo>
                    <a:pt x="288" y="0"/>
                  </a:lnTo>
                  <a:lnTo>
                    <a:pt x="288" y="31"/>
                  </a:lnTo>
                  <a:lnTo>
                    <a:pt x="307" y="31"/>
                  </a:lnTo>
                  <a:lnTo>
                    <a:pt x="307" y="71"/>
                  </a:lnTo>
                  <a:lnTo>
                    <a:pt x="288" y="71"/>
                  </a:lnTo>
                  <a:lnTo>
                    <a:pt x="288" y="154"/>
                  </a:lnTo>
                  <a:lnTo>
                    <a:pt x="317" y="154"/>
                  </a:lnTo>
                  <a:lnTo>
                    <a:pt x="317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90"/>
                  </a:lnTo>
                  <a:lnTo>
                    <a:pt x="317" y="90"/>
                  </a:lnTo>
                  <a:lnTo>
                    <a:pt x="317" y="0"/>
                  </a:lnTo>
                  <a:close/>
                  <a:moveTo>
                    <a:pt x="257" y="213"/>
                  </a:moveTo>
                  <a:lnTo>
                    <a:pt x="288" y="213"/>
                  </a:lnTo>
                  <a:lnTo>
                    <a:pt x="288" y="194"/>
                  </a:lnTo>
                  <a:lnTo>
                    <a:pt x="257" y="194"/>
                  </a:lnTo>
                  <a:lnTo>
                    <a:pt x="257" y="213"/>
                  </a:lnTo>
                  <a:lnTo>
                    <a:pt x="257" y="213"/>
                  </a:lnTo>
                  <a:close/>
                  <a:moveTo>
                    <a:pt x="288" y="0"/>
                  </a:moveTo>
                  <a:lnTo>
                    <a:pt x="257" y="0"/>
                  </a:lnTo>
                  <a:lnTo>
                    <a:pt x="257" y="90"/>
                  </a:lnTo>
                  <a:lnTo>
                    <a:pt x="276" y="90"/>
                  </a:lnTo>
                  <a:lnTo>
                    <a:pt x="276" y="130"/>
                  </a:lnTo>
                  <a:lnTo>
                    <a:pt x="257" y="130"/>
                  </a:lnTo>
                  <a:lnTo>
                    <a:pt x="257" y="154"/>
                  </a:lnTo>
                  <a:lnTo>
                    <a:pt x="288" y="154"/>
                  </a:lnTo>
                  <a:lnTo>
                    <a:pt x="288" y="71"/>
                  </a:lnTo>
                  <a:lnTo>
                    <a:pt x="267" y="71"/>
                  </a:lnTo>
                  <a:lnTo>
                    <a:pt x="267" y="31"/>
                  </a:lnTo>
                  <a:lnTo>
                    <a:pt x="267" y="31"/>
                  </a:lnTo>
                  <a:lnTo>
                    <a:pt x="288" y="31"/>
                  </a:lnTo>
                  <a:lnTo>
                    <a:pt x="288" y="0"/>
                  </a:lnTo>
                  <a:close/>
                  <a:moveTo>
                    <a:pt x="227" y="213"/>
                  </a:moveTo>
                  <a:lnTo>
                    <a:pt x="257" y="213"/>
                  </a:lnTo>
                  <a:lnTo>
                    <a:pt x="257" y="194"/>
                  </a:lnTo>
                  <a:lnTo>
                    <a:pt x="227" y="194"/>
                  </a:lnTo>
                  <a:lnTo>
                    <a:pt x="227" y="213"/>
                  </a:lnTo>
                  <a:lnTo>
                    <a:pt x="227" y="213"/>
                  </a:lnTo>
                  <a:close/>
                  <a:moveTo>
                    <a:pt x="257" y="0"/>
                  </a:moveTo>
                  <a:lnTo>
                    <a:pt x="227" y="0"/>
                  </a:lnTo>
                  <a:lnTo>
                    <a:pt x="227" y="31"/>
                  </a:lnTo>
                  <a:lnTo>
                    <a:pt x="248" y="31"/>
                  </a:lnTo>
                  <a:lnTo>
                    <a:pt x="248" y="71"/>
                  </a:lnTo>
                  <a:lnTo>
                    <a:pt x="227" y="71"/>
                  </a:lnTo>
                  <a:lnTo>
                    <a:pt x="227" y="154"/>
                  </a:lnTo>
                  <a:lnTo>
                    <a:pt x="257" y="154"/>
                  </a:lnTo>
                  <a:lnTo>
                    <a:pt x="257" y="130"/>
                  </a:lnTo>
                  <a:lnTo>
                    <a:pt x="239" y="130"/>
                  </a:lnTo>
                  <a:lnTo>
                    <a:pt x="239" y="130"/>
                  </a:lnTo>
                  <a:lnTo>
                    <a:pt x="239" y="90"/>
                  </a:lnTo>
                  <a:lnTo>
                    <a:pt x="257" y="90"/>
                  </a:lnTo>
                  <a:lnTo>
                    <a:pt x="257" y="0"/>
                  </a:lnTo>
                  <a:close/>
                  <a:moveTo>
                    <a:pt x="198" y="213"/>
                  </a:moveTo>
                  <a:lnTo>
                    <a:pt x="227" y="213"/>
                  </a:lnTo>
                  <a:lnTo>
                    <a:pt x="227" y="194"/>
                  </a:lnTo>
                  <a:lnTo>
                    <a:pt x="198" y="194"/>
                  </a:lnTo>
                  <a:lnTo>
                    <a:pt x="198" y="213"/>
                  </a:lnTo>
                  <a:lnTo>
                    <a:pt x="198" y="213"/>
                  </a:lnTo>
                  <a:close/>
                  <a:moveTo>
                    <a:pt x="227" y="0"/>
                  </a:moveTo>
                  <a:lnTo>
                    <a:pt x="198" y="0"/>
                  </a:lnTo>
                  <a:lnTo>
                    <a:pt x="198" y="90"/>
                  </a:lnTo>
                  <a:lnTo>
                    <a:pt x="217" y="90"/>
                  </a:lnTo>
                  <a:lnTo>
                    <a:pt x="217" y="130"/>
                  </a:lnTo>
                  <a:lnTo>
                    <a:pt x="198" y="130"/>
                  </a:lnTo>
                  <a:lnTo>
                    <a:pt x="198" y="154"/>
                  </a:lnTo>
                  <a:lnTo>
                    <a:pt x="227" y="154"/>
                  </a:lnTo>
                  <a:lnTo>
                    <a:pt x="227" y="71"/>
                  </a:lnTo>
                  <a:lnTo>
                    <a:pt x="208" y="7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27" y="31"/>
                  </a:lnTo>
                  <a:lnTo>
                    <a:pt x="227" y="0"/>
                  </a:lnTo>
                  <a:close/>
                  <a:moveTo>
                    <a:pt x="168" y="213"/>
                  </a:moveTo>
                  <a:lnTo>
                    <a:pt x="198" y="213"/>
                  </a:lnTo>
                  <a:lnTo>
                    <a:pt x="198" y="194"/>
                  </a:lnTo>
                  <a:lnTo>
                    <a:pt x="168" y="194"/>
                  </a:lnTo>
                  <a:lnTo>
                    <a:pt x="168" y="213"/>
                  </a:lnTo>
                  <a:lnTo>
                    <a:pt x="168" y="213"/>
                  </a:lnTo>
                  <a:close/>
                  <a:moveTo>
                    <a:pt x="198" y="0"/>
                  </a:moveTo>
                  <a:lnTo>
                    <a:pt x="168" y="0"/>
                  </a:lnTo>
                  <a:lnTo>
                    <a:pt x="168" y="31"/>
                  </a:lnTo>
                  <a:lnTo>
                    <a:pt x="186" y="31"/>
                  </a:lnTo>
                  <a:lnTo>
                    <a:pt x="186" y="71"/>
                  </a:lnTo>
                  <a:lnTo>
                    <a:pt x="168" y="71"/>
                  </a:lnTo>
                  <a:lnTo>
                    <a:pt x="168" y="154"/>
                  </a:lnTo>
                  <a:lnTo>
                    <a:pt x="198" y="154"/>
                  </a:lnTo>
                  <a:lnTo>
                    <a:pt x="198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90"/>
                  </a:lnTo>
                  <a:lnTo>
                    <a:pt x="198" y="90"/>
                  </a:lnTo>
                  <a:lnTo>
                    <a:pt x="198" y="0"/>
                  </a:lnTo>
                  <a:close/>
                  <a:moveTo>
                    <a:pt x="137" y="213"/>
                  </a:moveTo>
                  <a:lnTo>
                    <a:pt x="168" y="213"/>
                  </a:lnTo>
                  <a:lnTo>
                    <a:pt x="168" y="194"/>
                  </a:lnTo>
                  <a:lnTo>
                    <a:pt x="137" y="194"/>
                  </a:lnTo>
                  <a:lnTo>
                    <a:pt x="137" y="213"/>
                  </a:lnTo>
                  <a:lnTo>
                    <a:pt x="137" y="213"/>
                  </a:lnTo>
                  <a:close/>
                  <a:moveTo>
                    <a:pt x="168" y="0"/>
                  </a:moveTo>
                  <a:lnTo>
                    <a:pt x="137" y="0"/>
                  </a:lnTo>
                  <a:lnTo>
                    <a:pt x="137" y="90"/>
                  </a:lnTo>
                  <a:lnTo>
                    <a:pt x="158" y="90"/>
                  </a:lnTo>
                  <a:lnTo>
                    <a:pt x="158" y="130"/>
                  </a:lnTo>
                  <a:lnTo>
                    <a:pt x="137" y="130"/>
                  </a:lnTo>
                  <a:lnTo>
                    <a:pt x="137" y="154"/>
                  </a:lnTo>
                  <a:lnTo>
                    <a:pt x="168" y="154"/>
                  </a:lnTo>
                  <a:lnTo>
                    <a:pt x="168" y="71"/>
                  </a:lnTo>
                  <a:lnTo>
                    <a:pt x="146" y="7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68" y="31"/>
                  </a:lnTo>
                  <a:lnTo>
                    <a:pt x="168" y="0"/>
                  </a:lnTo>
                  <a:close/>
                  <a:moveTo>
                    <a:pt x="106" y="213"/>
                  </a:moveTo>
                  <a:lnTo>
                    <a:pt x="137" y="213"/>
                  </a:lnTo>
                  <a:lnTo>
                    <a:pt x="137" y="194"/>
                  </a:lnTo>
                  <a:lnTo>
                    <a:pt x="106" y="194"/>
                  </a:lnTo>
                  <a:lnTo>
                    <a:pt x="106" y="213"/>
                  </a:lnTo>
                  <a:lnTo>
                    <a:pt x="106" y="213"/>
                  </a:lnTo>
                  <a:close/>
                  <a:moveTo>
                    <a:pt x="137" y="0"/>
                  </a:moveTo>
                  <a:lnTo>
                    <a:pt x="106" y="0"/>
                  </a:lnTo>
                  <a:lnTo>
                    <a:pt x="106" y="31"/>
                  </a:lnTo>
                  <a:lnTo>
                    <a:pt x="127" y="31"/>
                  </a:lnTo>
                  <a:lnTo>
                    <a:pt x="127" y="71"/>
                  </a:lnTo>
                  <a:lnTo>
                    <a:pt x="106" y="71"/>
                  </a:lnTo>
                  <a:lnTo>
                    <a:pt x="106" y="154"/>
                  </a:lnTo>
                  <a:lnTo>
                    <a:pt x="137" y="154"/>
                  </a:lnTo>
                  <a:lnTo>
                    <a:pt x="137" y="130"/>
                  </a:lnTo>
                  <a:lnTo>
                    <a:pt x="118" y="130"/>
                  </a:lnTo>
                  <a:lnTo>
                    <a:pt x="118" y="130"/>
                  </a:lnTo>
                  <a:lnTo>
                    <a:pt x="118" y="90"/>
                  </a:lnTo>
                  <a:lnTo>
                    <a:pt x="137" y="90"/>
                  </a:lnTo>
                  <a:lnTo>
                    <a:pt x="137" y="0"/>
                  </a:lnTo>
                  <a:close/>
                  <a:moveTo>
                    <a:pt x="78" y="213"/>
                  </a:moveTo>
                  <a:lnTo>
                    <a:pt x="106" y="213"/>
                  </a:lnTo>
                  <a:lnTo>
                    <a:pt x="106" y="194"/>
                  </a:lnTo>
                  <a:lnTo>
                    <a:pt x="78" y="194"/>
                  </a:lnTo>
                  <a:lnTo>
                    <a:pt x="78" y="213"/>
                  </a:lnTo>
                  <a:lnTo>
                    <a:pt x="78" y="213"/>
                  </a:lnTo>
                  <a:close/>
                  <a:moveTo>
                    <a:pt x="106" y="0"/>
                  </a:moveTo>
                  <a:lnTo>
                    <a:pt x="78" y="0"/>
                  </a:lnTo>
                  <a:lnTo>
                    <a:pt x="78" y="90"/>
                  </a:lnTo>
                  <a:lnTo>
                    <a:pt x="97" y="90"/>
                  </a:lnTo>
                  <a:lnTo>
                    <a:pt x="97" y="130"/>
                  </a:lnTo>
                  <a:lnTo>
                    <a:pt x="78" y="130"/>
                  </a:lnTo>
                  <a:lnTo>
                    <a:pt x="78" y="154"/>
                  </a:lnTo>
                  <a:lnTo>
                    <a:pt x="106" y="154"/>
                  </a:lnTo>
                  <a:lnTo>
                    <a:pt x="106" y="71"/>
                  </a:lnTo>
                  <a:lnTo>
                    <a:pt x="87" y="7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106" y="31"/>
                  </a:lnTo>
                  <a:lnTo>
                    <a:pt x="106" y="0"/>
                  </a:lnTo>
                  <a:close/>
                  <a:moveTo>
                    <a:pt x="47" y="213"/>
                  </a:moveTo>
                  <a:lnTo>
                    <a:pt x="78" y="213"/>
                  </a:lnTo>
                  <a:lnTo>
                    <a:pt x="78" y="194"/>
                  </a:lnTo>
                  <a:lnTo>
                    <a:pt x="78" y="154"/>
                  </a:lnTo>
                  <a:lnTo>
                    <a:pt x="78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90"/>
                  </a:lnTo>
                  <a:lnTo>
                    <a:pt x="78" y="90"/>
                  </a:lnTo>
                  <a:lnTo>
                    <a:pt x="78" y="0"/>
                  </a:lnTo>
                  <a:lnTo>
                    <a:pt x="47" y="0"/>
                  </a:lnTo>
                  <a:lnTo>
                    <a:pt x="47" y="31"/>
                  </a:lnTo>
                  <a:lnTo>
                    <a:pt x="66" y="31"/>
                  </a:lnTo>
                  <a:lnTo>
                    <a:pt x="66" y="71"/>
                  </a:lnTo>
                  <a:lnTo>
                    <a:pt x="47" y="71"/>
                  </a:lnTo>
                  <a:lnTo>
                    <a:pt x="47" y="213"/>
                  </a:lnTo>
                  <a:close/>
                  <a:moveTo>
                    <a:pt x="0" y="213"/>
                  </a:moveTo>
                  <a:lnTo>
                    <a:pt x="47" y="213"/>
                  </a:lnTo>
                  <a:lnTo>
                    <a:pt x="47" y="71"/>
                  </a:lnTo>
                  <a:lnTo>
                    <a:pt x="26" y="7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47" y="31"/>
                  </a:lnTo>
                  <a:lnTo>
                    <a:pt x="47" y="0"/>
                  </a:lnTo>
                  <a:lnTo>
                    <a:pt x="0" y="0"/>
                  </a:lnTo>
                  <a:lnTo>
                    <a:pt x="0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2" name="íślïḓé">
              <a:extLst>
                <a:ext uri="{FF2B5EF4-FFF2-40B4-BE49-F238E27FC236}">
                  <a16:creationId xmlns:a16="http://schemas.microsoft.com/office/drawing/2014/main" id="{56EF4FFC-EF64-4E8C-93F2-E698019E60E4}"/>
                </a:ext>
              </a:extLst>
            </p:cNvPr>
            <p:cNvSpPr/>
            <p:nvPr/>
          </p:nvSpPr>
          <p:spPr bwMode="auto">
            <a:xfrm flipH="1">
              <a:off x="2011219" y="2765996"/>
              <a:ext cx="241622" cy="55018"/>
            </a:xfrm>
            <a:custGeom>
              <a:avLst/>
              <a:gdLst>
                <a:gd name="T0" fmla="*/ 0 w 112"/>
                <a:gd name="T1" fmla="*/ 13 h 27"/>
                <a:gd name="T2" fmla="*/ 8 w 112"/>
                <a:gd name="T3" fmla="*/ 27 h 27"/>
                <a:gd name="T4" fmla="*/ 56 w 112"/>
                <a:gd name="T5" fmla="*/ 16 h 27"/>
                <a:gd name="T6" fmla="*/ 104 w 112"/>
                <a:gd name="T7" fmla="*/ 27 h 27"/>
                <a:gd name="T8" fmla="*/ 112 w 112"/>
                <a:gd name="T9" fmla="*/ 13 h 27"/>
                <a:gd name="T10" fmla="*/ 56 w 112"/>
                <a:gd name="T11" fmla="*/ 0 h 27"/>
                <a:gd name="T12" fmla="*/ 0 w 112"/>
                <a:gd name="T13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7">
                  <a:moveTo>
                    <a:pt x="0" y="13"/>
                  </a:moveTo>
                  <a:cubicBezTo>
                    <a:pt x="8" y="27"/>
                    <a:pt x="8" y="27"/>
                    <a:pt x="8" y="27"/>
                  </a:cubicBezTo>
                  <a:cubicBezTo>
                    <a:pt x="21" y="20"/>
                    <a:pt x="38" y="16"/>
                    <a:pt x="56" y="16"/>
                  </a:cubicBezTo>
                  <a:cubicBezTo>
                    <a:pt x="74" y="16"/>
                    <a:pt x="91" y="20"/>
                    <a:pt x="104" y="27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96" y="5"/>
                    <a:pt x="76" y="0"/>
                    <a:pt x="56" y="0"/>
                  </a:cubicBezTo>
                  <a:cubicBezTo>
                    <a:pt x="36" y="0"/>
                    <a:pt x="16" y="5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3" name="íṡļîḋè">
              <a:extLst>
                <a:ext uri="{FF2B5EF4-FFF2-40B4-BE49-F238E27FC236}">
                  <a16:creationId xmlns:a16="http://schemas.microsoft.com/office/drawing/2014/main" id="{FC1C4ED2-D7F2-431D-856E-4DF6FF23F842}"/>
                </a:ext>
              </a:extLst>
            </p:cNvPr>
            <p:cNvSpPr/>
            <p:nvPr/>
          </p:nvSpPr>
          <p:spPr bwMode="auto">
            <a:xfrm flipH="1">
              <a:off x="1970189" y="2704960"/>
              <a:ext cx="323682" cy="63615"/>
            </a:xfrm>
            <a:custGeom>
              <a:avLst/>
              <a:gdLst>
                <a:gd name="T0" fmla="*/ 150 w 150"/>
                <a:gd name="T1" fmla="*/ 17 h 31"/>
                <a:gd name="T2" fmla="*/ 75 w 150"/>
                <a:gd name="T3" fmla="*/ 0 h 31"/>
                <a:gd name="T4" fmla="*/ 0 w 150"/>
                <a:gd name="T5" fmla="*/ 17 h 31"/>
                <a:gd name="T6" fmla="*/ 8 w 150"/>
                <a:gd name="T7" fmla="*/ 31 h 31"/>
                <a:gd name="T8" fmla="*/ 75 w 150"/>
                <a:gd name="T9" fmla="*/ 15 h 31"/>
                <a:gd name="T10" fmla="*/ 142 w 150"/>
                <a:gd name="T11" fmla="*/ 31 h 31"/>
                <a:gd name="T12" fmla="*/ 150 w 150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1">
                  <a:moveTo>
                    <a:pt x="150" y="17"/>
                  </a:moveTo>
                  <a:cubicBezTo>
                    <a:pt x="129" y="6"/>
                    <a:pt x="102" y="0"/>
                    <a:pt x="75" y="0"/>
                  </a:cubicBezTo>
                  <a:cubicBezTo>
                    <a:pt x="48" y="0"/>
                    <a:pt x="21" y="6"/>
                    <a:pt x="0" y="17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27" y="21"/>
                    <a:pt x="50" y="15"/>
                    <a:pt x="75" y="15"/>
                  </a:cubicBezTo>
                  <a:cubicBezTo>
                    <a:pt x="100" y="15"/>
                    <a:pt x="123" y="21"/>
                    <a:pt x="142" y="31"/>
                  </a:cubicBezTo>
                  <a:lnTo>
                    <a:pt x="15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4" name="iṣļíḓè">
              <a:extLst>
                <a:ext uri="{FF2B5EF4-FFF2-40B4-BE49-F238E27FC236}">
                  <a16:creationId xmlns:a16="http://schemas.microsoft.com/office/drawing/2014/main" id="{A4418DC3-7A44-45D3-B7A8-937F03518495}"/>
                </a:ext>
              </a:extLst>
            </p:cNvPr>
            <p:cNvSpPr/>
            <p:nvPr/>
          </p:nvSpPr>
          <p:spPr bwMode="auto">
            <a:xfrm flipH="1">
              <a:off x="3239385" y="4553226"/>
              <a:ext cx="74766" cy="105738"/>
            </a:xfrm>
            <a:custGeom>
              <a:avLst/>
              <a:gdLst>
                <a:gd name="T0" fmla="*/ 25 w 35"/>
                <a:gd name="T1" fmla="*/ 49 h 52"/>
                <a:gd name="T2" fmla="*/ 30 w 35"/>
                <a:gd name="T3" fmla="*/ 41 h 52"/>
                <a:gd name="T4" fmla="*/ 10 w 35"/>
                <a:gd name="T5" fmla="*/ 8 h 52"/>
                <a:gd name="T6" fmla="*/ 5 w 35"/>
                <a:gd name="T7" fmla="*/ 0 h 52"/>
                <a:gd name="T8" fmla="*/ 0 w 35"/>
                <a:gd name="T9" fmla="*/ 9 h 52"/>
                <a:gd name="T10" fmla="*/ 25 w 35"/>
                <a:gd name="T11" fmla="*/ 4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52">
                  <a:moveTo>
                    <a:pt x="25" y="49"/>
                  </a:moveTo>
                  <a:cubicBezTo>
                    <a:pt x="31" y="52"/>
                    <a:pt x="35" y="44"/>
                    <a:pt x="30" y="41"/>
                  </a:cubicBezTo>
                  <a:cubicBezTo>
                    <a:pt x="18" y="34"/>
                    <a:pt x="10" y="21"/>
                    <a:pt x="10" y="8"/>
                  </a:cubicBezTo>
                  <a:cubicBezTo>
                    <a:pt x="8" y="5"/>
                    <a:pt x="6" y="3"/>
                    <a:pt x="5" y="0"/>
                  </a:cubicBezTo>
                  <a:cubicBezTo>
                    <a:pt x="4" y="3"/>
                    <a:pt x="2" y="6"/>
                    <a:pt x="0" y="9"/>
                  </a:cubicBezTo>
                  <a:cubicBezTo>
                    <a:pt x="1" y="25"/>
                    <a:pt x="11" y="41"/>
                    <a:pt x="25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5" name="íSḻïḓé">
              <a:extLst>
                <a:ext uri="{FF2B5EF4-FFF2-40B4-BE49-F238E27FC236}">
                  <a16:creationId xmlns:a16="http://schemas.microsoft.com/office/drawing/2014/main" id="{B527C27B-0126-4584-B869-C165AFF7821F}"/>
                </a:ext>
              </a:extLst>
            </p:cNvPr>
            <p:cNvSpPr/>
            <p:nvPr/>
          </p:nvSpPr>
          <p:spPr bwMode="auto">
            <a:xfrm flipH="1">
              <a:off x="3144560" y="4362382"/>
              <a:ext cx="118531" cy="107458"/>
            </a:xfrm>
            <a:custGeom>
              <a:avLst/>
              <a:gdLst>
                <a:gd name="T0" fmla="*/ 50 w 55"/>
                <a:gd name="T1" fmla="*/ 17 h 53"/>
                <a:gd name="T2" fmla="*/ 26 w 55"/>
                <a:gd name="T3" fmla="*/ 0 h 53"/>
                <a:gd name="T4" fmla="*/ 20 w 55"/>
                <a:gd name="T5" fmla="*/ 1 h 53"/>
                <a:gd name="T6" fmla="*/ 0 w 55"/>
                <a:gd name="T7" fmla="*/ 13 h 53"/>
                <a:gd name="T8" fmla="*/ 6 w 55"/>
                <a:gd name="T9" fmla="*/ 18 h 53"/>
                <a:gd name="T10" fmla="*/ 16 w 55"/>
                <a:gd name="T11" fmla="*/ 14 h 53"/>
                <a:gd name="T12" fmla="*/ 20 w 55"/>
                <a:gd name="T13" fmla="*/ 14 h 53"/>
                <a:gd name="T14" fmla="*/ 34 w 55"/>
                <a:gd name="T15" fmla="*/ 23 h 53"/>
                <a:gd name="T16" fmla="*/ 26 w 55"/>
                <a:gd name="T17" fmla="*/ 41 h 53"/>
                <a:gd name="T18" fmla="*/ 15 w 55"/>
                <a:gd name="T19" fmla="*/ 45 h 53"/>
                <a:gd name="T20" fmla="*/ 14 w 55"/>
                <a:gd name="T21" fmla="*/ 52 h 53"/>
                <a:gd name="T22" fmla="*/ 21 w 55"/>
                <a:gd name="T23" fmla="*/ 53 h 53"/>
                <a:gd name="T24" fmla="*/ 38 w 55"/>
                <a:gd name="T25" fmla="*/ 49 h 53"/>
                <a:gd name="T26" fmla="*/ 50 w 55"/>
                <a:gd name="T27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53">
                  <a:moveTo>
                    <a:pt x="50" y="17"/>
                  </a:moveTo>
                  <a:cubicBezTo>
                    <a:pt x="46" y="6"/>
                    <a:pt x="36" y="0"/>
                    <a:pt x="26" y="0"/>
                  </a:cubicBezTo>
                  <a:cubicBezTo>
                    <a:pt x="24" y="0"/>
                    <a:pt x="22" y="0"/>
                    <a:pt x="20" y="1"/>
                  </a:cubicBezTo>
                  <a:cubicBezTo>
                    <a:pt x="13" y="2"/>
                    <a:pt x="6" y="7"/>
                    <a:pt x="0" y="13"/>
                  </a:cubicBezTo>
                  <a:cubicBezTo>
                    <a:pt x="2" y="15"/>
                    <a:pt x="4" y="17"/>
                    <a:pt x="6" y="18"/>
                  </a:cubicBezTo>
                  <a:cubicBezTo>
                    <a:pt x="9" y="16"/>
                    <a:pt x="13" y="15"/>
                    <a:pt x="16" y="14"/>
                  </a:cubicBezTo>
                  <a:cubicBezTo>
                    <a:pt x="17" y="14"/>
                    <a:pt x="18" y="14"/>
                    <a:pt x="20" y="14"/>
                  </a:cubicBezTo>
                  <a:cubicBezTo>
                    <a:pt x="26" y="14"/>
                    <a:pt x="32" y="17"/>
                    <a:pt x="34" y="23"/>
                  </a:cubicBezTo>
                  <a:cubicBezTo>
                    <a:pt x="36" y="30"/>
                    <a:pt x="33" y="37"/>
                    <a:pt x="26" y="41"/>
                  </a:cubicBezTo>
                  <a:cubicBezTo>
                    <a:pt x="23" y="43"/>
                    <a:pt x="19" y="44"/>
                    <a:pt x="15" y="45"/>
                  </a:cubicBezTo>
                  <a:cubicBezTo>
                    <a:pt x="15" y="47"/>
                    <a:pt x="15" y="50"/>
                    <a:pt x="14" y="52"/>
                  </a:cubicBezTo>
                  <a:cubicBezTo>
                    <a:pt x="16" y="53"/>
                    <a:pt x="19" y="53"/>
                    <a:pt x="21" y="53"/>
                  </a:cubicBezTo>
                  <a:cubicBezTo>
                    <a:pt x="27" y="53"/>
                    <a:pt x="33" y="52"/>
                    <a:pt x="38" y="49"/>
                  </a:cubicBezTo>
                  <a:cubicBezTo>
                    <a:pt x="49" y="43"/>
                    <a:pt x="55" y="29"/>
                    <a:pt x="5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6" name="i$1íḍé">
              <a:extLst>
                <a:ext uri="{FF2B5EF4-FFF2-40B4-BE49-F238E27FC236}">
                  <a16:creationId xmlns:a16="http://schemas.microsoft.com/office/drawing/2014/main" id="{818925EC-5976-4D9C-B63E-D939EA40F9FA}"/>
                </a:ext>
              </a:extLst>
            </p:cNvPr>
            <p:cNvSpPr/>
            <p:nvPr/>
          </p:nvSpPr>
          <p:spPr bwMode="auto">
            <a:xfrm flipH="1">
              <a:off x="3256708" y="4295329"/>
              <a:ext cx="113973" cy="95421"/>
            </a:xfrm>
            <a:custGeom>
              <a:avLst/>
              <a:gdLst>
                <a:gd name="T0" fmla="*/ 52 w 53"/>
                <a:gd name="T1" fmla="*/ 22 h 47"/>
                <a:gd name="T2" fmla="*/ 27 w 53"/>
                <a:gd name="T3" fmla="*/ 0 h 47"/>
                <a:gd name="T4" fmla="*/ 25 w 53"/>
                <a:gd name="T5" fmla="*/ 1 h 47"/>
                <a:gd name="T6" fmla="*/ 1 w 53"/>
                <a:gd name="T7" fmla="*/ 24 h 47"/>
                <a:gd name="T8" fmla="*/ 7 w 53"/>
                <a:gd name="T9" fmla="*/ 47 h 47"/>
                <a:gd name="T10" fmla="*/ 13 w 53"/>
                <a:gd name="T11" fmla="*/ 43 h 47"/>
                <a:gd name="T12" fmla="*/ 12 w 53"/>
                <a:gd name="T13" fmla="*/ 32 h 47"/>
                <a:gd name="T14" fmla="*/ 26 w 53"/>
                <a:gd name="T15" fmla="*/ 18 h 47"/>
                <a:gd name="T16" fmla="*/ 27 w 53"/>
                <a:gd name="T17" fmla="*/ 18 h 47"/>
                <a:gd name="T18" fmla="*/ 41 w 53"/>
                <a:gd name="T19" fmla="*/ 31 h 47"/>
                <a:gd name="T20" fmla="*/ 41 w 53"/>
                <a:gd name="T21" fmla="*/ 42 h 47"/>
                <a:gd name="T22" fmla="*/ 48 w 53"/>
                <a:gd name="T23" fmla="*/ 45 h 47"/>
                <a:gd name="T24" fmla="*/ 52 w 53"/>
                <a:gd name="T25" fmla="*/ 2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47">
                  <a:moveTo>
                    <a:pt x="52" y="22"/>
                  </a:moveTo>
                  <a:cubicBezTo>
                    <a:pt x="50" y="10"/>
                    <a:pt x="40" y="0"/>
                    <a:pt x="27" y="0"/>
                  </a:cubicBezTo>
                  <a:cubicBezTo>
                    <a:pt x="26" y="0"/>
                    <a:pt x="26" y="0"/>
                    <a:pt x="25" y="1"/>
                  </a:cubicBezTo>
                  <a:cubicBezTo>
                    <a:pt x="12" y="1"/>
                    <a:pt x="2" y="12"/>
                    <a:pt x="1" y="24"/>
                  </a:cubicBezTo>
                  <a:cubicBezTo>
                    <a:pt x="0" y="32"/>
                    <a:pt x="2" y="40"/>
                    <a:pt x="7" y="47"/>
                  </a:cubicBezTo>
                  <a:cubicBezTo>
                    <a:pt x="9" y="46"/>
                    <a:pt x="11" y="44"/>
                    <a:pt x="13" y="43"/>
                  </a:cubicBezTo>
                  <a:cubicBezTo>
                    <a:pt x="12" y="39"/>
                    <a:pt x="12" y="35"/>
                    <a:pt x="12" y="32"/>
                  </a:cubicBezTo>
                  <a:cubicBezTo>
                    <a:pt x="13" y="24"/>
                    <a:pt x="19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34" y="18"/>
                    <a:pt x="39" y="23"/>
                    <a:pt x="41" y="31"/>
                  </a:cubicBezTo>
                  <a:cubicBezTo>
                    <a:pt x="42" y="34"/>
                    <a:pt x="42" y="38"/>
                    <a:pt x="41" y="42"/>
                  </a:cubicBezTo>
                  <a:cubicBezTo>
                    <a:pt x="44" y="43"/>
                    <a:pt x="46" y="44"/>
                    <a:pt x="48" y="45"/>
                  </a:cubicBezTo>
                  <a:cubicBezTo>
                    <a:pt x="52" y="37"/>
                    <a:pt x="53" y="29"/>
                    <a:pt x="5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7" name="íśḻíḋê">
              <a:extLst>
                <a:ext uri="{FF2B5EF4-FFF2-40B4-BE49-F238E27FC236}">
                  <a16:creationId xmlns:a16="http://schemas.microsoft.com/office/drawing/2014/main" id="{1617C177-A8AA-4512-8E91-9431E469B1F2}"/>
                </a:ext>
              </a:extLst>
            </p:cNvPr>
            <p:cNvSpPr/>
            <p:nvPr/>
          </p:nvSpPr>
          <p:spPr bwMode="auto">
            <a:xfrm flipH="1">
              <a:off x="3286798" y="4429435"/>
              <a:ext cx="44677" cy="42983"/>
            </a:xfrm>
            <a:custGeom>
              <a:avLst/>
              <a:gdLst>
                <a:gd name="T0" fmla="*/ 11 w 21"/>
                <a:gd name="T1" fmla="*/ 0 h 21"/>
                <a:gd name="T2" fmla="*/ 11 w 21"/>
                <a:gd name="T3" fmla="*/ 0 h 21"/>
                <a:gd name="T4" fmla="*/ 0 w 21"/>
                <a:gd name="T5" fmla="*/ 10 h 21"/>
                <a:gd name="T6" fmla="*/ 11 w 21"/>
                <a:gd name="T7" fmla="*/ 21 h 21"/>
                <a:gd name="T8" fmla="*/ 11 w 21"/>
                <a:gd name="T9" fmla="*/ 21 h 21"/>
                <a:gd name="T10" fmla="*/ 21 w 21"/>
                <a:gd name="T11" fmla="*/ 10 h 21"/>
                <a:gd name="T12" fmla="*/ 11 w 2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1"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1" y="4"/>
                    <a:pt x="0" y="10"/>
                  </a:cubicBezTo>
                  <a:cubicBezTo>
                    <a:pt x="0" y="16"/>
                    <a:pt x="5" y="20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6" y="21"/>
                    <a:pt x="21" y="16"/>
                    <a:pt x="21" y="10"/>
                  </a:cubicBezTo>
                  <a:cubicBezTo>
                    <a:pt x="21" y="5"/>
                    <a:pt x="17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8" name="iṩ1ïḓè">
              <a:extLst>
                <a:ext uri="{FF2B5EF4-FFF2-40B4-BE49-F238E27FC236}">
                  <a16:creationId xmlns:a16="http://schemas.microsoft.com/office/drawing/2014/main" id="{FCAC90A0-CFEA-475F-A8F4-0A2A62F7C644}"/>
                </a:ext>
              </a:extLst>
            </p:cNvPr>
            <p:cNvSpPr/>
            <p:nvPr/>
          </p:nvSpPr>
          <p:spPr bwMode="auto">
            <a:xfrm flipH="1">
              <a:off x="3239385" y="4384733"/>
              <a:ext cx="137679" cy="129809"/>
            </a:xfrm>
            <a:custGeom>
              <a:avLst/>
              <a:gdLst>
                <a:gd name="T0" fmla="*/ 33 w 64"/>
                <a:gd name="T1" fmla="*/ 0 h 64"/>
                <a:gd name="T2" fmla="*/ 32 w 64"/>
                <a:gd name="T3" fmla="*/ 0 h 64"/>
                <a:gd name="T4" fmla="*/ 32 w 64"/>
                <a:gd name="T5" fmla="*/ 11 h 64"/>
                <a:gd name="T6" fmla="*/ 32 w 64"/>
                <a:gd name="T7" fmla="*/ 11 h 64"/>
                <a:gd name="T8" fmla="*/ 53 w 64"/>
                <a:gd name="T9" fmla="*/ 33 h 64"/>
                <a:gd name="T10" fmla="*/ 53 w 64"/>
                <a:gd name="T11" fmla="*/ 33 h 64"/>
                <a:gd name="T12" fmla="*/ 32 w 64"/>
                <a:gd name="T13" fmla="*/ 53 h 64"/>
                <a:gd name="T14" fmla="*/ 32 w 64"/>
                <a:gd name="T15" fmla="*/ 53 h 64"/>
                <a:gd name="T16" fmla="*/ 32 w 64"/>
                <a:gd name="T17" fmla="*/ 64 h 64"/>
                <a:gd name="T18" fmla="*/ 32 w 64"/>
                <a:gd name="T19" fmla="*/ 64 h 64"/>
                <a:gd name="T20" fmla="*/ 64 w 64"/>
                <a:gd name="T21" fmla="*/ 33 h 64"/>
                <a:gd name="T22" fmla="*/ 33 w 64"/>
                <a:gd name="T23" fmla="*/ 0 h 64"/>
                <a:gd name="T24" fmla="*/ 32 w 64"/>
                <a:gd name="T25" fmla="*/ 0 h 64"/>
                <a:gd name="T26" fmla="*/ 32 w 64"/>
                <a:gd name="T27" fmla="*/ 0 h 64"/>
                <a:gd name="T28" fmla="*/ 0 w 64"/>
                <a:gd name="T29" fmla="*/ 31 h 64"/>
                <a:gd name="T30" fmla="*/ 31 w 64"/>
                <a:gd name="T31" fmla="*/ 64 h 64"/>
                <a:gd name="T32" fmla="*/ 32 w 64"/>
                <a:gd name="T33" fmla="*/ 64 h 64"/>
                <a:gd name="T34" fmla="*/ 32 w 64"/>
                <a:gd name="T35" fmla="*/ 53 h 64"/>
                <a:gd name="T36" fmla="*/ 31 w 64"/>
                <a:gd name="T37" fmla="*/ 53 h 64"/>
                <a:gd name="T38" fmla="*/ 11 w 64"/>
                <a:gd name="T39" fmla="*/ 32 h 64"/>
                <a:gd name="T40" fmla="*/ 32 w 64"/>
                <a:gd name="T41" fmla="*/ 11 h 64"/>
                <a:gd name="T42" fmla="*/ 32 w 64"/>
                <a:gd name="T43" fmla="*/ 11 h 64"/>
                <a:gd name="T44" fmla="*/ 32 w 64"/>
                <a:gd name="T4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64">
                  <a:moveTo>
                    <a:pt x="33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44" y="11"/>
                    <a:pt x="53" y="21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44"/>
                    <a:pt x="43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49" y="64"/>
                    <a:pt x="63" y="50"/>
                    <a:pt x="64" y="33"/>
                  </a:cubicBezTo>
                  <a:cubicBezTo>
                    <a:pt x="64" y="15"/>
                    <a:pt x="50" y="1"/>
                    <a:pt x="33" y="0"/>
                  </a:cubicBezTo>
                  <a:close/>
                  <a:moveTo>
                    <a:pt x="3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1" y="14"/>
                    <a:pt x="0" y="31"/>
                  </a:cubicBezTo>
                  <a:cubicBezTo>
                    <a:pt x="0" y="49"/>
                    <a:pt x="14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0" y="53"/>
                    <a:pt x="10" y="43"/>
                    <a:pt x="11" y="32"/>
                  </a:cubicBezTo>
                  <a:cubicBezTo>
                    <a:pt x="11" y="20"/>
                    <a:pt x="20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9" name="ïṥḷíḓê">
              <a:extLst>
                <a:ext uri="{FF2B5EF4-FFF2-40B4-BE49-F238E27FC236}">
                  <a16:creationId xmlns:a16="http://schemas.microsoft.com/office/drawing/2014/main" id="{43118B9F-44E4-4FCD-A0D0-E96A812E625D}"/>
                </a:ext>
              </a:extLst>
            </p:cNvPr>
            <p:cNvSpPr/>
            <p:nvPr/>
          </p:nvSpPr>
          <p:spPr bwMode="auto">
            <a:xfrm flipH="1">
              <a:off x="3307768" y="4478436"/>
              <a:ext cx="123090" cy="109177"/>
            </a:xfrm>
            <a:custGeom>
              <a:avLst/>
              <a:gdLst>
                <a:gd name="T0" fmla="*/ 27 w 57"/>
                <a:gd name="T1" fmla="*/ 7 h 54"/>
                <a:gd name="T2" fmla="*/ 23 w 57"/>
                <a:gd name="T3" fmla="*/ 0 h 54"/>
                <a:gd name="T4" fmla="*/ 5 w 57"/>
                <a:gd name="T5" fmla="*/ 17 h 54"/>
                <a:gd name="T6" fmla="*/ 15 w 57"/>
                <a:gd name="T7" fmla="*/ 50 h 54"/>
                <a:gd name="T8" fmla="*/ 29 w 57"/>
                <a:gd name="T9" fmla="*/ 54 h 54"/>
                <a:gd name="T10" fmla="*/ 48 w 57"/>
                <a:gd name="T11" fmla="*/ 46 h 54"/>
                <a:gd name="T12" fmla="*/ 57 w 57"/>
                <a:gd name="T13" fmla="*/ 23 h 54"/>
                <a:gd name="T14" fmla="*/ 56 w 57"/>
                <a:gd name="T15" fmla="*/ 23 h 54"/>
                <a:gd name="T16" fmla="*/ 56 w 57"/>
                <a:gd name="T17" fmla="*/ 23 h 54"/>
                <a:gd name="T18" fmla="*/ 50 w 57"/>
                <a:gd name="T19" fmla="*/ 22 h 54"/>
                <a:gd name="T20" fmla="*/ 44 w 57"/>
                <a:gd name="T21" fmla="*/ 32 h 54"/>
                <a:gd name="T22" fmla="*/ 31 w 57"/>
                <a:gd name="T23" fmla="*/ 38 h 54"/>
                <a:gd name="T24" fmla="*/ 24 w 57"/>
                <a:gd name="T25" fmla="*/ 36 h 54"/>
                <a:gd name="T26" fmla="*/ 20 w 57"/>
                <a:gd name="T27" fmla="*/ 16 h 54"/>
                <a:gd name="T28" fmla="*/ 27 w 57"/>
                <a:gd name="T29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4">
                  <a:moveTo>
                    <a:pt x="27" y="7"/>
                  </a:moveTo>
                  <a:cubicBezTo>
                    <a:pt x="25" y="5"/>
                    <a:pt x="24" y="2"/>
                    <a:pt x="23" y="0"/>
                  </a:cubicBezTo>
                  <a:cubicBezTo>
                    <a:pt x="15" y="5"/>
                    <a:pt x="9" y="10"/>
                    <a:pt x="5" y="17"/>
                  </a:cubicBezTo>
                  <a:cubicBezTo>
                    <a:pt x="0" y="28"/>
                    <a:pt x="3" y="43"/>
                    <a:pt x="15" y="50"/>
                  </a:cubicBezTo>
                  <a:cubicBezTo>
                    <a:pt x="19" y="53"/>
                    <a:pt x="24" y="54"/>
                    <a:pt x="29" y="54"/>
                  </a:cubicBezTo>
                  <a:cubicBezTo>
                    <a:pt x="36" y="54"/>
                    <a:pt x="43" y="51"/>
                    <a:pt x="48" y="46"/>
                  </a:cubicBezTo>
                  <a:cubicBezTo>
                    <a:pt x="54" y="40"/>
                    <a:pt x="56" y="32"/>
                    <a:pt x="57" y="23"/>
                  </a:cubicBezTo>
                  <a:cubicBezTo>
                    <a:pt x="57" y="23"/>
                    <a:pt x="56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4" y="23"/>
                    <a:pt x="52" y="22"/>
                    <a:pt x="50" y="22"/>
                  </a:cubicBezTo>
                  <a:cubicBezTo>
                    <a:pt x="48" y="26"/>
                    <a:pt x="46" y="30"/>
                    <a:pt x="44" y="32"/>
                  </a:cubicBezTo>
                  <a:cubicBezTo>
                    <a:pt x="40" y="36"/>
                    <a:pt x="36" y="38"/>
                    <a:pt x="31" y="38"/>
                  </a:cubicBezTo>
                  <a:cubicBezTo>
                    <a:pt x="29" y="38"/>
                    <a:pt x="26" y="37"/>
                    <a:pt x="24" y="36"/>
                  </a:cubicBezTo>
                  <a:cubicBezTo>
                    <a:pt x="18" y="32"/>
                    <a:pt x="16" y="24"/>
                    <a:pt x="20" y="16"/>
                  </a:cubicBezTo>
                  <a:cubicBezTo>
                    <a:pt x="21" y="13"/>
                    <a:pt x="23" y="10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0" name="ïşľíḑe">
              <a:extLst>
                <a:ext uri="{FF2B5EF4-FFF2-40B4-BE49-F238E27FC236}">
                  <a16:creationId xmlns:a16="http://schemas.microsoft.com/office/drawing/2014/main" id="{CB5CCC82-87CD-48AF-AF29-0A964ACFC54E}"/>
                </a:ext>
              </a:extLst>
            </p:cNvPr>
            <p:cNvSpPr/>
            <p:nvPr/>
          </p:nvSpPr>
          <p:spPr bwMode="auto">
            <a:xfrm flipH="1">
              <a:off x="3178296" y="4472418"/>
              <a:ext cx="125825" cy="111756"/>
            </a:xfrm>
            <a:custGeom>
              <a:avLst/>
              <a:gdLst>
                <a:gd name="T0" fmla="*/ 45 w 58"/>
                <a:gd name="T1" fmla="*/ 49 h 55"/>
                <a:gd name="T2" fmla="*/ 51 w 58"/>
                <a:gd name="T3" fmla="*/ 16 h 55"/>
                <a:gd name="T4" fmla="*/ 33 w 58"/>
                <a:gd name="T5" fmla="*/ 0 h 55"/>
                <a:gd name="T6" fmla="*/ 30 w 58"/>
                <a:gd name="T7" fmla="*/ 7 h 55"/>
                <a:gd name="T8" fmla="*/ 37 w 58"/>
                <a:gd name="T9" fmla="*/ 16 h 55"/>
                <a:gd name="T10" fmla="*/ 34 w 58"/>
                <a:gd name="T11" fmla="*/ 36 h 55"/>
                <a:gd name="T12" fmla="*/ 26 w 58"/>
                <a:gd name="T13" fmla="*/ 39 h 55"/>
                <a:gd name="T14" fmla="*/ 15 w 58"/>
                <a:gd name="T15" fmla="*/ 34 h 55"/>
                <a:gd name="T16" fmla="*/ 7 w 58"/>
                <a:gd name="T17" fmla="*/ 24 h 55"/>
                <a:gd name="T18" fmla="*/ 0 w 58"/>
                <a:gd name="T19" fmla="*/ 26 h 55"/>
                <a:gd name="T20" fmla="*/ 3 w 58"/>
                <a:gd name="T21" fmla="*/ 37 h 55"/>
                <a:gd name="T22" fmla="*/ 5 w 58"/>
                <a:gd name="T23" fmla="*/ 39 h 55"/>
                <a:gd name="T24" fmla="*/ 11 w 58"/>
                <a:gd name="T25" fmla="*/ 48 h 55"/>
                <a:gd name="T26" fmla="*/ 29 w 58"/>
                <a:gd name="T27" fmla="*/ 55 h 55"/>
                <a:gd name="T28" fmla="*/ 45 w 58"/>
                <a:gd name="T29" fmla="*/ 4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5">
                  <a:moveTo>
                    <a:pt x="45" y="49"/>
                  </a:moveTo>
                  <a:cubicBezTo>
                    <a:pt x="56" y="41"/>
                    <a:pt x="58" y="26"/>
                    <a:pt x="51" y="16"/>
                  </a:cubicBezTo>
                  <a:cubicBezTo>
                    <a:pt x="47" y="9"/>
                    <a:pt x="41" y="4"/>
                    <a:pt x="33" y="0"/>
                  </a:cubicBezTo>
                  <a:cubicBezTo>
                    <a:pt x="32" y="3"/>
                    <a:pt x="31" y="5"/>
                    <a:pt x="30" y="7"/>
                  </a:cubicBezTo>
                  <a:cubicBezTo>
                    <a:pt x="33" y="10"/>
                    <a:pt x="35" y="13"/>
                    <a:pt x="37" y="16"/>
                  </a:cubicBezTo>
                  <a:cubicBezTo>
                    <a:pt x="41" y="23"/>
                    <a:pt x="40" y="31"/>
                    <a:pt x="34" y="36"/>
                  </a:cubicBezTo>
                  <a:cubicBezTo>
                    <a:pt x="32" y="38"/>
                    <a:pt x="29" y="39"/>
                    <a:pt x="26" y="39"/>
                  </a:cubicBezTo>
                  <a:cubicBezTo>
                    <a:pt x="22" y="39"/>
                    <a:pt x="18" y="37"/>
                    <a:pt x="15" y="34"/>
                  </a:cubicBezTo>
                  <a:cubicBezTo>
                    <a:pt x="12" y="32"/>
                    <a:pt x="9" y="28"/>
                    <a:pt x="7" y="24"/>
                  </a:cubicBezTo>
                  <a:cubicBezTo>
                    <a:pt x="5" y="25"/>
                    <a:pt x="3" y="25"/>
                    <a:pt x="0" y="26"/>
                  </a:cubicBezTo>
                  <a:cubicBezTo>
                    <a:pt x="1" y="30"/>
                    <a:pt x="2" y="33"/>
                    <a:pt x="3" y="37"/>
                  </a:cubicBezTo>
                  <a:cubicBezTo>
                    <a:pt x="4" y="38"/>
                    <a:pt x="4" y="38"/>
                    <a:pt x="5" y="39"/>
                  </a:cubicBezTo>
                  <a:cubicBezTo>
                    <a:pt x="6" y="43"/>
                    <a:pt x="8" y="45"/>
                    <a:pt x="11" y="48"/>
                  </a:cubicBezTo>
                  <a:cubicBezTo>
                    <a:pt x="16" y="52"/>
                    <a:pt x="22" y="55"/>
                    <a:pt x="29" y="55"/>
                  </a:cubicBezTo>
                  <a:cubicBezTo>
                    <a:pt x="34" y="55"/>
                    <a:pt x="40" y="53"/>
                    <a:pt x="45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1" name="íṣľîḑè">
              <a:extLst>
                <a:ext uri="{FF2B5EF4-FFF2-40B4-BE49-F238E27FC236}">
                  <a16:creationId xmlns:a16="http://schemas.microsoft.com/office/drawing/2014/main" id="{27716E1C-A6DA-4E9C-9256-87A0034B74D7}"/>
                </a:ext>
              </a:extLst>
            </p:cNvPr>
            <p:cNvSpPr/>
            <p:nvPr/>
          </p:nvSpPr>
          <p:spPr bwMode="auto">
            <a:xfrm flipH="1">
              <a:off x="3359740" y="4370119"/>
              <a:ext cx="114884" cy="108317"/>
            </a:xfrm>
            <a:custGeom>
              <a:avLst/>
              <a:gdLst>
                <a:gd name="T0" fmla="*/ 18 w 53"/>
                <a:gd name="T1" fmla="*/ 50 h 53"/>
                <a:gd name="T2" fmla="*/ 31 w 53"/>
                <a:gd name="T3" fmla="*/ 53 h 53"/>
                <a:gd name="T4" fmla="*/ 43 w 53"/>
                <a:gd name="T5" fmla="*/ 51 h 53"/>
                <a:gd name="T6" fmla="*/ 41 w 53"/>
                <a:gd name="T7" fmla="*/ 44 h 53"/>
                <a:gd name="T8" fmla="*/ 29 w 53"/>
                <a:gd name="T9" fmla="*/ 41 h 53"/>
                <a:gd name="T10" fmla="*/ 20 w 53"/>
                <a:gd name="T11" fmla="*/ 24 h 53"/>
                <a:gd name="T12" fmla="*/ 35 w 53"/>
                <a:gd name="T13" fmla="*/ 13 h 53"/>
                <a:gd name="T14" fmla="*/ 37 w 53"/>
                <a:gd name="T15" fmla="*/ 14 h 53"/>
                <a:gd name="T16" fmla="*/ 48 w 53"/>
                <a:gd name="T17" fmla="*/ 17 h 53"/>
                <a:gd name="T18" fmla="*/ 53 w 53"/>
                <a:gd name="T19" fmla="*/ 12 h 53"/>
                <a:gd name="T20" fmla="*/ 31 w 53"/>
                <a:gd name="T21" fmla="*/ 0 h 53"/>
                <a:gd name="T22" fmla="*/ 28 w 53"/>
                <a:gd name="T23" fmla="*/ 0 h 53"/>
                <a:gd name="T24" fmla="*/ 3 w 53"/>
                <a:gd name="T25" fmla="*/ 19 h 53"/>
                <a:gd name="T26" fmla="*/ 18 w 53"/>
                <a:gd name="T27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53">
                  <a:moveTo>
                    <a:pt x="18" y="50"/>
                  </a:moveTo>
                  <a:cubicBezTo>
                    <a:pt x="22" y="52"/>
                    <a:pt x="26" y="53"/>
                    <a:pt x="31" y="53"/>
                  </a:cubicBezTo>
                  <a:cubicBezTo>
                    <a:pt x="35" y="53"/>
                    <a:pt x="39" y="52"/>
                    <a:pt x="43" y="51"/>
                  </a:cubicBezTo>
                  <a:cubicBezTo>
                    <a:pt x="42" y="49"/>
                    <a:pt x="41" y="47"/>
                    <a:pt x="41" y="44"/>
                  </a:cubicBezTo>
                  <a:cubicBezTo>
                    <a:pt x="36" y="44"/>
                    <a:pt x="32" y="43"/>
                    <a:pt x="29" y="41"/>
                  </a:cubicBezTo>
                  <a:cubicBezTo>
                    <a:pt x="22" y="38"/>
                    <a:pt x="18" y="31"/>
                    <a:pt x="20" y="24"/>
                  </a:cubicBezTo>
                  <a:cubicBezTo>
                    <a:pt x="22" y="17"/>
                    <a:pt x="28" y="13"/>
                    <a:pt x="35" y="13"/>
                  </a:cubicBezTo>
                  <a:cubicBezTo>
                    <a:pt x="35" y="13"/>
                    <a:pt x="36" y="13"/>
                    <a:pt x="37" y="14"/>
                  </a:cubicBezTo>
                  <a:cubicBezTo>
                    <a:pt x="40" y="14"/>
                    <a:pt x="44" y="15"/>
                    <a:pt x="48" y="17"/>
                  </a:cubicBezTo>
                  <a:cubicBezTo>
                    <a:pt x="49" y="15"/>
                    <a:pt x="51" y="13"/>
                    <a:pt x="53" y="12"/>
                  </a:cubicBezTo>
                  <a:cubicBezTo>
                    <a:pt x="46" y="6"/>
                    <a:pt x="39" y="1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17" y="0"/>
                    <a:pt x="6" y="8"/>
                    <a:pt x="3" y="19"/>
                  </a:cubicBezTo>
                  <a:cubicBezTo>
                    <a:pt x="0" y="32"/>
                    <a:pt x="7" y="45"/>
                    <a:pt x="18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2" name="îsḻïdê">
              <a:extLst>
                <a:ext uri="{FF2B5EF4-FFF2-40B4-BE49-F238E27FC236}">
                  <a16:creationId xmlns:a16="http://schemas.microsoft.com/office/drawing/2014/main" id="{AB1A7F33-A725-4F4F-9791-FE8ED009F8CD}"/>
                </a:ext>
              </a:extLst>
            </p:cNvPr>
            <p:cNvSpPr/>
            <p:nvPr/>
          </p:nvSpPr>
          <p:spPr bwMode="auto">
            <a:xfrm flipH="1">
              <a:off x="4011662" y="4285012"/>
              <a:ext cx="82060" cy="134107"/>
            </a:xfrm>
            <a:custGeom>
              <a:avLst/>
              <a:gdLst>
                <a:gd name="T0" fmla="*/ 38 w 38"/>
                <a:gd name="T1" fmla="*/ 33 h 66"/>
                <a:gd name="T2" fmla="*/ 19 w 38"/>
                <a:gd name="T3" fmla="*/ 0 h 66"/>
                <a:gd name="T4" fmla="*/ 0 w 38"/>
                <a:gd name="T5" fmla="*/ 33 h 66"/>
                <a:gd name="T6" fmla="*/ 19 w 38"/>
                <a:gd name="T7" fmla="*/ 66 h 66"/>
                <a:gd name="T8" fmla="*/ 38 w 38"/>
                <a:gd name="T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6">
                  <a:moveTo>
                    <a:pt x="38" y="33"/>
                  </a:moveTo>
                  <a:cubicBezTo>
                    <a:pt x="38" y="21"/>
                    <a:pt x="31" y="5"/>
                    <a:pt x="19" y="0"/>
                  </a:cubicBezTo>
                  <a:cubicBezTo>
                    <a:pt x="8" y="5"/>
                    <a:pt x="0" y="21"/>
                    <a:pt x="0" y="33"/>
                  </a:cubicBezTo>
                  <a:cubicBezTo>
                    <a:pt x="0" y="45"/>
                    <a:pt x="8" y="62"/>
                    <a:pt x="19" y="66"/>
                  </a:cubicBezTo>
                  <a:cubicBezTo>
                    <a:pt x="31" y="62"/>
                    <a:pt x="38" y="45"/>
                    <a:pt x="3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3" name="îṧľîḋè">
              <a:extLst>
                <a:ext uri="{FF2B5EF4-FFF2-40B4-BE49-F238E27FC236}">
                  <a16:creationId xmlns:a16="http://schemas.microsoft.com/office/drawing/2014/main" id="{B0626A7E-9370-4B21-9FCC-DCF8DB411387}"/>
                </a:ext>
              </a:extLst>
            </p:cNvPr>
            <p:cNvSpPr/>
            <p:nvPr/>
          </p:nvSpPr>
          <p:spPr bwMode="auto">
            <a:xfrm flipH="1">
              <a:off x="3903160" y="4370119"/>
              <a:ext cx="132208" cy="99720"/>
            </a:xfrm>
            <a:custGeom>
              <a:avLst/>
              <a:gdLst>
                <a:gd name="T0" fmla="*/ 1 w 61"/>
                <a:gd name="T1" fmla="*/ 41 h 49"/>
                <a:gd name="T2" fmla="*/ 40 w 61"/>
                <a:gd name="T3" fmla="*/ 41 h 49"/>
                <a:gd name="T4" fmla="*/ 59 w 61"/>
                <a:gd name="T5" fmla="*/ 8 h 49"/>
                <a:gd name="T6" fmla="*/ 21 w 61"/>
                <a:gd name="T7" fmla="*/ 8 h 49"/>
                <a:gd name="T8" fmla="*/ 1 w 61"/>
                <a:gd name="T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9">
                  <a:moveTo>
                    <a:pt x="1" y="41"/>
                  </a:moveTo>
                  <a:cubicBezTo>
                    <a:pt x="11" y="49"/>
                    <a:pt x="30" y="47"/>
                    <a:pt x="40" y="41"/>
                  </a:cubicBezTo>
                  <a:cubicBezTo>
                    <a:pt x="50" y="35"/>
                    <a:pt x="61" y="21"/>
                    <a:pt x="59" y="8"/>
                  </a:cubicBezTo>
                  <a:cubicBezTo>
                    <a:pt x="50" y="0"/>
                    <a:pt x="31" y="2"/>
                    <a:pt x="21" y="8"/>
                  </a:cubicBezTo>
                  <a:cubicBezTo>
                    <a:pt x="11" y="14"/>
                    <a:pt x="0" y="28"/>
                    <a:pt x="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4" name="iŝľídè">
              <a:extLst>
                <a:ext uri="{FF2B5EF4-FFF2-40B4-BE49-F238E27FC236}">
                  <a16:creationId xmlns:a16="http://schemas.microsoft.com/office/drawing/2014/main" id="{15870DF1-E670-4094-A527-064EC9F752D2}"/>
                </a:ext>
              </a:extLst>
            </p:cNvPr>
            <p:cNvSpPr/>
            <p:nvPr/>
          </p:nvSpPr>
          <p:spPr bwMode="auto">
            <a:xfrm flipH="1">
              <a:off x="3903160" y="4469839"/>
              <a:ext cx="132208" cy="98001"/>
            </a:xfrm>
            <a:custGeom>
              <a:avLst/>
              <a:gdLst>
                <a:gd name="T0" fmla="*/ 40 w 61"/>
                <a:gd name="T1" fmla="*/ 40 h 48"/>
                <a:gd name="T2" fmla="*/ 59 w 61"/>
                <a:gd name="T3" fmla="*/ 8 h 48"/>
                <a:gd name="T4" fmla="*/ 21 w 61"/>
                <a:gd name="T5" fmla="*/ 7 h 48"/>
                <a:gd name="T6" fmla="*/ 1 w 61"/>
                <a:gd name="T7" fmla="*/ 40 h 48"/>
                <a:gd name="T8" fmla="*/ 40 w 61"/>
                <a:gd name="T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8">
                  <a:moveTo>
                    <a:pt x="40" y="40"/>
                  </a:moveTo>
                  <a:cubicBezTo>
                    <a:pt x="50" y="35"/>
                    <a:pt x="61" y="20"/>
                    <a:pt x="59" y="8"/>
                  </a:cubicBezTo>
                  <a:cubicBezTo>
                    <a:pt x="50" y="0"/>
                    <a:pt x="31" y="1"/>
                    <a:pt x="21" y="7"/>
                  </a:cubicBezTo>
                  <a:cubicBezTo>
                    <a:pt x="11" y="13"/>
                    <a:pt x="0" y="28"/>
                    <a:pt x="1" y="40"/>
                  </a:cubicBezTo>
                  <a:cubicBezTo>
                    <a:pt x="11" y="48"/>
                    <a:pt x="29" y="46"/>
                    <a:pt x="4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5" name="ïṧľíḑè">
              <a:extLst>
                <a:ext uri="{FF2B5EF4-FFF2-40B4-BE49-F238E27FC236}">
                  <a16:creationId xmlns:a16="http://schemas.microsoft.com/office/drawing/2014/main" id="{EB9A4461-C575-48EC-8D3F-A06B1508B45C}"/>
                </a:ext>
              </a:extLst>
            </p:cNvPr>
            <p:cNvSpPr/>
            <p:nvPr/>
          </p:nvSpPr>
          <p:spPr bwMode="auto">
            <a:xfrm flipH="1">
              <a:off x="4067280" y="4370119"/>
              <a:ext cx="132208" cy="99720"/>
            </a:xfrm>
            <a:custGeom>
              <a:avLst/>
              <a:gdLst>
                <a:gd name="T0" fmla="*/ 21 w 61"/>
                <a:gd name="T1" fmla="*/ 41 h 49"/>
                <a:gd name="T2" fmla="*/ 59 w 61"/>
                <a:gd name="T3" fmla="*/ 41 h 49"/>
                <a:gd name="T4" fmla="*/ 39 w 61"/>
                <a:gd name="T5" fmla="*/ 8 h 49"/>
                <a:gd name="T6" fmla="*/ 1 w 61"/>
                <a:gd name="T7" fmla="*/ 8 h 49"/>
                <a:gd name="T8" fmla="*/ 21 w 61"/>
                <a:gd name="T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9">
                  <a:moveTo>
                    <a:pt x="21" y="41"/>
                  </a:moveTo>
                  <a:cubicBezTo>
                    <a:pt x="31" y="47"/>
                    <a:pt x="49" y="49"/>
                    <a:pt x="59" y="41"/>
                  </a:cubicBezTo>
                  <a:cubicBezTo>
                    <a:pt x="61" y="28"/>
                    <a:pt x="50" y="14"/>
                    <a:pt x="39" y="8"/>
                  </a:cubicBezTo>
                  <a:cubicBezTo>
                    <a:pt x="29" y="2"/>
                    <a:pt x="11" y="0"/>
                    <a:pt x="1" y="8"/>
                  </a:cubicBezTo>
                  <a:cubicBezTo>
                    <a:pt x="0" y="21"/>
                    <a:pt x="11" y="35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6" name="í$ḷîdé">
              <a:extLst>
                <a:ext uri="{FF2B5EF4-FFF2-40B4-BE49-F238E27FC236}">
                  <a16:creationId xmlns:a16="http://schemas.microsoft.com/office/drawing/2014/main" id="{2A4C689B-0742-4648-BAD4-AD20B2774943}"/>
                </a:ext>
              </a:extLst>
            </p:cNvPr>
            <p:cNvSpPr/>
            <p:nvPr/>
          </p:nvSpPr>
          <p:spPr bwMode="auto">
            <a:xfrm flipH="1">
              <a:off x="4067280" y="4469839"/>
              <a:ext cx="132208" cy="98001"/>
            </a:xfrm>
            <a:custGeom>
              <a:avLst/>
              <a:gdLst>
                <a:gd name="T0" fmla="*/ 21 w 61"/>
                <a:gd name="T1" fmla="*/ 40 h 48"/>
                <a:gd name="T2" fmla="*/ 59 w 61"/>
                <a:gd name="T3" fmla="*/ 40 h 48"/>
                <a:gd name="T4" fmla="*/ 39 w 61"/>
                <a:gd name="T5" fmla="*/ 7 h 48"/>
                <a:gd name="T6" fmla="*/ 1 w 61"/>
                <a:gd name="T7" fmla="*/ 8 h 48"/>
                <a:gd name="T8" fmla="*/ 21 w 61"/>
                <a:gd name="T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8">
                  <a:moveTo>
                    <a:pt x="21" y="40"/>
                  </a:moveTo>
                  <a:cubicBezTo>
                    <a:pt x="31" y="46"/>
                    <a:pt x="49" y="48"/>
                    <a:pt x="59" y="40"/>
                  </a:cubicBezTo>
                  <a:cubicBezTo>
                    <a:pt x="61" y="28"/>
                    <a:pt x="50" y="13"/>
                    <a:pt x="39" y="7"/>
                  </a:cubicBezTo>
                  <a:cubicBezTo>
                    <a:pt x="29" y="1"/>
                    <a:pt x="11" y="0"/>
                    <a:pt x="1" y="8"/>
                  </a:cubicBezTo>
                  <a:cubicBezTo>
                    <a:pt x="0" y="20"/>
                    <a:pt x="11" y="35"/>
                    <a:pt x="21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7" name="íṥḷîdé">
              <a:extLst>
                <a:ext uri="{FF2B5EF4-FFF2-40B4-BE49-F238E27FC236}">
                  <a16:creationId xmlns:a16="http://schemas.microsoft.com/office/drawing/2014/main" id="{86F19790-E112-4E6C-BE0B-577FD1F8CD27}"/>
                </a:ext>
              </a:extLst>
            </p:cNvPr>
            <p:cNvSpPr/>
            <p:nvPr/>
          </p:nvSpPr>
          <p:spPr bwMode="auto">
            <a:xfrm flipH="1">
              <a:off x="4043574" y="4435453"/>
              <a:ext cx="15502" cy="156458"/>
            </a:xfrm>
            <a:custGeom>
              <a:avLst/>
              <a:gdLst>
                <a:gd name="T0" fmla="*/ 0 w 7"/>
                <a:gd name="T1" fmla="*/ 2 h 77"/>
                <a:gd name="T2" fmla="*/ 0 w 7"/>
                <a:gd name="T3" fmla="*/ 74 h 77"/>
                <a:gd name="T4" fmla="*/ 3 w 7"/>
                <a:gd name="T5" fmla="*/ 77 h 77"/>
                <a:gd name="T6" fmla="*/ 7 w 7"/>
                <a:gd name="T7" fmla="*/ 74 h 77"/>
                <a:gd name="T8" fmla="*/ 7 w 7"/>
                <a:gd name="T9" fmla="*/ 2 h 77"/>
                <a:gd name="T10" fmla="*/ 3 w 7"/>
                <a:gd name="T11" fmla="*/ 0 h 77"/>
                <a:gd name="T12" fmla="*/ 0 w 7"/>
                <a:gd name="T13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7">
                  <a:moveTo>
                    <a:pt x="0" y="2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76"/>
                    <a:pt x="1" y="77"/>
                    <a:pt x="3" y="77"/>
                  </a:cubicBezTo>
                  <a:cubicBezTo>
                    <a:pt x="5" y="77"/>
                    <a:pt x="7" y="76"/>
                    <a:pt x="7" y="7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8" name="îşľïďe">
              <a:extLst>
                <a:ext uri="{FF2B5EF4-FFF2-40B4-BE49-F238E27FC236}">
                  <a16:creationId xmlns:a16="http://schemas.microsoft.com/office/drawing/2014/main" id="{B5C70107-4B29-49EC-B6EE-DBD12C75FB5D}"/>
                </a:ext>
              </a:extLst>
            </p:cNvPr>
            <p:cNvSpPr/>
            <p:nvPr/>
          </p:nvSpPr>
          <p:spPr bwMode="auto">
            <a:xfrm flipH="1">
              <a:off x="4430168" y="2986068"/>
              <a:ext cx="28265" cy="134107"/>
            </a:xfrm>
            <a:custGeom>
              <a:avLst/>
              <a:gdLst>
                <a:gd name="T0" fmla="*/ 13 w 13"/>
                <a:gd name="T1" fmla="*/ 1 h 66"/>
                <a:gd name="T2" fmla="*/ 7 w 13"/>
                <a:gd name="T3" fmla="*/ 0 h 66"/>
                <a:gd name="T4" fmla="*/ 7 w 13"/>
                <a:gd name="T5" fmla="*/ 0 h 66"/>
                <a:gd name="T6" fmla="*/ 0 w 13"/>
                <a:gd name="T7" fmla="*/ 2 h 66"/>
                <a:gd name="T8" fmla="*/ 0 w 13"/>
                <a:gd name="T9" fmla="*/ 66 h 66"/>
                <a:gd name="T10" fmla="*/ 13 w 13"/>
                <a:gd name="T11" fmla="*/ 66 h 66"/>
                <a:gd name="T12" fmla="*/ 13 w 13"/>
                <a:gd name="T13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6">
                  <a:moveTo>
                    <a:pt x="13" y="1"/>
                  </a:moveTo>
                  <a:cubicBezTo>
                    <a:pt x="11" y="1"/>
                    <a:pt x="9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2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3" y="66"/>
                    <a:pt x="13" y="66"/>
                    <a:pt x="13" y="66"/>
                  </a:cubicBezTo>
                  <a:lnTo>
                    <a:pt x="1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9" name="í$ḷïdê">
              <a:extLst>
                <a:ext uri="{FF2B5EF4-FFF2-40B4-BE49-F238E27FC236}">
                  <a16:creationId xmlns:a16="http://schemas.microsoft.com/office/drawing/2014/main" id="{C4067BBC-0388-43D9-A313-7F6DFBF21F88}"/>
                </a:ext>
              </a:extLst>
            </p:cNvPr>
            <p:cNvSpPr/>
            <p:nvPr/>
          </p:nvSpPr>
          <p:spPr bwMode="auto">
            <a:xfrm flipH="1">
              <a:off x="4430168" y="2798663"/>
              <a:ext cx="28265" cy="18053"/>
            </a:xfrm>
            <a:custGeom>
              <a:avLst/>
              <a:gdLst>
                <a:gd name="T0" fmla="*/ 8 w 13"/>
                <a:gd name="T1" fmla="*/ 9 h 9"/>
                <a:gd name="T2" fmla="*/ 9 w 13"/>
                <a:gd name="T3" fmla="*/ 9 h 9"/>
                <a:gd name="T4" fmla="*/ 13 w 13"/>
                <a:gd name="T5" fmla="*/ 9 h 9"/>
                <a:gd name="T6" fmla="*/ 13 w 13"/>
                <a:gd name="T7" fmla="*/ 0 h 9"/>
                <a:gd name="T8" fmla="*/ 0 w 13"/>
                <a:gd name="T9" fmla="*/ 0 h 9"/>
                <a:gd name="T10" fmla="*/ 0 w 13"/>
                <a:gd name="T11" fmla="*/ 9 h 9"/>
                <a:gd name="T12" fmla="*/ 8 w 1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9">
                  <a:moveTo>
                    <a:pt x="8" y="9"/>
                  </a:moveTo>
                  <a:cubicBezTo>
                    <a:pt x="8" y="9"/>
                    <a:pt x="9" y="9"/>
                    <a:pt x="9" y="9"/>
                  </a:cubicBezTo>
                  <a:cubicBezTo>
                    <a:pt x="10" y="9"/>
                    <a:pt x="12" y="9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5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0" name="ïşļiḓê">
              <a:extLst>
                <a:ext uri="{FF2B5EF4-FFF2-40B4-BE49-F238E27FC236}">
                  <a16:creationId xmlns:a16="http://schemas.microsoft.com/office/drawing/2014/main" id="{04075345-C0BB-44B3-9CBB-19024E79ABCD}"/>
                </a:ext>
              </a:extLst>
            </p:cNvPr>
            <p:cNvSpPr/>
            <p:nvPr/>
          </p:nvSpPr>
          <p:spPr bwMode="auto">
            <a:xfrm flipH="1">
              <a:off x="4307078" y="2825313"/>
              <a:ext cx="267151" cy="186546"/>
            </a:xfrm>
            <a:custGeom>
              <a:avLst/>
              <a:gdLst>
                <a:gd name="T0" fmla="*/ 67 w 124"/>
                <a:gd name="T1" fmla="*/ 0 h 92"/>
                <a:gd name="T2" fmla="*/ 63 w 124"/>
                <a:gd name="T3" fmla="*/ 0 h 92"/>
                <a:gd name="T4" fmla="*/ 62 w 124"/>
                <a:gd name="T5" fmla="*/ 0 h 92"/>
                <a:gd name="T6" fmla="*/ 54 w 124"/>
                <a:gd name="T7" fmla="*/ 1 h 92"/>
                <a:gd name="T8" fmla="*/ 0 w 124"/>
                <a:gd name="T9" fmla="*/ 60 h 92"/>
                <a:gd name="T10" fmla="*/ 4 w 124"/>
                <a:gd name="T11" fmla="*/ 84 h 92"/>
                <a:gd name="T12" fmla="*/ 6 w 124"/>
                <a:gd name="T13" fmla="*/ 87 h 92"/>
                <a:gd name="T14" fmla="*/ 9 w 124"/>
                <a:gd name="T15" fmla="*/ 83 h 92"/>
                <a:gd name="T16" fmla="*/ 25 w 124"/>
                <a:gd name="T17" fmla="*/ 74 h 92"/>
                <a:gd name="T18" fmla="*/ 25 w 124"/>
                <a:gd name="T19" fmla="*/ 74 h 92"/>
                <a:gd name="T20" fmla="*/ 41 w 124"/>
                <a:gd name="T21" fmla="*/ 84 h 92"/>
                <a:gd name="T22" fmla="*/ 43 w 124"/>
                <a:gd name="T23" fmla="*/ 87 h 92"/>
                <a:gd name="T24" fmla="*/ 45 w 124"/>
                <a:gd name="T25" fmla="*/ 84 h 92"/>
                <a:gd name="T26" fmla="*/ 54 w 124"/>
                <a:gd name="T27" fmla="*/ 76 h 92"/>
                <a:gd name="T28" fmla="*/ 61 w 124"/>
                <a:gd name="T29" fmla="*/ 75 h 92"/>
                <a:gd name="T30" fmla="*/ 61 w 124"/>
                <a:gd name="T31" fmla="*/ 75 h 92"/>
                <a:gd name="T32" fmla="*/ 67 w 124"/>
                <a:gd name="T33" fmla="*/ 76 h 92"/>
                <a:gd name="T34" fmla="*/ 77 w 124"/>
                <a:gd name="T35" fmla="*/ 85 h 92"/>
                <a:gd name="T36" fmla="*/ 79 w 124"/>
                <a:gd name="T37" fmla="*/ 88 h 92"/>
                <a:gd name="T38" fmla="*/ 81 w 124"/>
                <a:gd name="T39" fmla="*/ 85 h 92"/>
                <a:gd name="T40" fmla="*/ 96 w 124"/>
                <a:gd name="T41" fmla="*/ 75 h 92"/>
                <a:gd name="T42" fmla="*/ 97 w 124"/>
                <a:gd name="T43" fmla="*/ 75 h 92"/>
                <a:gd name="T44" fmla="*/ 112 w 124"/>
                <a:gd name="T45" fmla="*/ 86 h 92"/>
                <a:gd name="T46" fmla="*/ 114 w 124"/>
                <a:gd name="T47" fmla="*/ 90 h 92"/>
                <a:gd name="T48" fmla="*/ 115 w 124"/>
                <a:gd name="T49" fmla="*/ 92 h 92"/>
                <a:gd name="T50" fmla="*/ 116 w 124"/>
                <a:gd name="T51" fmla="*/ 90 h 92"/>
                <a:gd name="T52" fmla="*/ 118 w 124"/>
                <a:gd name="T53" fmla="*/ 87 h 92"/>
                <a:gd name="T54" fmla="*/ 123 w 124"/>
                <a:gd name="T55" fmla="*/ 63 h 92"/>
                <a:gd name="T56" fmla="*/ 67 w 124"/>
                <a:gd name="T5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4" h="92">
                  <a:moveTo>
                    <a:pt x="67" y="0"/>
                  </a:moveTo>
                  <a:cubicBezTo>
                    <a:pt x="66" y="0"/>
                    <a:pt x="64" y="0"/>
                    <a:pt x="6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9" y="0"/>
                    <a:pt x="56" y="0"/>
                    <a:pt x="54" y="1"/>
                  </a:cubicBezTo>
                  <a:cubicBezTo>
                    <a:pt x="24" y="4"/>
                    <a:pt x="1" y="29"/>
                    <a:pt x="0" y="60"/>
                  </a:cubicBezTo>
                  <a:cubicBezTo>
                    <a:pt x="0" y="69"/>
                    <a:pt x="1" y="76"/>
                    <a:pt x="4" y="84"/>
                  </a:cubicBezTo>
                  <a:cubicBezTo>
                    <a:pt x="4" y="86"/>
                    <a:pt x="5" y="87"/>
                    <a:pt x="6" y="87"/>
                  </a:cubicBezTo>
                  <a:cubicBezTo>
                    <a:pt x="7" y="87"/>
                    <a:pt x="8" y="85"/>
                    <a:pt x="9" y="83"/>
                  </a:cubicBezTo>
                  <a:cubicBezTo>
                    <a:pt x="12" y="78"/>
                    <a:pt x="18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32" y="74"/>
                    <a:pt x="38" y="78"/>
                    <a:pt x="41" y="84"/>
                  </a:cubicBezTo>
                  <a:cubicBezTo>
                    <a:pt x="42" y="86"/>
                    <a:pt x="42" y="87"/>
                    <a:pt x="43" y="87"/>
                  </a:cubicBezTo>
                  <a:cubicBezTo>
                    <a:pt x="43" y="87"/>
                    <a:pt x="44" y="86"/>
                    <a:pt x="45" y="84"/>
                  </a:cubicBezTo>
                  <a:cubicBezTo>
                    <a:pt x="47" y="80"/>
                    <a:pt x="50" y="77"/>
                    <a:pt x="54" y="76"/>
                  </a:cubicBezTo>
                  <a:cubicBezTo>
                    <a:pt x="56" y="75"/>
                    <a:pt x="58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3" y="75"/>
                    <a:pt x="65" y="75"/>
                    <a:pt x="67" y="76"/>
                  </a:cubicBezTo>
                  <a:cubicBezTo>
                    <a:pt x="71" y="77"/>
                    <a:pt x="75" y="81"/>
                    <a:pt x="77" y="85"/>
                  </a:cubicBezTo>
                  <a:cubicBezTo>
                    <a:pt x="78" y="87"/>
                    <a:pt x="78" y="88"/>
                    <a:pt x="79" y="88"/>
                  </a:cubicBezTo>
                  <a:cubicBezTo>
                    <a:pt x="79" y="88"/>
                    <a:pt x="80" y="87"/>
                    <a:pt x="81" y="85"/>
                  </a:cubicBezTo>
                  <a:cubicBezTo>
                    <a:pt x="84" y="79"/>
                    <a:pt x="89" y="75"/>
                    <a:pt x="96" y="75"/>
                  </a:cubicBezTo>
                  <a:cubicBezTo>
                    <a:pt x="96" y="75"/>
                    <a:pt x="97" y="75"/>
                    <a:pt x="97" y="75"/>
                  </a:cubicBezTo>
                  <a:cubicBezTo>
                    <a:pt x="104" y="76"/>
                    <a:pt x="110" y="80"/>
                    <a:pt x="112" y="86"/>
                  </a:cubicBezTo>
                  <a:cubicBezTo>
                    <a:pt x="113" y="87"/>
                    <a:pt x="113" y="89"/>
                    <a:pt x="114" y="90"/>
                  </a:cubicBezTo>
                  <a:cubicBezTo>
                    <a:pt x="114" y="91"/>
                    <a:pt x="114" y="92"/>
                    <a:pt x="115" y="92"/>
                  </a:cubicBezTo>
                  <a:cubicBezTo>
                    <a:pt x="115" y="92"/>
                    <a:pt x="116" y="91"/>
                    <a:pt x="116" y="90"/>
                  </a:cubicBezTo>
                  <a:cubicBezTo>
                    <a:pt x="117" y="89"/>
                    <a:pt x="117" y="88"/>
                    <a:pt x="118" y="87"/>
                  </a:cubicBezTo>
                  <a:cubicBezTo>
                    <a:pt x="121" y="79"/>
                    <a:pt x="123" y="72"/>
                    <a:pt x="123" y="63"/>
                  </a:cubicBezTo>
                  <a:cubicBezTo>
                    <a:pt x="124" y="31"/>
                    <a:pt x="99" y="3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1" name="iṡļíḑê">
              <a:extLst>
                <a:ext uri="{FF2B5EF4-FFF2-40B4-BE49-F238E27FC236}">
                  <a16:creationId xmlns:a16="http://schemas.microsoft.com/office/drawing/2014/main" id="{BA584810-A94A-4185-B46D-C3C8344CBF3F}"/>
                </a:ext>
              </a:extLst>
            </p:cNvPr>
            <p:cNvSpPr/>
            <p:nvPr/>
          </p:nvSpPr>
          <p:spPr bwMode="auto">
            <a:xfrm flipH="1">
              <a:off x="1507005" y="5472201"/>
              <a:ext cx="103031" cy="71352"/>
            </a:xfrm>
            <a:custGeom>
              <a:avLst/>
              <a:gdLst>
                <a:gd name="T0" fmla="*/ 31 w 48"/>
                <a:gd name="T1" fmla="*/ 11 h 35"/>
                <a:gd name="T2" fmla="*/ 42 w 48"/>
                <a:gd name="T3" fmla="*/ 3 h 35"/>
                <a:gd name="T4" fmla="*/ 48 w 48"/>
                <a:gd name="T5" fmla="*/ 1 h 35"/>
                <a:gd name="T6" fmla="*/ 28 w 48"/>
                <a:gd name="T7" fmla="*/ 3 h 35"/>
                <a:gd name="T8" fmla="*/ 15 w 48"/>
                <a:gd name="T9" fmla="*/ 13 h 35"/>
                <a:gd name="T10" fmla="*/ 10 w 48"/>
                <a:gd name="T11" fmla="*/ 23 h 35"/>
                <a:gd name="T12" fmla="*/ 0 w 48"/>
                <a:gd name="T13" fmla="*/ 35 h 35"/>
                <a:gd name="T14" fmla="*/ 16 w 48"/>
                <a:gd name="T15" fmla="*/ 28 h 35"/>
                <a:gd name="T16" fmla="*/ 31 w 48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35">
                  <a:moveTo>
                    <a:pt x="31" y="11"/>
                  </a:moveTo>
                  <a:cubicBezTo>
                    <a:pt x="34" y="7"/>
                    <a:pt x="38" y="5"/>
                    <a:pt x="42" y="3"/>
                  </a:cubicBezTo>
                  <a:cubicBezTo>
                    <a:pt x="43" y="3"/>
                    <a:pt x="46" y="1"/>
                    <a:pt x="48" y="1"/>
                  </a:cubicBezTo>
                  <a:cubicBezTo>
                    <a:pt x="41" y="1"/>
                    <a:pt x="34" y="0"/>
                    <a:pt x="28" y="3"/>
                  </a:cubicBezTo>
                  <a:cubicBezTo>
                    <a:pt x="23" y="5"/>
                    <a:pt x="19" y="9"/>
                    <a:pt x="15" y="13"/>
                  </a:cubicBezTo>
                  <a:cubicBezTo>
                    <a:pt x="13" y="16"/>
                    <a:pt x="11" y="20"/>
                    <a:pt x="10" y="23"/>
                  </a:cubicBezTo>
                  <a:cubicBezTo>
                    <a:pt x="7" y="27"/>
                    <a:pt x="5" y="33"/>
                    <a:pt x="0" y="35"/>
                  </a:cubicBezTo>
                  <a:cubicBezTo>
                    <a:pt x="6" y="34"/>
                    <a:pt x="12" y="31"/>
                    <a:pt x="16" y="28"/>
                  </a:cubicBezTo>
                  <a:cubicBezTo>
                    <a:pt x="22" y="23"/>
                    <a:pt x="26" y="16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2" name="išļïḋé">
              <a:extLst>
                <a:ext uri="{FF2B5EF4-FFF2-40B4-BE49-F238E27FC236}">
                  <a16:creationId xmlns:a16="http://schemas.microsoft.com/office/drawing/2014/main" id="{ADF49ADC-5DD9-4DDD-9799-4DE11FBA0AC7}"/>
                </a:ext>
              </a:extLst>
            </p:cNvPr>
            <p:cNvSpPr/>
            <p:nvPr/>
          </p:nvSpPr>
          <p:spPr bwMode="auto">
            <a:xfrm flipH="1">
              <a:off x="1467799" y="5474780"/>
              <a:ext cx="135855" cy="86826"/>
            </a:xfrm>
            <a:custGeom>
              <a:avLst/>
              <a:gdLst>
                <a:gd name="T0" fmla="*/ 41 w 63"/>
                <a:gd name="T1" fmla="*/ 5 h 43"/>
                <a:gd name="T2" fmla="*/ 26 w 63"/>
                <a:gd name="T3" fmla="*/ 19 h 43"/>
                <a:gd name="T4" fmla="*/ 14 w 63"/>
                <a:gd name="T5" fmla="*/ 31 h 43"/>
                <a:gd name="T6" fmla="*/ 0 w 63"/>
                <a:gd name="T7" fmla="*/ 36 h 43"/>
                <a:gd name="T8" fmla="*/ 35 w 63"/>
                <a:gd name="T9" fmla="*/ 36 h 43"/>
                <a:gd name="T10" fmla="*/ 53 w 63"/>
                <a:gd name="T11" fmla="*/ 11 h 43"/>
                <a:gd name="T12" fmla="*/ 60 w 63"/>
                <a:gd name="T13" fmla="*/ 3 h 43"/>
                <a:gd name="T14" fmla="*/ 63 w 63"/>
                <a:gd name="T15" fmla="*/ 1 h 43"/>
                <a:gd name="T16" fmla="*/ 41 w 63"/>
                <a:gd name="T17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3">
                  <a:moveTo>
                    <a:pt x="41" y="5"/>
                  </a:moveTo>
                  <a:cubicBezTo>
                    <a:pt x="34" y="8"/>
                    <a:pt x="30" y="13"/>
                    <a:pt x="26" y="19"/>
                  </a:cubicBezTo>
                  <a:cubicBezTo>
                    <a:pt x="22" y="23"/>
                    <a:pt x="18" y="28"/>
                    <a:pt x="14" y="31"/>
                  </a:cubicBezTo>
                  <a:cubicBezTo>
                    <a:pt x="10" y="33"/>
                    <a:pt x="5" y="36"/>
                    <a:pt x="0" y="36"/>
                  </a:cubicBezTo>
                  <a:cubicBezTo>
                    <a:pt x="11" y="43"/>
                    <a:pt x="24" y="42"/>
                    <a:pt x="35" y="36"/>
                  </a:cubicBezTo>
                  <a:cubicBezTo>
                    <a:pt x="44" y="30"/>
                    <a:pt x="48" y="20"/>
                    <a:pt x="53" y="11"/>
                  </a:cubicBezTo>
                  <a:cubicBezTo>
                    <a:pt x="55" y="8"/>
                    <a:pt x="57" y="6"/>
                    <a:pt x="60" y="3"/>
                  </a:cubicBezTo>
                  <a:cubicBezTo>
                    <a:pt x="60" y="3"/>
                    <a:pt x="62" y="1"/>
                    <a:pt x="63" y="1"/>
                  </a:cubicBezTo>
                  <a:cubicBezTo>
                    <a:pt x="56" y="0"/>
                    <a:pt x="48" y="1"/>
                    <a:pt x="4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3" name="îṣļïḓe">
              <a:extLst>
                <a:ext uri="{FF2B5EF4-FFF2-40B4-BE49-F238E27FC236}">
                  <a16:creationId xmlns:a16="http://schemas.microsoft.com/office/drawing/2014/main" id="{73A3FEEB-43CB-4CCA-87CD-9EC107E60F5F}"/>
                </a:ext>
              </a:extLst>
            </p:cNvPr>
            <p:cNvSpPr/>
            <p:nvPr/>
          </p:nvSpPr>
          <p:spPr bwMode="auto">
            <a:xfrm flipH="1">
              <a:off x="1521594" y="5401709"/>
              <a:ext cx="88443" cy="58457"/>
            </a:xfrm>
            <a:custGeom>
              <a:avLst/>
              <a:gdLst>
                <a:gd name="T0" fmla="*/ 13 w 41"/>
                <a:gd name="T1" fmla="*/ 11 h 29"/>
                <a:gd name="T2" fmla="*/ 8 w 41"/>
                <a:gd name="T3" fmla="*/ 19 h 29"/>
                <a:gd name="T4" fmla="*/ 0 w 41"/>
                <a:gd name="T5" fmla="*/ 29 h 29"/>
                <a:gd name="T6" fmla="*/ 14 w 41"/>
                <a:gd name="T7" fmla="*/ 23 h 29"/>
                <a:gd name="T8" fmla="*/ 27 w 41"/>
                <a:gd name="T9" fmla="*/ 9 h 29"/>
                <a:gd name="T10" fmla="*/ 36 w 41"/>
                <a:gd name="T11" fmla="*/ 2 h 29"/>
                <a:gd name="T12" fmla="*/ 41 w 41"/>
                <a:gd name="T13" fmla="*/ 1 h 29"/>
                <a:gd name="T14" fmla="*/ 24 w 41"/>
                <a:gd name="T15" fmla="*/ 2 h 29"/>
                <a:gd name="T16" fmla="*/ 13 w 41"/>
                <a:gd name="T17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29">
                  <a:moveTo>
                    <a:pt x="13" y="11"/>
                  </a:moveTo>
                  <a:cubicBezTo>
                    <a:pt x="11" y="14"/>
                    <a:pt x="10" y="16"/>
                    <a:pt x="8" y="19"/>
                  </a:cubicBezTo>
                  <a:cubicBezTo>
                    <a:pt x="7" y="23"/>
                    <a:pt x="4" y="28"/>
                    <a:pt x="0" y="29"/>
                  </a:cubicBezTo>
                  <a:cubicBezTo>
                    <a:pt x="5" y="29"/>
                    <a:pt x="10" y="26"/>
                    <a:pt x="14" y="23"/>
                  </a:cubicBezTo>
                  <a:cubicBezTo>
                    <a:pt x="19" y="19"/>
                    <a:pt x="22" y="13"/>
                    <a:pt x="27" y="9"/>
                  </a:cubicBezTo>
                  <a:cubicBezTo>
                    <a:pt x="29" y="6"/>
                    <a:pt x="33" y="4"/>
                    <a:pt x="36" y="2"/>
                  </a:cubicBezTo>
                  <a:cubicBezTo>
                    <a:pt x="37" y="2"/>
                    <a:pt x="40" y="0"/>
                    <a:pt x="41" y="1"/>
                  </a:cubicBezTo>
                  <a:cubicBezTo>
                    <a:pt x="36" y="0"/>
                    <a:pt x="30" y="0"/>
                    <a:pt x="24" y="2"/>
                  </a:cubicBezTo>
                  <a:cubicBezTo>
                    <a:pt x="20" y="4"/>
                    <a:pt x="16" y="7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4" name="ïşḷíďè">
              <a:extLst>
                <a:ext uri="{FF2B5EF4-FFF2-40B4-BE49-F238E27FC236}">
                  <a16:creationId xmlns:a16="http://schemas.microsoft.com/office/drawing/2014/main" id="{88D7094A-56F8-4779-92BB-80FCB4E75230}"/>
                </a:ext>
              </a:extLst>
            </p:cNvPr>
            <p:cNvSpPr/>
            <p:nvPr/>
          </p:nvSpPr>
          <p:spPr bwMode="auto">
            <a:xfrm flipH="1">
              <a:off x="1486946" y="5403428"/>
              <a:ext cx="116708" cy="73071"/>
            </a:xfrm>
            <a:custGeom>
              <a:avLst/>
              <a:gdLst>
                <a:gd name="T0" fmla="*/ 51 w 54"/>
                <a:gd name="T1" fmla="*/ 2 h 36"/>
                <a:gd name="T2" fmla="*/ 54 w 54"/>
                <a:gd name="T3" fmla="*/ 0 h 36"/>
                <a:gd name="T4" fmla="*/ 35 w 54"/>
                <a:gd name="T5" fmla="*/ 4 h 36"/>
                <a:gd name="T6" fmla="*/ 22 w 54"/>
                <a:gd name="T7" fmla="*/ 15 h 36"/>
                <a:gd name="T8" fmla="*/ 12 w 54"/>
                <a:gd name="T9" fmla="*/ 26 h 36"/>
                <a:gd name="T10" fmla="*/ 0 w 54"/>
                <a:gd name="T11" fmla="*/ 30 h 36"/>
                <a:gd name="T12" fmla="*/ 30 w 54"/>
                <a:gd name="T13" fmla="*/ 30 h 36"/>
                <a:gd name="T14" fmla="*/ 46 w 54"/>
                <a:gd name="T15" fmla="*/ 9 h 36"/>
                <a:gd name="T16" fmla="*/ 51 w 54"/>
                <a:gd name="T17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6">
                  <a:moveTo>
                    <a:pt x="51" y="2"/>
                  </a:moveTo>
                  <a:cubicBezTo>
                    <a:pt x="52" y="2"/>
                    <a:pt x="53" y="0"/>
                    <a:pt x="54" y="0"/>
                  </a:cubicBezTo>
                  <a:cubicBezTo>
                    <a:pt x="48" y="0"/>
                    <a:pt x="41" y="0"/>
                    <a:pt x="35" y="4"/>
                  </a:cubicBezTo>
                  <a:cubicBezTo>
                    <a:pt x="29" y="7"/>
                    <a:pt x="26" y="10"/>
                    <a:pt x="22" y="15"/>
                  </a:cubicBezTo>
                  <a:cubicBezTo>
                    <a:pt x="19" y="19"/>
                    <a:pt x="16" y="23"/>
                    <a:pt x="12" y="26"/>
                  </a:cubicBezTo>
                  <a:cubicBezTo>
                    <a:pt x="9" y="28"/>
                    <a:pt x="4" y="30"/>
                    <a:pt x="0" y="30"/>
                  </a:cubicBezTo>
                  <a:cubicBezTo>
                    <a:pt x="9" y="36"/>
                    <a:pt x="21" y="36"/>
                    <a:pt x="30" y="30"/>
                  </a:cubicBezTo>
                  <a:cubicBezTo>
                    <a:pt x="38" y="25"/>
                    <a:pt x="41" y="17"/>
                    <a:pt x="46" y="9"/>
                  </a:cubicBezTo>
                  <a:cubicBezTo>
                    <a:pt x="47" y="7"/>
                    <a:pt x="49" y="4"/>
                    <a:pt x="5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5" name="îṡ1ïďe">
              <a:extLst>
                <a:ext uri="{FF2B5EF4-FFF2-40B4-BE49-F238E27FC236}">
                  <a16:creationId xmlns:a16="http://schemas.microsoft.com/office/drawing/2014/main" id="{4716B145-5D5C-499A-A175-B4DAF23D309B}"/>
                </a:ext>
              </a:extLst>
            </p:cNvPr>
            <p:cNvSpPr/>
            <p:nvPr/>
          </p:nvSpPr>
          <p:spPr bwMode="auto">
            <a:xfrm flipH="1">
              <a:off x="1620978" y="5472201"/>
              <a:ext cx="103943" cy="71352"/>
            </a:xfrm>
            <a:custGeom>
              <a:avLst/>
              <a:gdLst>
                <a:gd name="T0" fmla="*/ 17 w 48"/>
                <a:gd name="T1" fmla="*/ 11 h 35"/>
                <a:gd name="T2" fmla="*/ 32 w 48"/>
                <a:gd name="T3" fmla="*/ 28 h 35"/>
                <a:gd name="T4" fmla="*/ 48 w 48"/>
                <a:gd name="T5" fmla="*/ 35 h 35"/>
                <a:gd name="T6" fmla="*/ 38 w 48"/>
                <a:gd name="T7" fmla="*/ 23 h 35"/>
                <a:gd name="T8" fmla="*/ 33 w 48"/>
                <a:gd name="T9" fmla="*/ 13 h 35"/>
                <a:gd name="T10" fmla="*/ 20 w 48"/>
                <a:gd name="T11" fmla="*/ 3 h 35"/>
                <a:gd name="T12" fmla="*/ 0 w 48"/>
                <a:gd name="T13" fmla="*/ 1 h 35"/>
                <a:gd name="T14" fmla="*/ 6 w 48"/>
                <a:gd name="T15" fmla="*/ 3 h 35"/>
                <a:gd name="T16" fmla="*/ 17 w 48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35">
                  <a:moveTo>
                    <a:pt x="17" y="11"/>
                  </a:moveTo>
                  <a:cubicBezTo>
                    <a:pt x="22" y="16"/>
                    <a:pt x="26" y="23"/>
                    <a:pt x="32" y="28"/>
                  </a:cubicBezTo>
                  <a:cubicBezTo>
                    <a:pt x="36" y="31"/>
                    <a:pt x="42" y="34"/>
                    <a:pt x="48" y="35"/>
                  </a:cubicBezTo>
                  <a:cubicBezTo>
                    <a:pt x="44" y="33"/>
                    <a:pt x="41" y="27"/>
                    <a:pt x="38" y="23"/>
                  </a:cubicBezTo>
                  <a:cubicBezTo>
                    <a:pt x="37" y="20"/>
                    <a:pt x="35" y="16"/>
                    <a:pt x="33" y="13"/>
                  </a:cubicBezTo>
                  <a:cubicBezTo>
                    <a:pt x="30" y="9"/>
                    <a:pt x="25" y="5"/>
                    <a:pt x="20" y="3"/>
                  </a:cubicBezTo>
                  <a:cubicBezTo>
                    <a:pt x="14" y="0"/>
                    <a:pt x="7" y="1"/>
                    <a:pt x="0" y="1"/>
                  </a:cubicBezTo>
                  <a:cubicBezTo>
                    <a:pt x="2" y="1"/>
                    <a:pt x="5" y="3"/>
                    <a:pt x="6" y="3"/>
                  </a:cubicBezTo>
                  <a:cubicBezTo>
                    <a:pt x="10" y="5"/>
                    <a:pt x="14" y="7"/>
                    <a:pt x="1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6" name="i$ḷïḍé">
              <a:extLst>
                <a:ext uri="{FF2B5EF4-FFF2-40B4-BE49-F238E27FC236}">
                  <a16:creationId xmlns:a16="http://schemas.microsoft.com/office/drawing/2014/main" id="{A03A37F6-A506-4F1A-98EE-CBFC86ACE507}"/>
                </a:ext>
              </a:extLst>
            </p:cNvPr>
            <p:cNvSpPr/>
            <p:nvPr/>
          </p:nvSpPr>
          <p:spPr bwMode="auto">
            <a:xfrm flipH="1">
              <a:off x="1627360" y="5474780"/>
              <a:ext cx="135855" cy="86826"/>
            </a:xfrm>
            <a:custGeom>
              <a:avLst/>
              <a:gdLst>
                <a:gd name="T0" fmla="*/ 10 w 63"/>
                <a:gd name="T1" fmla="*/ 11 h 43"/>
                <a:gd name="T2" fmla="*/ 28 w 63"/>
                <a:gd name="T3" fmla="*/ 36 h 43"/>
                <a:gd name="T4" fmla="*/ 63 w 63"/>
                <a:gd name="T5" fmla="*/ 36 h 43"/>
                <a:gd name="T6" fmla="*/ 49 w 63"/>
                <a:gd name="T7" fmla="*/ 31 h 43"/>
                <a:gd name="T8" fmla="*/ 37 w 63"/>
                <a:gd name="T9" fmla="*/ 19 h 43"/>
                <a:gd name="T10" fmla="*/ 22 w 63"/>
                <a:gd name="T11" fmla="*/ 5 h 43"/>
                <a:gd name="T12" fmla="*/ 0 w 63"/>
                <a:gd name="T13" fmla="*/ 1 h 43"/>
                <a:gd name="T14" fmla="*/ 3 w 63"/>
                <a:gd name="T15" fmla="*/ 3 h 43"/>
                <a:gd name="T16" fmla="*/ 10 w 63"/>
                <a:gd name="T17" fmla="*/ 1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3">
                  <a:moveTo>
                    <a:pt x="10" y="11"/>
                  </a:moveTo>
                  <a:cubicBezTo>
                    <a:pt x="15" y="20"/>
                    <a:pt x="19" y="30"/>
                    <a:pt x="28" y="36"/>
                  </a:cubicBezTo>
                  <a:cubicBezTo>
                    <a:pt x="39" y="42"/>
                    <a:pt x="52" y="43"/>
                    <a:pt x="63" y="36"/>
                  </a:cubicBezTo>
                  <a:cubicBezTo>
                    <a:pt x="58" y="36"/>
                    <a:pt x="53" y="33"/>
                    <a:pt x="49" y="31"/>
                  </a:cubicBezTo>
                  <a:cubicBezTo>
                    <a:pt x="45" y="28"/>
                    <a:pt x="41" y="23"/>
                    <a:pt x="37" y="19"/>
                  </a:cubicBezTo>
                  <a:cubicBezTo>
                    <a:pt x="33" y="13"/>
                    <a:pt x="29" y="8"/>
                    <a:pt x="22" y="5"/>
                  </a:cubicBezTo>
                  <a:cubicBezTo>
                    <a:pt x="15" y="1"/>
                    <a:pt x="7" y="0"/>
                    <a:pt x="0" y="1"/>
                  </a:cubicBezTo>
                  <a:cubicBezTo>
                    <a:pt x="1" y="1"/>
                    <a:pt x="3" y="3"/>
                    <a:pt x="3" y="3"/>
                  </a:cubicBezTo>
                  <a:cubicBezTo>
                    <a:pt x="6" y="6"/>
                    <a:pt x="8" y="8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7" name="ïsľîḓe">
              <a:extLst>
                <a:ext uri="{FF2B5EF4-FFF2-40B4-BE49-F238E27FC236}">
                  <a16:creationId xmlns:a16="http://schemas.microsoft.com/office/drawing/2014/main" id="{598DC282-BD63-48A3-8BE6-1F2D3D11867A}"/>
                </a:ext>
              </a:extLst>
            </p:cNvPr>
            <p:cNvSpPr/>
            <p:nvPr/>
          </p:nvSpPr>
          <p:spPr bwMode="auto">
            <a:xfrm flipH="1">
              <a:off x="1620977" y="5401709"/>
              <a:ext cx="88443" cy="58457"/>
            </a:xfrm>
            <a:custGeom>
              <a:avLst/>
              <a:gdLst>
                <a:gd name="T0" fmla="*/ 17 w 41"/>
                <a:gd name="T1" fmla="*/ 2 h 29"/>
                <a:gd name="T2" fmla="*/ 0 w 41"/>
                <a:gd name="T3" fmla="*/ 1 h 29"/>
                <a:gd name="T4" fmla="*/ 5 w 41"/>
                <a:gd name="T5" fmla="*/ 2 h 29"/>
                <a:gd name="T6" fmla="*/ 14 w 41"/>
                <a:gd name="T7" fmla="*/ 9 h 29"/>
                <a:gd name="T8" fmla="*/ 27 w 41"/>
                <a:gd name="T9" fmla="*/ 23 h 29"/>
                <a:gd name="T10" fmla="*/ 41 w 41"/>
                <a:gd name="T11" fmla="*/ 29 h 29"/>
                <a:gd name="T12" fmla="*/ 33 w 41"/>
                <a:gd name="T13" fmla="*/ 19 h 29"/>
                <a:gd name="T14" fmla="*/ 28 w 41"/>
                <a:gd name="T15" fmla="*/ 11 h 29"/>
                <a:gd name="T16" fmla="*/ 17 w 41"/>
                <a:gd name="T17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29">
                  <a:moveTo>
                    <a:pt x="17" y="2"/>
                  </a:moveTo>
                  <a:cubicBezTo>
                    <a:pt x="11" y="0"/>
                    <a:pt x="6" y="0"/>
                    <a:pt x="0" y="1"/>
                  </a:cubicBezTo>
                  <a:cubicBezTo>
                    <a:pt x="1" y="0"/>
                    <a:pt x="4" y="2"/>
                    <a:pt x="5" y="2"/>
                  </a:cubicBezTo>
                  <a:cubicBezTo>
                    <a:pt x="8" y="4"/>
                    <a:pt x="12" y="6"/>
                    <a:pt x="14" y="9"/>
                  </a:cubicBezTo>
                  <a:cubicBezTo>
                    <a:pt x="19" y="13"/>
                    <a:pt x="22" y="19"/>
                    <a:pt x="27" y="23"/>
                  </a:cubicBezTo>
                  <a:cubicBezTo>
                    <a:pt x="31" y="26"/>
                    <a:pt x="36" y="29"/>
                    <a:pt x="41" y="29"/>
                  </a:cubicBezTo>
                  <a:cubicBezTo>
                    <a:pt x="37" y="28"/>
                    <a:pt x="34" y="23"/>
                    <a:pt x="33" y="19"/>
                  </a:cubicBezTo>
                  <a:cubicBezTo>
                    <a:pt x="31" y="16"/>
                    <a:pt x="30" y="14"/>
                    <a:pt x="28" y="11"/>
                  </a:cubicBezTo>
                  <a:cubicBezTo>
                    <a:pt x="25" y="7"/>
                    <a:pt x="21" y="4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8" name="íṣḻiḍé">
              <a:extLst>
                <a:ext uri="{FF2B5EF4-FFF2-40B4-BE49-F238E27FC236}">
                  <a16:creationId xmlns:a16="http://schemas.microsoft.com/office/drawing/2014/main" id="{3296DA8F-16B3-4B16-800F-03D8E5F7EF4C}"/>
                </a:ext>
              </a:extLst>
            </p:cNvPr>
            <p:cNvSpPr/>
            <p:nvPr/>
          </p:nvSpPr>
          <p:spPr bwMode="auto">
            <a:xfrm flipH="1">
              <a:off x="1627360" y="5403428"/>
              <a:ext cx="116708" cy="73071"/>
            </a:xfrm>
            <a:custGeom>
              <a:avLst/>
              <a:gdLst>
                <a:gd name="T0" fmla="*/ 0 w 54"/>
                <a:gd name="T1" fmla="*/ 0 h 36"/>
                <a:gd name="T2" fmla="*/ 3 w 54"/>
                <a:gd name="T3" fmla="*/ 2 h 36"/>
                <a:gd name="T4" fmla="*/ 9 w 54"/>
                <a:gd name="T5" fmla="*/ 9 h 36"/>
                <a:gd name="T6" fmla="*/ 24 w 54"/>
                <a:gd name="T7" fmla="*/ 30 h 36"/>
                <a:gd name="T8" fmla="*/ 54 w 54"/>
                <a:gd name="T9" fmla="*/ 30 h 36"/>
                <a:gd name="T10" fmla="*/ 42 w 54"/>
                <a:gd name="T11" fmla="*/ 26 h 36"/>
                <a:gd name="T12" fmla="*/ 32 w 54"/>
                <a:gd name="T13" fmla="*/ 15 h 36"/>
                <a:gd name="T14" fmla="*/ 19 w 54"/>
                <a:gd name="T15" fmla="*/ 4 h 36"/>
                <a:gd name="T16" fmla="*/ 0 w 54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6">
                  <a:moveTo>
                    <a:pt x="0" y="0"/>
                  </a:moveTo>
                  <a:cubicBezTo>
                    <a:pt x="1" y="0"/>
                    <a:pt x="2" y="2"/>
                    <a:pt x="3" y="2"/>
                  </a:cubicBezTo>
                  <a:cubicBezTo>
                    <a:pt x="5" y="4"/>
                    <a:pt x="7" y="7"/>
                    <a:pt x="9" y="9"/>
                  </a:cubicBezTo>
                  <a:cubicBezTo>
                    <a:pt x="13" y="17"/>
                    <a:pt x="16" y="25"/>
                    <a:pt x="24" y="30"/>
                  </a:cubicBezTo>
                  <a:cubicBezTo>
                    <a:pt x="33" y="36"/>
                    <a:pt x="45" y="36"/>
                    <a:pt x="54" y="30"/>
                  </a:cubicBezTo>
                  <a:cubicBezTo>
                    <a:pt x="50" y="30"/>
                    <a:pt x="45" y="28"/>
                    <a:pt x="42" y="26"/>
                  </a:cubicBezTo>
                  <a:cubicBezTo>
                    <a:pt x="38" y="23"/>
                    <a:pt x="35" y="19"/>
                    <a:pt x="32" y="15"/>
                  </a:cubicBezTo>
                  <a:cubicBezTo>
                    <a:pt x="28" y="10"/>
                    <a:pt x="25" y="7"/>
                    <a:pt x="19" y="4"/>
                  </a:cubicBezTo>
                  <a:cubicBezTo>
                    <a:pt x="13" y="0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9" name="íş1îḍé">
              <a:extLst>
                <a:ext uri="{FF2B5EF4-FFF2-40B4-BE49-F238E27FC236}">
                  <a16:creationId xmlns:a16="http://schemas.microsoft.com/office/drawing/2014/main" id="{689929F0-E99A-4A8D-8EC7-53B5E74338FB}"/>
                </a:ext>
              </a:extLst>
            </p:cNvPr>
            <p:cNvSpPr/>
            <p:nvPr/>
          </p:nvSpPr>
          <p:spPr bwMode="auto">
            <a:xfrm flipH="1">
              <a:off x="1569006" y="5350129"/>
              <a:ext cx="47413" cy="93703"/>
            </a:xfrm>
            <a:custGeom>
              <a:avLst/>
              <a:gdLst>
                <a:gd name="T0" fmla="*/ 14 w 22"/>
                <a:gd name="T1" fmla="*/ 15 h 46"/>
                <a:gd name="T2" fmla="*/ 3 w 22"/>
                <a:gd name="T3" fmla="*/ 31 h 46"/>
                <a:gd name="T4" fmla="*/ 0 w 22"/>
                <a:gd name="T5" fmla="*/ 46 h 46"/>
                <a:gd name="T6" fmla="*/ 8 w 22"/>
                <a:gd name="T7" fmla="*/ 35 h 46"/>
                <a:gd name="T8" fmla="*/ 15 w 22"/>
                <a:gd name="T9" fmla="*/ 29 h 46"/>
                <a:gd name="T10" fmla="*/ 22 w 22"/>
                <a:gd name="T11" fmla="*/ 16 h 46"/>
                <a:gd name="T12" fmla="*/ 19 w 22"/>
                <a:gd name="T13" fmla="*/ 0 h 46"/>
                <a:gd name="T14" fmla="*/ 18 w 22"/>
                <a:gd name="T15" fmla="*/ 5 h 46"/>
                <a:gd name="T16" fmla="*/ 14 w 22"/>
                <a:gd name="T17" fmla="*/ 1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46">
                  <a:moveTo>
                    <a:pt x="14" y="15"/>
                  </a:moveTo>
                  <a:cubicBezTo>
                    <a:pt x="11" y="21"/>
                    <a:pt x="6" y="25"/>
                    <a:pt x="3" y="31"/>
                  </a:cubicBezTo>
                  <a:cubicBezTo>
                    <a:pt x="1" y="35"/>
                    <a:pt x="0" y="41"/>
                    <a:pt x="0" y="46"/>
                  </a:cubicBezTo>
                  <a:cubicBezTo>
                    <a:pt x="1" y="42"/>
                    <a:pt x="5" y="38"/>
                    <a:pt x="8" y="35"/>
                  </a:cubicBezTo>
                  <a:cubicBezTo>
                    <a:pt x="10" y="33"/>
                    <a:pt x="13" y="31"/>
                    <a:pt x="15" y="29"/>
                  </a:cubicBezTo>
                  <a:cubicBezTo>
                    <a:pt x="18" y="25"/>
                    <a:pt x="21" y="21"/>
                    <a:pt x="22" y="16"/>
                  </a:cubicBezTo>
                  <a:cubicBezTo>
                    <a:pt x="22" y="11"/>
                    <a:pt x="21" y="5"/>
                    <a:pt x="19" y="0"/>
                  </a:cubicBezTo>
                  <a:cubicBezTo>
                    <a:pt x="20" y="1"/>
                    <a:pt x="19" y="3"/>
                    <a:pt x="18" y="5"/>
                  </a:cubicBezTo>
                  <a:cubicBezTo>
                    <a:pt x="18" y="8"/>
                    <a:pt x="17" y="12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0" name="iṧļíḓe">
              <a:extLst>
                <a:ext uri="{FF2B5EF4-FFF2-40B4-BE49-F238E27FC236}">
                  <a16:creationId xmlns:a16="http://schemas.microsoft.com/office/drawing/2014/main" id="{DE1311C6-81CC-42BF-BD7A-743F2293A696}"/>
                </a:ext>
              </a:extLst>
            </p:cNvPr>
            <p:cNvSpPr/>
            <p:nvPr/>
          </p:nvSpPr>
          <p:spPr bwMode="auto">
            <a:xfrm flipH="1">
              <a:off x="1579948" y="5320041"/>
              <a:ext cx="64737" cy="119492"/>
            </a:xfrm>
            <a:custGeom>
              <a:avLst/>
              <a:gdLst>
                <a:gd name="T0" fmla="*/ 10 w 30"/>
                <a:gd name="T1" fmla="*/ 59 h 59"/>
                <a:gd name="T2" fmla="*/ 12 w 30"/>
                <a:gd name="T3" fmla="*/ 46 h 59"/>
                <a:gd name="T4" fmla="*/ 20 w 30"/>
                <a:gd name="T5" fmla="*/ 34 h 59"/>
                <a:gd name="T6" fmla="*/ 28 w 30"/>
                <a:gd name="T7" fmla="*/ 19 h 59"/>
                <a:gd name="T8" fmla="*/ 27 w 30"/>
                <a:gd name="T9" fmla="*/ 0 h 59"/>
                <a:gd name="T10" fmla="*/ 26 w 30"/>
                <a:gd name="T11" fmla="*/ 3 h 59"/>
                <a:gd name="T12" fmla="*/ 21 w 30"/>
                <a:gd name="T13" fmla="*/ 10 h 59"/>
                <a:gd name="T14" fmla="*/ 3 w 30"/>
                <a:gd name="T15" fmla="*/ 30 h 59"/>
                <a:gd name="T16" fmla="*/ 10 w 30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59">
                  <a:moveTo>
                    <a:pt x="10" y="59"/>
                  </a:moveTo>
                  <a:cubicBezTo>
                    <a:pt x="9" y="55"/>
                    <a:pt x="10" y="50"/>
                    <a:pt x="12" y="46"/>
                  </a:cubicBezTo>
                  <a:cubicBezTo>
                    <a:pt x="13" y="42"/>
                    <a:pt x="17" y="38"/>
                    <a:pt x="20" y="34"/>
                  </a:cubicBezTo>
                  <a:cubicBezTo>
                    <a:pt x="24" y="30"/>
                    <a:pt x="27" y="25"/>
                    <a:pt x="28" y="19"/>
                  </a:cubicBezTo>
                  <a:cubicBezTo>
                    <a:pt x="30" y="13"/>
                    <a:pt x="29" y="6"/>
                    <a:pt x="27" y="0"/>
                  </a:cubicBezTo>
                  <a:cubicBezTo>
                    <a:pt x="28" y="0"/>
                    <a:pt x="26" y="2"/>
                    <a:pt x="26" y="3"/>
                  </a:cubicBezTo>
                  <a:cubicBezTo>
                    <a:pt x="25" y="6"/>
                    <a:pt x="23" y="8"/>
                    <a:pt x="21" y="10"/>
                  </a:cubicBezTo>
                  <a:cubicBezTo>
                    <a:pt x="14" y="16"/>
                    <a:pt x="6" y="21"/>
                    <a:pt x="3" y="30"/>
                  </a:cubicBezTo>
                  <a:cubicBezTo>
                    <a:pt x="0" y="40"/>
                    <a:pt x="2" y="51"/>
                    <a:pt x="10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1" name="ïṡḻîḓe">
              <a:extLst>
                <a:ext uri="{FF2B5EF4-FFF2-40B4-BE49-F238E27FC236}">
                  <a16:creationId xmlns:a16="http://schemas.microsoft.com/office/drawing/2014/main" id="{847472C3-57B2-4C9C-9590-0E215C704DE0}"/>
                </a:ext>
              </a:extLst>
            </p:cNvPr>
            <p:cNvSpPr/>
            <p:nvPr/>
          </p:nvSpPr>
          <p:spPr bwMode="auto">
            <a:xfrm flipH="1">
              <a:off x="3610480" y="2668855"/>
              <a:ext cx="155002" cy="115194"/>
            </a:xfrm>
            <a:custGeom>
              <a:avLst/>
              <a:gdLst>
                <a:gd name="T0" fmla="*/ 65 w 72"/>
                <a:gd name="T1" fmla="*/ 13 h 57"/>
                <a:gd name="T2" fmla="*/ 58 w 72"/>
                <a:gd name="T3" fmla="*/ 13 h 57"/>
                <a:gd name="T4" fmla="*/ 58 w 72"/>
                <a:gd name="T5" fmla="*/ 16 h 57"/>
                <a:gd name="T6" fmla="*/ 66 w 72"/>
                <a:gd name="T7" fmla="*/ 32 h 57"/>
                <a:gd name="T8" fmla="*/ 66 w 72"/>
                <a:gd name="T9" fmla="*/ 40 h 57"/>
                <a:gd name="T10" fmla="*/ 58 w 72"/>
                <a:gd name="T11" fmla="*/ 57 h 57"/>
                <a:gd name="T12" fmla="*/ 72 w 72"/>
                <a:gd name="T13" fmla="*/ 53 h 57"/>
                <a:gd name="T14" fmla="*/ 72 w 72"/>
                <a:gd name="T15" fmla="*/ 20 h 57"/>
                <a:gd name="T16" fmla="*/ 58 w 72"/>
                <a:gd name="T17" fmla="*/ 0 h 57"/>
                <a:gd name="T18" fmla="*/ 36 w 72"/>
                <a:gd name="T19" fmla="*/ 4 h 57"/>
                <a:gd name="T20" fmla="*/ 58 w 72"/>
                <a:gd name="T21" fmla="*/ 13 h 57"/>
                <a:gd name="T22" fmla="*/ 36 w 72"/>
                <a:gd name="T23" fmla="*/ 45 h 57"/>
                <a:gd name="T24" fmla="*/ 55 w 72"/>
                <a:gd name="T25" fmla="*/ 53 h 57"/>
                <a:gd name="T26" fmla="*/ 58 w 72"/>
                <a:gd name="T27" fmla="*/ 57 h 57"/>
                <a:gd name="T28" fmla="*/ 51 w 72"/>
                <a:gd name="T29" fmla="*/ 40 h 57"/>
                <a:gd name="T30" fmla="*/ 58 w 72"/>
                <a:gd name="T31" fmla="*/ 32 h 57"/>
                <a:gd name="T32" fmla="*/ 36 w 72"/>
                <a:gd name="T33" fmla="*/ 16 h 57"/>
                <a:gd name="T34" fmla="*/ 36 w 72"/>
                <a:gd name="T35" fmla="*/ 0 h 57"/>
                <a:gd name="T36" fmla="*/ 14 w 72"/>
                <a:gd name="T37" fmla="*/ 0 h 57"/>
                <a:gd name="T38" fmla="*/ 18 w 72"/>
                <a:gd name="T39" fmla="*/ 4 h 57"/>
                <a:gd name="T40" fmla="*/ 36 w 72"/>
                <a:gd name="T41" fmla="*/ 4 h 57"/>
                <a:gd name="T42" fmla="*/ 14 w 72"/>
                <a:gd name="T43" fmla="*/ 57 h 57"/>
                <a:gd name="T44" fmla="*/ 17 w 72"/>
                <a:gd name="T45" fmla="*/ 53 h 57"/>
                <a:gd name="T46" fmla="*/ 36 w 72"/>
                <a:gd name="T47" fmla="*/ 45 h 57"/>
                <a:gd name="T48" fmla="*/ 14 w 72"/>
                <a:gd name="T49" fmla="*/ 16 h 57"/>
                <a:gd name="T50" fmla="*/ 21 w 72"/>
                <a:gd name="T51" fmla="*/ 32 h 57"/>
                <a:gd name="T52" fmla="*/ 21 w 72"/>
                <a:gd name="T53" fmla="*/ 40 h 57"/>
                <a:gd name="T54" fmla="*/ 14 w 72"/>
                <a:gd name="T55" fmla="*/ 57 h 57"/>
                <a:gd name="T56" fmla="*/ 7 w 72"/>
                <a:gd name="T57" fmla="*/ 13 h 57"/>
                <a:gd name="T58" fmla="*/ 0 w 72"/>
                <a:gd name="T59" fmla="*/ 44 h 57"/>
                <a:gd name="T60" fmla="*/ 0 w 72"/>
                <a:gd name="T61" fmla="*/ 53 h 57"/>
                <a:gd name="T62" fmla="*/ 14 w 72"/>
                <a:gd name="T63" fmla="*/ 57 h 57"/>
                <a:gd name="T64" fmla="*/ 7 w 72"/>
                <a:gd name="T65" fmla="*/ 40 h 57"/>
                <a:gd name="T66" fmla="*/ 14 w 72"/>
                <a:gd name="T67" fmla="*/ 32 h 57"/>
                <a:gd name="T68" fmla="*/ 12 w 72"/>
                <a:gd name="T69" fmla="*/ 16 h 57"/>
                <a:gd name="T70" fmla="*/ 14 w 72"/>
                <a:gd name="T7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" h="57">
                  <a:moveTo>
                    <a:pt x="72" y="20"/>
                  </a:moveTo>
                  <a:cubicBezTo>
                    <a:pt x="65" y="13"/>
                    <a:pt x="65" y="13"/>
                    <a:pt x="65" y="1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71" y="57"/>
                    <a:pt x="72" y="55"/>
                    <a:pt x="72" y="53"/>
                  </a:cubicBezTo>
                  <a:cubicBezTo>
                    <a:pt x="72" y="45"/>
                    <a:pt x="72" y="45"/>
                    <a:pt x="72" y="45"/>
                  </a:cubicBezTo>
                  <a:lnTo>
                    <a:pt x="72" y="20"/>
                  </a:lnTo>
                  <a:close/>
                  <a:moveTo>
                    <a:pt x="58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0"/>
                    <a:pt x="58" y="0"/>
                    <a:pt x="58" y="0"/>
                  </a:cubicBezTo>
                  <a:close/>
                  <a:moveTo>
                    <a:pt x="36" y="45"/>
                  </a:moveTo>
                  <a:cubicBezTo>
                    <a:pt x="55" y="45"/>
                    <a:pt x="55" y="45"/>
                    <a:pt x="55" y="45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5"/>
                    <a:pt x="56" y="57"/>
                    <a:pt x="58" y="57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36" y="16"/>
                    <a:pt x="36" y="16"/>
                    <a:pt x="36" y="16"/>
                  </a:cubicBezTo>
                  <a:lnTo>
                    <a:pt x="36" y="45"/>
                  </a:lnTo>
                  <a:close/>
                  <a:moveTo>
                    <a:pt x="3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0"/>
                    <a:pt x="36" y="0"/>
                    <a:pt x="36" y="0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7"/>
                  </a:cubicBezTo>
                  <a:cubicBezTo>
                    <a:pt x="16" y="57"/>
                    <a:pt x="17" y="55"/>
                    <a:pt x="17" y="53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14" y="40"/>
                    <a:pt x="14" y="40"/>
                    <a:pt x="14" y="40"/>
                  </a:cubicBezTo>
                  <a:lnTo>
                    <a:pt x="14" y="57"/>
                  </a:lnTo>
                  <a:close/>
                  <a:moveTo>
                    <a:pt x="14" y="0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2" y="57"/>
                    <a:pt x="3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2" name="ïṣ1ïďé">
              <a:extLst>
                <a:ext uri="{FF2B5EF4-FFF2-40B4-BE49-F238E27FC236}">
                  <a16:creationId xmlns:a16="http://schemas.microsoft.com/office/drawing/2014/main" id="{88ABA557-814D-4465-84FC-6F76DCC1A4E3}"/>
                </a:ext>
              </a:extLst>
            </p:cNvPr>
            <p:cNvSpPr/>
            <p:nvPr/>
          </p:nvSpPr>
          <p:spPr bwMode="auto">
            <a:xfrm flipH="1">
              <a:off x="3808335" y="2024111"/>
              <a:ext cx="64737" cy="42124"/>
            </a:xfrm>
            <a:custGeom>
              <a:avLst/>
              <a:gdLst>
                <a:gd name="T0" fmla="*/ 19 w 30"/>
                <a:gd name="T1" fmla="*/ 6 h 21"/>
                <a:gd name="T2" fmla="*/ 26 w 30"/>
                <a:gd name="T3" fmla="*/ 2 h 21"/>
                <a:gd name="T4" fmla="*/ 30 w 30"/>
                <a:gd name="T5" fmla="*/ 1 h 21"/>
                <a:gd name="T6" fmla="*/ 18 w 30"/>
                <a:gd name="T7" fmla="*/ 2 h 21"/>
                <a:gd name="T8" fmla="*/ 9 w 30"/>
                <a:gd name="T9" fmla="*/ 8 h 21"/>
                <a:gd name="T10" fmla="*/ 6 w 30"/>
                <a:gd name="T11" fmla="*/ 14 h 21"/>
                <a:gd name="T12" fmla="*/ 0 w 30"/>
                <a:gd name="T13" fmla="*/ 21 h 21"/>
                <a:gd name="T14" fmla="*/ 10 w 30"/>
                <a:gd name="T15" fmla="*/ 17 h 21"/>
                <a:gd name="T16" fmla="*/ 19 w 30"/>
                <a:gd name="T1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1">
                  <a:moveTo>
                    <a:pt x="19" y="6"/>
                  </a:moveTo>
                  <a:cubicBezTo>
                    <a:pt x="21" y="4"/>
                    <a:pt x="24" y="3"/>
                    <a:pt x="26" y="2"/>
                  </a:cubicBezTo>
                  <a:cubicBezTo>
                    <a:pt x="27" y="2"/>
                    <a:pt x="29" y="1"/>
                    <a:pt x="30" y="1"/>
                  </a:cubicBezTo>
                  <a:cubicBezTo>
                    <a:pt x="26" y="0"/>
                    <a:pt x="21" y="0"/>
                    <a:pt x="18" y="2"/>
                  </a:cubicBezTo>
                  <a:cubicBezTo>
                    <a:pt x="14" y="3"/>
                    <a:pt x="11" y="5"/>
                    <a:pt x="9" y="8"/>
                  </a:cubicBezTo>
                  <a:cubicBezTo>
                    <a:pt x="8" y="10"/>
                    <a:pt x="7" y="12"/>
                    <a:pt x="6" y="14"/>
                  </a:cubicBezTo>
                  <a:cubicBezTo>
                    <a:pt x="5" y="17"/>
                    <a:pt x="3" y="20"/>
                    <a:pt x="0" y="21"/>
                  </a:cubicBezTo>
                  <a:cubicBezTo>
                    <a:pt x="4" y="21"/>
                    <a:pt x="7" y="19"/>
                    <a:pt x="10" y="17"/>
                  </a:cubicBezTo>
                  <a:cubicBezTo>
                    <a:pt x="14" y="14"/>
                    <a:pt x="16" y="10"/>
                    <a:pt x="1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3" name="î$lîďe">
              <a:extLst>
                <a:ext uri="{FF2B5EF4-FFF2-40B4-BE49-F238E27FC236}">
                  <a16:creationId xmlns:a16="http://schemas.microsoft.com/office/drawing/2014/main" id="{526A8B41-20D1-4DB8-BE81-3A82C5E7E545}"/>
                </a:ext>
              </a:extLst>
            </p:cNvPr>
            <p:cNvSpPr/>
            <p:nvPr/>
          </p:nvSpPr>
          <p:spPr bwMode="auto">
            <a:xfrm flipH="1">
              <a:off x="3784629" y="2025830"/>
              <a:ext cx="84796" cy="53299"/>
            </a:xfrm>
            <a:custGeom>
              <a:avLst/>
              <a:gdLst>
                <a:gd name="T0" fmla="*/ 25 w 39"/>
                <a:gd name="T1" fmla="*/ 3 h 26"/>
                <a:gd name="T2" fmla="*/ 16 w 39"/>
                <a:gd name="T3" fmla="*/ 11 h 26"/>
                <a:gd name="T4" fmla="*/ 8 w 39"/>
                <a:gd name="T5" fmla="*/ 19 h 26"/>
                <a:gd name="T6" fmla="*/ 0 w 39"/>
                <a:gd name="T7" fmla="*/ 22 h 26"/>
                <a:gd name="T8" fmla="*/ 21 w 39"/>
                <a:gd name="T9" fmla="*/ 22 h 26"/>
                <a:gd name="T10" fmla="*/ 33 w 39"/>
                <a:gd name="T11" fmla="*/ 7 h 26"/>
                <a:gd name="T12" fmla="*/ 37 w 39"/>
                <a:gd name="T13" fmla="*/ 2 h 26"/>
                <a:gd name="T14" fmla="*/ 39 w 39"/>
                <a:gd name="T15" fmla="*/ 0 h 26"/>
                <a:gd name="T16" fmla="*/ 25 w 39"/>
                <a:gd name="T1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6">
                  <a:moveTo>
                    <a:pt x="25" y="3"/>
                  </a:moveTo>
                  <a:cubicBezTo>
                    <a:pt x="21" y="5"/>
                    <a:pt x="19" y="8"/>
                    <a:pt x="16" y="11"/>
                  </a:cubicBezTo>
                  <a:cubicBezTo>
                    <a:pt x="14" y="14"/>
                    <a:pt x="11" y="17"/>
                    <a:pt x="8" y="19"/>
                  </a:cubicBezTo>
                  <a:cubicBezTo>
                    <a:pt x="6" y="20"/>
                    <a:pt x="3" y="22"/>
                    <a:pt x="0" y="22"/>
                  </a:cubicBezTo>
                  <a:cubicBezTo>
                    <a:pt x="7" y="26"/>
                    <a:pt x="15" y="26"/>
                    <a:pt x="21" y="22"/>
                  </a:cubicBezTo>
                  <a:cubicBezTo>
                    <a:pt x="27" y="18"/>
                    <a:pt x="30" y="12"/>
                    <a:pt x="33" y="7"/>
                  </a:cubicBezTo>
                  <a:cubicBezTo>
                    <a:pt x="34" y="5"/>
                    <a:pt x="35" y="3"/>
                    <a:pt x="37" y="2"/>
                  </a:cubicBezTo>
                  <a:cubicBezTo>
                    <a:pt x="37" y="1"/>
                    <a:pt x="39" y="0"/>
                    <a:pt x="39" y="0"/>
                  </a:cubicBezTo>
                  <a:cubicBezTo>
                    <a:pt x="34" y="0"/>
                    <a:pt x="30" y="0"/>
                    <a:pt x="2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4" name="íṥḻîḑê">
              <a:extLst>
                <a:ext uri="{FF2B5EF4-FFF2-40B4-BE49-F238E27FC236}">
                  <a16:creationId xmlns:a16="http://schemas.microsoft.com/office/drawing/2014/main" id="{A87D0A31-66C2-463D-9A57-659F5F77A00A}"/>
                </a:ext>
              </a:extLst>
            </p:cNvPr>
            <p:cNvSpPr/>
            <p:nvPr/>
          </p:nvSpPr>
          <p:spPr bwMode="auto">
            <a:xfrm flipH="1">
              <a:off x="3819277" y="1979409"/>
              <a:ext cx="53795" cy="36106"/>
            </a:xfrm>
            <a:custGeom>
              <a:avLst/>
              <a:gdLst>
                <a:gd name="T0" fmla="*/ 8 w 25"/>
                <a:gd name="T1" fmla="*/ 7 h 18"/>
                <a:gd name="T2" fmla="*/ 5 w 25"/>
                <a:gd name="T3" fmla="*/ 12 h 18"/>
                <a:gd name="T4" fmla="*/ 0 w 25"/>
                <a:gd name="T5" fmla="*/ 18 h 18"/>
                <a:gd name="T6" fmla="*/ 9 w 25"/>
                <a:gd name="T7" fmla="*/ 15 h 18"/>
                <a:gd name="T8" fmla="*/ 17 w 25"/>
                <a:gd name="T9" fmla="*/ 5 h 18"/>
                <a:gd name="T10" fmla="*/ 22 w 25"/>
                <a:gd name="T11" fmla="*/ 2 h 18"/>
                <a:gd name="T12" fmla="*/ 25 w 25"/>
                <a:gd name="T13" fmla="*/ 1 h 18"/>
                <a:gd name="T14" fmla="*/ 15 w 25"/>
                <a:gd name="T15" fmla="*/ 1 h 18"/>
                <a:gd name="T16" fmla="*/ 8 w 25"/>
                <a:gd name="T17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8">
                  <a:moveTo>
                    <a:pt x="8" y="7"/>
                  </a:moveTo>
                  <a:cubicBezTo>
                    <a:pt x="7" y="9"/>
                    <a:pt x="6" y="10"/>
                    <a:pt x="5" y="12"/>
                  </a:cubicBezTo>
                  <a:cubicBezTo>
                    <a:pt x="4" y="14"/>
                    <a:pt x="3" y="17"/>
                    <a:pt x="0" y="18"/>
                  </a:cubicBezTo>
                  <a:cubicBezTo>
                    <a:pt x="3" y="18"/>
                    <a:pt x="6" y="17"/>
                    <a:pt x="9" y="15"/>
                  </a:cubicBezTo>
                  <a:cubicBezTo>
                    <a:pt x="12" y="12"/>
                    <a:pt x="14" y="8"/>
                    <a:pt x="17" y="5"/>
                  </a:cubicBezTo>
                  <a:cubicBezTo>
                    <a:pt x="18" y="4"/>
                    <a:pt x="20" y="3"/>
                    <a:pt x="22" y="2"/>
                  </a:cubicBezTo>
                  <a:cubicBezTo>
                    <a:pt x="23" y="1"/>
                    <a:pt x="25" y="0"/>
                    <a:pt x="25" y="1"/>
                  </a:cubicBezTo>
                  <a:cubicBezTo>
                    <a:pt x="22" y="0"/>
                    <a:pt x="18" y="0"/>
                    <a:pt x="15" y="1"/>
                  </a:cubicBezTo>
                  <a:cubicBezTo>
                    <a:pt x="12" y="2"/>
                    <a:pt x="10" y="5"/>
                    <a:pt x="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5" name="iṥḷiďé">
              <a:extLst>
                <a:ext uri="{FF2B5EF4-FFF2-40B4-BE49-F238E27FC236}">
                  <a16:creationId xmlns:a16="http://schemas.microsoft.com/office/drawing/2014/main" id="{B18FB8EC-CCE9-4E0D-A616-D4AC30CC245B}"/>
                </a:ext>
              </a:extLst>
            </p:cNvPr>
            <p:cNvSpPr/>
            <p:nvPr/>
          </p:nvSpPr>
          <p:spPr bwMode="auto">
            <a:xfrm flipH="1">
              <a:off x="3798306" y="1981128"/>
              <a:ext cx="71119" cy="44702"/>
            </a:xfrm>
            <a:custGeom>
              <a:avLst/>
              <a:gdLst>
                <a:gd name="T0" fmla="*/ 32 w 33"/>
                <a:gd name="T1" fmla="*/ 1 h 22"/>
                <a:gd name="T2" fmla="*/ 33 w 33"/>
                <a:gd name="T3" fmla="*/ 0 h 22"/>
                <a:gd name="T4" fmla="*/ 22 w 33"/>
                <a:gd name="T5" fmla="*/ 2 h 22"/>
                <a:gd name="T6" fmla="*/ 13 w 33"/>
                <a:gd name="T7" fmla="*/ 9 h 22"/>
                <a:gd name="T8" fmla="*/ 7 w 33"/>
                <a:gd name="T9" fmla="*/ 16 h 22"/>
                <a:gd name="T10" fmla="*/ 0 w 33"/>
                <a:gd name="T11" fmla="*/ 19 h 22"/>
                <a:gd name="T12" fmla="*/ 18 w 33"/>
                <a:gd name="T13" fmla="*/ 19 h 22"/>
                <a:gd name="T14" fmla="*/ 28 w 33"/>
                <a:gd name="T15" fmla="*/ 5 h 22"/>
                <a:gd name="T16" fmla="*/ 32 w 33"/>
                <a:gd name="T17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2">
                  <a:moveTo>
                    <a:pt x="32" y="1"/>
                  </a:moveTo>
                  <a:cubicBezTo>
                    <a:pt x="32" y="1"/>
                    <a:pt x="33" y="0"/>
                    <a:pt x="33" y="0"/>
                  </a:cubicBezTo>
                  <a:cubicBezTo>
                    <a:pt x="29" y="0"/>
                    <a:pt x="25" y="0"/>
                    <a:pt x="22" y="2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2" y="12"/>
                    <a:pt x="10" y="14"/>
                    <a:pt x="7" y="16"/>
                  </a:cubicBezTo>
                  <a:cubicBezTo>
                    <a:pt x="5" y="17"/>
                    <a:pt x="2" y="19"/>
                    <a:pt x="0" y="19"/>
                  </a:cubicBezTo>
                  <a:cubicBezTo>
                    <a:pt x="6" y="22"/>
                    <a:pt x="13" y="22"/>
                    <a:pt x="18" y="19"/>
                  </a:cubicBezTo>
                  <a:cubicBezTo>
                    <a:pt x="23" y="16"/>
                    <a:pt x="25" y="10"/>
                    <a:pt x="28" y="5"/>
                  </a:cubicBezTo>
                  <a:cubicBezTo>
                    <a:pt x="29" y="4"/>
                    <a:pt x="30" y="2"/>
                    <a:pt x="3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6" name="iṥľíḓè">
              <a:extLst>
                <a:ext uri="{FF2B5EF4-FFF2-40B4-BE49-F238E27FC236}">
                  <a16:creationId xmlns:a16="http://schemas.microsoft.com/office/drawing/2014/main" id="{BC94EE4A-E4C2-4D72-B62C-CBFC5828D8CD}"/>
                </a:ext>
              </a:extLst>
            </p:cNvPr>
            <p:cNvSpPr/>
            <p:nvPr/>
          </p:nvSpPr>
          <p:spPr bwMode="auto">
            <a:xfrm flipH="1">
              <a:off x="3879454" y="2024111"/>
              <a:ext cx="64737" cy="42124"/>
            </a:xfrm>
            <a:custGeom>
              <a:avLst/>
              <a:gdLst>
                <a:gd name="T0" fmla="*/ 11 w 30"/>
                <a:gd name="T1" fmla="*/ 6 h 21"/>
                <a:gd name="T2" fmla="*/ 20 w 30"/>
                <a:gd name="T3" fmla="*/ 17 h 21"/>
                <a:gd name="T4" fmla="*/ 30 w 30"/>
                <a:gd name="T5" fmla="*/ 21 h 21"/>
                <a:gd name="T6" fmla="*/ 24 w 30"/>
                <a:gd name="T7" fmla="*/ 14 h 21"/>
                <a:gd name="T8" fmla="*/ 20 w 30"/>
                <a:gd name="T9" fmla="*/ 8 h 21"/>
                <a:gd name="T10" fmla="*/ 12 w 30"/>
                <a:gd name="T11" fmla="*/ 2 h 21"/>
                <a:gd name="T12" fmla="*/ 0 w 30"/>
                <a:gd name="T13" fmla="*/ 1 h 21"/>
                <a:gd name="T14" fmla="*/ 4 w 30"/>
                <a:gd name="T15" fmla="*/ 2 h 21"/>
                <a:gd name="T16" fmla="*/ 11 w 30"/>
                <a:gd name="T1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1">
                  <a:moveTo>
                    <a:pt x="11" y="6"/>
                  </a:moveTo>
                  <a:cubicBezTo>
                    <a:pt x="14" y="10"/>
                    <a:pt x="16" y="14"/>
                    <a:pt x="20" y="17"/>
                  </a:cubicBezTo>
                  <a:cubicBezTo>
                    <a:pt x="23" y="19"/>
                    <a:pt x="26" y="21"/>
                    <a:pt x="30" y="21"/>
                  </a:cubicBezTo>
                  <a:cubicBezTo>
                    <a:pt x="27" y="20"/>
                    <a:pt x="25" y="17"/>
                    <a:pt x="24" y="14"/>
                  </a:cubicBezTo>
                  <a:cubicBezTo>
                    <a:pt x="23" y="12"/>
                    <a:pt x="22" y="10"/>
                    <a:pt x="20" y="8"/>
                  </a:cubicBezTo>
                  <a:cubicBezTo>
                    <a:pt x="18" y="5"/>
                    <a:pt x="16" y="3"/>
                    <a:pt x="12" y="2"/>
                  </a:cubicBezTo>
                  <a:cubicBezTo>
                    <a:pt x="8" y="0"/>
                    <a:pt x="4" y="0"/>
                    <a:pt x="0" y="1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6" y="3"/>
                    <a:pt x="9" y="4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7" name="išḻïḋê">
              <a:extLst>
                <a:ext uri="{FF2B5EF4-FFF2-40B4-BE49-F238E27FC236}">
                  <a16:creationId xmlns:a16="http://schemas.microsoft.com/office/drawing/2014/main" id="{BE3024C0-8821-4161-9B1B-0D17745CE3E8}"/>
                </a:ext>
              </a:extLst>
            </p:cNvPr>
            <p:cNvSpPr/>
            <p:nvPr/>
          </p:nvSpPr>
          <p:spPr bwMode="auto">
            <a:xfrm flipH="1">
              <a:off x="3884013" y="2025830"/>
              <a:ext cx="83884" cy="53299"/>
            </a:xfrm>
            <a:custGeom>
              <a:avLst/>
              <a:gdLst>
                <a:gd name="T0" fmla="*/ 6 w 39"/>
                <a:gd name="T1" fmla="*/ 7 h 26"/>
                <a:gd name="T2" fmla="*/ 17 w 39"/>
                <a:gd name="T3" fmla="*/ 22 h 26"/>
                <a:gd name="T4" fmla="*/ 39 w 39"/>
                <a:gd name="T5" fmla="*/ 22 h 26"/>
                <a:gd name="T6" fmla="*/ 30 w 39"/>
                <a:gd name="T7" fmla="*/ 19 h 26"/>
                <a:gd name="T8" fmla="*/ 23 w 39"/>
                <a:gd name="T9" fmla="*/ 11 h 26"/>
                <a:gd name="T10" fmla="*/ 13 w 39"/>
                <a:gd name="T11" fmla="*/ 3 h 26"/>
                <a:gd name="T12" fmla="*/ 0 w 39"/>
                <a:gd name="T13" fmla="*/ 0 h 26"/>
                <a:gd name="T14" fmla="*/ 2 w 39"/>
                <a:gd name="T15" fmla="*/ 2 h 26"/>
                <a:gd name="T16" fmla="*/ 6 w 39"/>
                <a:gd name="T1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6">
                  <a:moveTo>
                    <a:pt x="6" y="7"/>
                  </a:moveTo>
                  <a:cubicBezTo>
                    <a:pt x="9" y="12"/>
                    <a:pt x="11" y="18"/>
                    <a:pt x="17" y="22"/>
                  </a:cubicBezTo>
                  <a:cubicBezTo>
                    <a:pt x="24" y="26"/>
                    <a:pt x="32" y="26"/>
                    <a:pt x="39" y="22"/>
                  </a:cubicBezTo>
                  <a:cubicBezTo>
                    <a:pt x="36" y="22"/>
                    <a:pt x="33" y="20"/>
                    <a:pt x="30" y="19"/>
                  </a:cubicBezTo>
                  <a:cubicBezTo>
                    <a:pt x="28" y="17"/>
                    <a:pt x="25" y="14"/>
                    <a:pt x="23" y="11"/>
                  </a:cubicBezTo>
                  <a:cubicBezTo>
                    <a:pt x="20" y="8"/>
                    <a:pt x="18" y="5"/>
                    <a:pt x="13" y="3"/>
                  </a:cubicBezTo>
                  <a:cubicBezTo>
                    <a:pt x="9" y="0"/>
                    <a:pt x="4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5" y="5"/>
                    <a:pt x="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8" name="íṩ1íďè">
              <a:extLst>
                <a:ext uri="{FF2B5EF4-FFF2-40B4-BE49-F238E27FC236}">
                  <a16:creationId xmlns:a16="http://schemas.microsoft.com/office/drawing/2014/main" id="{4448C752-93C5-407D-948B-693E0AE2B0CA}"/>
                </a:ext>
              </a:extLst>
            </p:cNvPr>
            <p:cNvSpPr/>
            <p:nvPr/>
          </p:nvSpPr>
          <p:spPr bwMode="auto">
            <a:xfrm flipH="1">
              <a:off x="3879454" y="1979409"/>
              <a:ext cx="56530" cy="36106"/>
            </a:xfrm>
            <a:custGeom>
              <a:avLst/>
              <a:gdLst>
                <a:gd name="T0" fmla="*/ 11 w 26"/>
                <a:gd name="T1" fmla="*/ 1 h 18"/>
                <a:gd name="T2" fmla="*/ 0 w 26"/>
                <a:gd name="T3" fmla="*/ 1 h 18"/>
                <a:gd name="T4" fmla="*/ 3 w 26"/>
                <a:gd name="T5" fmla="*/ 2 h 18"/>
                <a:gd name="T6" fmla="*/ 9 w 26"/>
                <a:gd name="T7" fmla="*/ 5 h 18"/>
                <a:gd name="T8" fmla="*/ 17 w 26"/>
                <a:gd name="T9" fmla="*/ 15 h 18"/>
                <a:gd name="T10" fmla="*/ 26 w 26"/>
                <a:gd name="T11" fmla="*/ 18 h 18"/>
                <a:gd name="T12" fmla="*/ 21 w 26"/>
                <a:gd name="T13" fmla="*/ 12 h 18"/>
                <a:gd name="T14" fmla="*/ 18 w 26"/>
                <a:gd name="T15" fmla="*/ 7 h 18"/>
                <a:gd name="T16" fmla="*/ 11 w 26"/>
                <a:gd name="T1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8">
                  <a:moveTo>
                    <a:pt x="11" y="1"/>
                  </a:moveTo>
                  <a:cubicBezTo>
                    <a:pt x="7" y="0"/>
                    <a:pt x="4" y="0"/>
                    <a:pt x="0" y="1"/>
                  </a:cubicBezTo>
                  <a:cubicBezTo>
                    <a:pt x="1" y="0"/>
                    <a:pt x="3" y="1"/>
                    <a:pt x="3" y="2"/>
                  </a:cubicBezTo>
                  <a:cubicBezTo>
                    <a:pt x="5" y="3"/>
                    <a:pt x="8" y="4"/>
                    <a:pt x="9" y="5"/>
                  </a:cubicBezTo>
                  <a:cubicBezTo>
                    <a:pt x="12" y="8"/>
                    <a:pt x="14" y="12"/>
                    <a:pt x="17" y="15"/>
                  </a:cubicBezTo>
                  <a:cubicBezTo>
                    <a:pt x="20" y="17"/>
                    <a:pt x="23" y="18"/>
                    <a:pt x="26" y="18"/>
                  </a:cubicBezTo>
                  <a:cubicBezTo>
                    <a:pt x="23" y="17"/>
                    <a:pt x="22" y="14"/>
                    <a:pt x="21" y="12"/>
                  </a:cubicBezTo>
                  <a:cubicBezTo>
                    <a:pt x="20" y="10"/>
                    <a:pt x="19" y="9"/>
                    <a:pt x="18" y="7"/>
                  </a:cubicBezTo>
                  <a:cubicBezTo>
                    <a:pt x="16" y="5"/>
                    <a:pt x="14" y="2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9" name="íśḷíďe">
              <a:extLst>
                <a:ext uri="{FF2B5EF4-FFF2-40B4-BE49-F238E27FC236}">
                  <a16:creationId xmlns:a16="http://schemas.microsoft.com/office/drawing/2014/main" id="{325611AA-8C78-4D1D-910B-4D36FE945976}"/>
                </a:ext>
              </a:extLst>
            </p:cNvPr>
            <p:cNvSpPr/>
            <p:nvPr/>
          </p:nvSpPr>
          <p:spPr bwMode="auto">
            <a:xfrm flipH="1">
              <a:off x="3884013" y="1981128"/>
              <a:ext cx="73854" cy="44702"/>
            </a:xfrm>
            <a:custGeom>
              <a:avLst/>
              <a:gdLst>
                <a:gd name="T0" fmla="*/ 0 w 34"/>
                <a:gd name="T1" fmla="*/ 0 h 22"/>
                <a:gd name="T2" fmla="*/ 2 w 34"/>
                <a:gd name="T3" fmla="*/ 1 h 22"/>
                <a:gd name="T4" fmla="*/ 6 w 34"/>
                <a:gd name="T5" fmla="*/ 5 h 22"/>
                <a:gd name="T6" fmla="*/ 16 w 34"/>
                <a:gd name="T7" fmla="*/ 19 h 22"/>
                <a:gd name="T8" fmla="*/ 34 w 34"/>
                <a:gd name="T9" fmla="*/ 19 h 22"/>
                <a:gd name="T10" fmla="*/ 27 w 34"/>
                <a:gd name="T11" fmla="*/ 16 h 22"/>
                <a:gd name="T12" fmla="*/ 20 w 34"/>
                <a:gd name="T13" fmla="*/ 9 h 22"/>
                <a:gd name="T14" fmla="*/ 12 w 34"/>
                <a:gd name="T15" fmla="*/ 2 h 22"/>
                <a:gd name="T16" fmla="*/ 0 w 3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2">
                  <a:moveTo>
                    <a:pt x="0" y="0"/>
                  </a:moveTo>
                  <a:cubicBezTo>
                    <a:pt x="1" y="0"/>
                    <a:pt x="2" y="1"/>
                    <a:pt x="2" y="1"/>
                  </a:cubicBezTo>
                  <a:cubicBezTo>
                    <a:pt x="4" y="2"/>
                    <a:pt x="5" y="4"/>
                    <a:pt x="6" y="5"/>
                  </a:cubicBezTo>
                  <a:cubicBezTo>
                    <a:pt x="9" y="10"/>
                    <a:pt x="10" y="16"/>
                    <a:pt x="16" y="19"/>
                  </a:cubicBezTo>
                  <a:cubicBezTo>
                    <a:pt x="21" y="22"/>
                    <a:pt x="28" y="22"/>
                    <a:pt x="34" y="19"/>
                  </a:cubicBezTo>
                  <a:cubicBezTo>
                    <a:pt x="31" y="19"/>
                    <a:pt x="29" y="17"/>
                    <a:pt x="27" y="16"/>
                  </a:cubicBezTo>
                  <a:cubicBezTo>
                    <a:pt x="24" y="14"/>
                    <a:pt x="22" y="12"/>
                    <a:pt x="20" y="9"/>
                  </a:cubicBezTo>
                  <a:cubicBezTo>
                    <a:pt x="18" y="6"/>
                    <a:pt x="16" y="4"/>
                    <a:pt x="12" y="2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0" name="í$ḷiḍe">
              <a:extLst>
                <a:ext uri="{FF2B5EF4-FFF2-40B4-BE49-F238E27FC236}">
                  <a16:creationId xmlns:a16="http://schemas.microsoft.com/office/drawing/2014/main" id="{941D95B8-1BD1-45D1-90A4-4408B38FF5EB}"/>
                </a:ext>
              </a:extLst>
            </p:cNvPr>
            <p:cNvSpPr/>
            <p:nvPr/>
          </p:nvSpPr>
          <p:spPr bwMode="auto">
            <a:xfrm flipH="1">
              <a:off x="3847541" y="1946741"/>
              <a:ext cx="30089" cy="59317"/>
            </a:xfrm>
            <a:custGeom>
              <a:avLst/>
              <a:gdLst>
                <a:gd name="T0" fmla="*/ 9 w 14"/>
                <a:gd name="T1" fmla="*/ 10 h 29"/>
                <a:gd name="T2" fmla="*/ 2 w 14"/>
                <a:gd name="T3" fmla="*/ 20 h 29"/>
                <a:gd name="T4" fmla="*/ 0 w 14"/>
                <a:gd name="T5" fmla="*/ 29 h 29"/>
                <a:gd name="T6" fmla="*/ 5 w 14"/>
                <a:gd name="T7" fmla="*/ 23 h 29"/>
                <a:gd name="T8" fmla="*/ 9 w 14"/>
                <a:gd name="T9" fmla="*/ 19 h 29"/>
                <a:gd name="T10" fmla="*/ 13 w 14"/>
                <a:gd name="T11" fmla="*/ 11 h 29"/>
                <a:gd name="T12" fmla="*/ 12 w 14"/>
                <a:gd name="T13" fmla="*/ 0 h 29"/>
                <a:gd name="T14" fmla="*/ 12 w 14"/>
                <a:gd name="T15" fmla="*/ 4 h 29"/>
                <a:gd name="T16" fmla="*/ 9 w 14"/>
                <a:gd name="T17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9">
                  <a:moveTo>
                    <a:pt x="9" y="10"/>
                  </a:moveTo>
                  <a:cubicBezTo>
                    <a:pt x="7" y="13"/>
                    <a:pt x="4" y="16"/>
                    <a:pt x="2" y="20"/>
                  </a:cubicBezTo>
                  <a:cubicBezTo>
                    <a:pt x="1" y="23"/>
                    <a:pt x="0" y="26"/>
                    <a:pt x="0" y="29"/>
                  </a:cubicBezTo>
                  <a:cubicBezTo>
                    <a:pt x="0" y="26"/>
                    <a:pt x="3" y="24"/>
                    <a:pt x="5" y="23"/>
                  </a:cubicBezTo>
                  <a:cubicBezTo>
                    <a:pt x="7" y="21"/>
                    <a:pt x="8" y="20"/>
                    <a:pt x="9" y="19"/>
                  </a:cubicBezTo>
                  <a:cubicBezTo>
                    <a:pt x="11" y="16"/>
                    <a:pt x="13" y="14"/>
                    <a:pt x="13" y="11"/>
                  </a:cubicBezTo>
                  <a:cubicBezTo>
                    <a:pt x="14" y="7"/>
                    <a:pt x="13" y="4"/>
                    <a:pt x="12" y="0"/>
                  </a:cubicBezTo>
                  <a:cubicBezTo>
                    <a:pt x="12" y="1"/>
                    <a:pt x="12" y="3"/>
                    <a:pt x="12" y="4"/>
                  </a:cubicBezTo>
                  <a:cubicBezTo>
                    <a:pt x="11" y="6"/>
                    <a:pt x="10" y="8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1" name="íŝḷíḑè">
              <a:extLst>
                <a:ext uri="{FF2B5EF4-FFF2-40B4-BE49-F238E27FC236}">
                  <a16:creationId xmlns:a16="http://schemas.microsoft.com/office/drawing/2014/main" id="{24EDDB03-003C-4FD1-BA01-5BBFB9E38C15}"/>
                </a:ext>
              </a:extLst>
            </p:cNvPr>
            <p:cNvSpPr/>
            <p:nvPr/>
          </p:nvSpPr>
          <p:spPr bwMode="auto">
            <a:xfrm flipH="1">
              <a:off x="3853924" y="1928688"/>
              <a:ext cx="41030" cy="74791"/>
            </a:xfrm>
            <a:custGeom>
              <a:avLst/>
              <a:gdLst>
                <a:gd name="T0" fmla="*/ 6 w 19"/>
                <a:gd name="T1" fmla="*/ 37 h 37"/>
                <a:gd name="T2" fmla="*/ 7 w 19"/>
                <a:gd name="T3" fmla="*/ 29 h 37"/>
                <a:gd name="T4" fmla="*/ 12 w 19"/>
                <a:gd name="T5" fmla="*/ 22 h 37"/>
                <a:gd name="T6" fmla="*/ 18 w 19"/>
                <a:gd name="T7" fmla="*/ 12 h 37"/>
                <a:gd name="T8" fmla="*/ 17 w 19"/>
                <a:gd name="T9" fmla="*/ 0 h 37"/>
                <a:gd name="T10" fmla="*/ 16 w 19"/>
                <a:gd name="T11" fmla="*/ 2 h 37"/>
                <a:gd name="T12" fmla="*/ 13 w 19"/>
                <a:gd name="T13" fmla="*/ 6 h 37"/>
                <a:gd name="T14" fmla="*/ 2 w 19"/>
                <a:gd name="T15" fmla="*/ 19 h 37"/>
                <a:gd name="T16" fmla="*/ 6 w 19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7">
                  <a:moveTo>
                    <a:pt x="6" y="37"/>
                  </a:moveTo>
                  <a:cubicBezTo>
                    <a:pt x="6" y="34"/>
                    <a:pt x="6" y="31"/>
                    <a:pt x="7" y="29"/>
                  </a:cubicBezTo>
                  <a:cubicBezTo>
                    <a:pt x="8" y="26"/>
                    <a:pt x="10" y="24"/>
                    <a:pt x="12" y="22"/>
                  </a:cubicBezTo>
                  <a:cubicBezTo>
                    <a:pt x="15" y="19"/>
                    <a:pt x="17" y="16"/>
                    <a:pt x="18" y="12"/>
                  </a:cubicBezTo>
                  <a:cubicBezTo>
                    <a:pt x="19" y="8"/>
                    <a:pt x="18" y="4"/>
                    <a:pt x="17" y="0"/>
                  </a:cubicBezTo>
                  <a:cubicBezTo>
                    <a:pt x="17" y="1"/>
                    <a:pt x="16" y="2"/>
                    <a:pt x="16" y="2"/>
                  </a:cubicBezTo>
                  <a:cubicBezTo>
                    <a:pt x="15" y="4"/>
                    <a:pt x="14" y="5"/>
                    <a:pt x="13" y="6"/>
                  </a:cubicBezTo>
                  <a:cubicBezTo>
                    <a:pt x="9" y="10"/>
                    <a:pt x="4" y="13"/>
                    <a:pt x="2" y="19"/>
                  </a:cubicBezTo>
                  <a:cubicBezTo>
                    <a:pt x="0" y="25"/>
                    <a:pt x="1" y="32"/>
                    <a:pt x="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2" name="íśľïḑe">
              <a:extLst>
                <a:ext uri="{FF2B5EF4-FFF2-40B4-BE49-F238E27FC236}">
                  <a16:creationId xmlns:a16="http://schemas.microsoft.com/office/drawing/2014/main" id="{CF5A8001-CBE0-40E8-9DFD-4F69B4A0FA86}"/>
                </a:ext>
              </a:extLst>
            </p:cNvPr>
            <p:cNvSpPr/>
            <p:nvPr/>
          </p:nvSpPr>
          <p:spPr bwMode="auto">
            <a:xfrm flipH="1">
              <a:off x="1914571" y="5364743"/>
              <a:ext cx="118531" cy="111756"/>
            </a:xfrm>
            <a:custGeom>
              <a:avLst/>
              <a:gdLst>
                <a:gd name="T0" fmla="*/ 41 w 55"/>
                <a:gd name="T1" fmla="*/ 51 h 55"/>
                <a:gd name="T2" fmla="*/ 52 w 55"/>
                <a:gd name="T3" fmla="*/ 41 h 55"/>
                <a:gd name="T4" fmla="*/ 55 w 55"/>
                <a:gd name="T5" fmla="*/ 33 h 55"/>
                <a:gd name="T6" fmla="*/ 55 w 55"/>
                <a:gd name="T7" fmla="*/ 22 h 55"/>
                <a:gd name="T8" fmla="*/ 52 w 55"/>
                <a:gd name="T9" fmla="*/ 14 h 55"/>
                <a:gd name="T10" fmla="*/ 41 w 55"/>
                <a:gd name="T11" fmla="*/ 4 h 55"/>
                <a:gd name="T12" fmla="*/ 38 w 55"/>
                <a:gd name="T13" fmla="*/ 2 h 55"/>
                <a:gd name="T14" fmla="*/ 30 w 55"/>
                <a:gd name="T15" fmla="*/ 0 h 55"/>
                <a:gd name="T16" fmla="*/ 31 w 55"/>
                <a:gd name="T17" fmla="*/ 3 h 55"/>
                <a:gd name="T18" fmla="*/ 34 w 55"/>
                <a:gd name="T19" fmla="*/ 3 h 55"/>
                <a:gd name="T20" fmla="*/ 37 w 55"/>
                <a:gd name="T21" fmla="*/ 4 h 55"/>
                <a:gd name="T22" fmla="*/ 36 w 55"/>
                <a:gd name="T23" fmla="*/ 5 h 55"/>
                <a:gd name="T24" fmla="*/ 32 w 55"/>
                <a:gd name="T25" fmla="*/ 6 h 55"/>
                <a:gd name="T26" fmla="*/ 33 w 55"/>
                <a:gd name="T27" fmla="*/ 9 h 55"/>
                <a:gd name="T28" fmla="*/ 35 w 55"/>
                <a:gd name="T29" fmla="*/ 11 h 55"/>
                <a:gd name="T30" fmla="*/ 39 w 55"/>
                <a:gd name="T31" fmla="*/ 6 h 55"/>
                <a:gd name="T32" fmla="*/ 42 w 55"/>
                <a:gd name="T33" fmla="*/ 7 h 55"/>
                <a:gd name="T34" fmla="*/ 44 w 55"/>
                <a:gd name="T35" fmla="*/ 8 h 55"/>
                <a:gd name="T36" fmla="*/ 46 w 55"/>
                <a:gd name="T37" fmla="*/ 12 h 55"/>
                <a:gd name="T38" fmla="*/ 45 w 55"/>
                <a:gd name="T39" fmla="*/ 13 h 55"/>
                <a:gd name="T40" fmla="*/ 43 w 55"/>
                <a:gd name="T41" fmla="*/ 12 h 55"/>
                <a:gd name="T42" fmla="*/ 40 w 55"/>
                <a:gd name="T43" fmla="*/ 13 h 55"/>
                <a:gd name="T44" fmla="*/ 42 w 55"/>
                <a:gd name="T45" fmla="*/ 14 h 55"/>
                <a:gd name="T46" fmla="*/ 37 w 55"/>
                <a:gd name="T47" fmla="*/ 16 h 55"/>
                <a:gd name="T48" fmla="*/ 34 w 55"/>
                <a:gd name="T49" fmla="*/ 18 h 55"/>
                <a:gd name="T50" fmla="*/ 30 w 55"/>
                <a:gd name="T51" fmla="*/ 21 h 55"/>
                <a:gd name="T52" fmla="*/ 32 w 55"/>
                <a:gd name="T53" fmla="*/ 33 h 55"/>
                <a:gd name="T54" fmla="*/ 35 w 55"/>
                <a:gd name="T55" fmla="*/ 34 h 55"/>
                <a:gd name="T56" fmla="*/ 38 w 55"/>
                <a:gd name="T57" fmla="*/ 35 h 55"/>
                <a:gd name="T58" fmla="*/ 43 w 55"/>
                <a:gd name="T59" fmla="*/ 37 h 55"/>
                <a:gd name="T60" fmla="*/ 46 w 55"/>
                <a:gd name="T61" fmla="*/ 40 h 55"/>
                <a:gd name="T62" fmla="*/ 50 w 55"/>
                <a:gd name="T63" fmla="*/ 41 h 55"/>
                <a:gd name="T64" fmla="*/ 32 w 55"/>
                <a:gd name="T65" fmla="*/ 48 h 55"/>
                <a:gd name="T66" fmla="*/ 1 w 55"/>
                <a:gd name="T67" fmla="*/ 24 h 55"/>
                <a:gd name="T68" fmla="*/ 1 w 55"/>
                <a:gd name="T69" fmla="*/ 35 h 55"/>
                <a:gd name="T70" fmla="*/ 6 w 55"/>
                <a:gd name="T71" fmla="*/ 45 h 55"/>
                <a:gd name="T72" fmla="*/ 18 w 55"/>
                <a:gd name="T73" fmla="*/ 53 h 55"/>
                <a:gd name="T74" fmla="*/ 28 w 55"/>
                <a:gd name="T75" fmla="*/ 44 h 55"/>
                <a:gd name="T76" fmla="*/ 27 w 55"/>
                <a:gd name="T77" fmla="*/ 39 h 55"/>
                <a:gd name="T78" fmla="*/ 29 w 55"/>
                <a:gd name="T79" fmla="*/ 35 h 55"/>
                <a:gd name="T80" fmla="*/ 25 w 55"/>
                <a:gd name="T81" fmla="*/ 34 h 55"/>
                <a:gd name="T82" fmla="*/ 22 w 55"/>
                <a:gd name="T83" fmla="*/ 32 h 55"/>
                <a:gd name="T84" fmla="*/ 16 w 55"/>
                <a:gd name="T85" fmla="*/ 29 h 55"/>
                <a:gd name="T86" fmla="*/ 14 w 55"/>
                <a:gd name="T87" fmla="*/ 25 h 55"/>
                <a:gd name="T88" fmla="*/ 12 w 55"/>
                <a:gd name="T89" fmla="*/ 24 h 55"/>
                <a:gd name="T90" fmla="*/ 12 w 55"/>
                <a:gd name="T91" fmla="*/ 25 h 55"/>
                <a:gd name="T92" fmla="*/ 10 w 55"/>
                <a:gd name="T93" fmla="*/ 21 h 55"/>
                <a:gd name="T94" fmla="*/ 10 w 55"/>
                <a:gd name="T95" fmla="*/ 16 h 55"/>
                <a:gd name="T96" fmla="*/ 12 w 55"/>
                <a:gd name="T97" fmla="*/ 11 h 55"/>
                <a:gd name="T98" fmla="*/ 12 w 55"/>
                <a:gd name="T99" fmla="*/ 8 h 55"/>
                <a:gd name="T100" fmla="*/ 25 w 55"/>
                <a:gd name="T101" fmla="*/ 2 h 55"/>
                <a:gd name="T102" fmla="*/ 30 w 55"/>
                <a:gd name="T103" fmla="*/ 0 h 55"/>
                <a:gd name="T104" fmla="*/ 17 w 55"/>
                <a:gd name="T105" fmla="*/ 2 h 55"/>
                <a:gd name="T106" fmla="*/ 8 w 55"/>
                <a:gd name="T107" fmla="*/ 8 h 55"/>
                <a:gd name="T108" fmla="*/ 2 w 55"/>
                <a:gd name="T109" fmla="*/ 18 h 55"/>
                <a:gd name="T110" fmla="*/ 29 w 55"/>
                <a:gd name="T111" fmla="*/ 35 h 55"/>
                <a:gd name="T112" fmla="*/ 26 w 55"/>
                <a:gd name="T113" fmla="*/ 31 h 55"/>
                <a:gd name="T114" fmla="*/ 25 w 55"/>
                <a:gd name="T115" fmla="*/ 28 h 55"/>
                <a:gd name="T116" fmla="*/ 20 w 55"/>
                <a:gd name="T117" fmla="*/ 29 h 55"/>
                <a:gd name="T118" fmla="*/ 22 w 55"/>
                <a:gd name="T119" fmla="*/ 23 h 55"/>
                <a:gd name="T120" fmla="*/ 27 w 55"/>
                <a:gd name="T121" fmla="*/ 23 h 55"/>
                <a:gd name="T122" fmla="*/ 29 w 55"/>
                <a:gd name="T123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5">
                  <a:moveTo>
                    <a:pt x="30" y="55"/>
                  </a:moveTo>
                  <a:cubicBezTo>
                    <a:pt x="31" y="55"/>
                    <a:pt x="33" y="55"/>
                    <a:pt x="34" y="54"/>
                  </a:cubicBezTo>
                  <a:cubicBezTo>
                    <a:pt x="35" y="54"/>
                    <a:pt x="36" y="54"/>
                    <a:pt x="37" y="54"/>
                  </a:cubicBezTo>
                  <a:cubicBezTo>
                    <a:pt x="37" y="54"/>
                    <a:pt x="37" y="53"/>
                    <a:pt x="38" y="53"/>
                  </a:cubicBezTo>
                  <a:cubicBezTo>
                    <a:pt x="39" y="53"/>
                    <a:pt x="39" y="53"/>
                    <a:pt x="40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3" y="50"/>
                    <a:pt x="45" y="49"/>
                    <a:pt x="46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8" y="46"/>
                    <a:pt x="48" y="46"/>
                  </a:cubicBezTo>
                  <a:cubicBezTo>
                    <a:pt x="49" y="46"/>
                    <a:pt x="49" y="45"/>
                    <a:pt x="49" y="45"/>
                  </a:cubicBezTo>
                  <a:cubicBezTo>
                    <a:pt x="50" y="44"/>
                    <a:pt x="51" y="43"/>
                    <a:pt x="51" y="42"/>
                  </a:cubicBezTo>
                  <a:cubicBezTo>
                    <a:pt x="51" y="42"/>
                    <a:pt x="51" y="42"/>
                    <a:pt x="52" y="41"/>
                  </a:cubicBezTo>
                  <a:cubicBezTo>
                    <a:pt x="52" y="41"/>
                    <a:pt x="52" y="41"/>
                    <a:pt x="52" y="40"/>
                  </a:cubicBezTo>
                  <a:cubicBezTo>
                    <a:pt x="52" y="40"/>
                    <a:pt x="52" y="40"/>
                    <a:pt x="53" y="40"/>
                  </a:cubicBezTo>
                  <a:cubicBezTo>
                    <a:pt x="53" y="39"/>
                    <a:pt x="53" y="39"/>
                    <a:pt x="53" y="38"/>
                  </a:cubicBezTo>
                  <a:cubicBezTo>
                    <a:pt x="53" y="38"/>
                    <a:pt x="53" y="38"/>
                    <a:pt x="54" y="37"/>
                  </a:cubicBezTo>
                  <a:cubicBezTo>
                    <a:pt x="54" y="36"/>
                    <a:pt x="54" y="35"/>
                    <a:pt x="54" y="35"/>
                  </a:cubicBezTo>
                  <a:cubicBezTo>
                    <a:pt x="54" y="34"/>
                    <a:pt x="55" y="34"/>
                    <a:pt x="55" y="33"/>
                  </a:cubicBezTo>
                  <a:cubicBezTo>
                    <a:pt x="55" y="33"/>
                    <a:pt x="55" y="32"/>
                    <a:pt x="55" y="32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8"/>
                  </a:cubicBezTo>
                  <a:cubicBezTo>
                    <a:pt x="55" y="27"/>
                    <a:pt x="55" y="26"/>
                    <a:pt x="55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5" y="22"/>
                    <a:pt x="54" y="21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2" y="16"/>
                    <a:pt x="52" y="15"/>
                    <a:pt x="52" y="15"/>
                  </a:cubicBezTo>
                  <a:cubicBezTo>
                    <a:pt x="52" y="15"/>
                    <a:pt x="52" y="14"/>
                    <a:pt x="52" y="14"/>
                  </a:cubicBezTo>
                  <a:cubicBezTo>
                    <a:pt x="51" y="13"/>
                    <a:pt x="50" y="12"/>
                    <a:pt x="49" y="11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9"/>
                    <a:pt x="47" y="9"/>
                    <a:pt x="47" y="8"/>
                  </a:cubicBezTo>
                  <a:cubicBezTo>
                    <a:pt x="47" y="8"/>
                    <a:pt x="47" y="8"/>
                    <a:pt x="46" y="7"/>
                  </a:cubicBezTo>
                  <a:cubicBezTo>
                    <a:pt x="46" y="7"/>
                    <a:pt x="45" y="6"/>
                    <a:pt x="44" y="6"/>
                  </a:cubicBezTo>
                  <a:cubicBezTo>
                    <a:pt x="43" y="5"/>
                    <a:pt x="42" y="4"/>
                    <a:pt x="41" y="4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1"/>
                  </a:cubicBezTo>
                  <a:cubicBezTo>
                    <a:pt x="34" y="1"/>
                    <a:pt x="34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2" y="2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7" y="4"/>
                    <a:pt x="38" y="4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6" y="6"/>
                    <a:pt x="36" y="5"/>
                  </a:cubicBezTo>
                  <a:cubicBezTo>
                    <a:pt x="36" y="5"/>
                    <a:pt x="37" y="5"/>
                    <a:pt x="37" y="4"/>
                  </a:cubicBezTo>
                  <a:cubicBezTo>
                    <a:pt x="37" y="4"/>
                    <a:pt x="37" y="4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9"/>
                    <a:pt x="33" y="9"/>
                  </a:cubicBezTo>
                  <a:cubicBezTo>
                    <a:pt x="33" y="9"/>
                    <a:pt x="33" y="9"/>
                    <a:pt x="34" y="9"/>
                  </a:cubicBezTo>
                  <a:cubicBezTo>
                    <a:pt x="34" y="9"/>
                    <a:pt x="35" y="9"/>
                    <a:pt x="35" y="10"/>
                  </a:cubicBezTo>
                  <a:cubicBezTo>
                    <a:pt x="35" y="10"/>
                    <a:pt x="34" y="10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1"/>
                    <a:pt x="34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0"/>
                    <a:pt x="35" y="10"/>
                    <a:pt x="36" y="10"/>
                  </a:cubicBezTo>
                  <a:cubicBezTo>
                    <a:pt x="37" y="10"/>
                    <a:pt x="38" y="9"/>
                    <a:pt x="38" y="8"/>
                  </a:cubicBezTo>
                  <a:cubicBezTo>
                    <a:pt x="38" y="8"/>
                    <a:pt x="38" y="7"/>
                    <a:pt x="38" y="7"/>
                  </a:cubicBezTo>
                  <a:cubicBezTo>
                    <a:pt x="38" y="7"/>
                    <a:pt x="39" y="7"/>
                    <a:pt x="38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2" y="6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3" y="8"/>
                    <a:pt x="43" y="8"/>
                  </a:cubicBezTo>
                  <a:cubicBezTo>
                    <a:pt x="43" y="7"/>
                    <a:pt x="43" y="7"/>
                    <a:pt x="44" y="7"/>
                  </a:cubicBezTo>
                  <a:cubicBezTo>
                    <a:pt x="44" y="7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5" y="8"/>
                    <a:pt x="44" y="9"/>
                    <a:pt x="44" y="9"/>
                  </a:cubicBezTo>
                  <a:cubicBezTo>
                    <a:pt x="44" y="9"/>
                    <a:pt x="45" y="9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1"/>
                    <a:pt x="46" y="11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6" y="12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5" y="14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4" y="13"/>
                    <a:pt x="44" y="12"/>
                    <a:pt x="45" y="12"/>
                  </a:cubicBezTo>
                  <a:cubicBezTo>
                    <a:pt x="45" y="12"/>
                    <a:pt x="45" y="12"/>
                    <a:pt x="45" y="11"/>
                  </a:cubicBezTo>
                  <a:cubicBezTo>
                    <a:pt x="45" y="11"/>
                    <a:pt x="44" y="11"/>
                    <a:pt x="44" y="12"/>
                  </a:cubicBezTo>
                  <a:cubicBezTo>
                    <a:pt x="44" y="12"/>
                    <a:pt x="44" y="12"/>
                    <a:pt x="43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0" y="12"/>
                    <a:pt x="40" y="12"/>
                    <a:pt x="40" y="13"/>
                  </a:cubicBezTo>
                  <a:cubicBezTo>
                    <a:pt x="40" y="13"/>
                    <a:pt x="41" y="12"/>
                    <a:pt x="41" y="13"/>
                  </a:cubicBezTo>
                  <a:cubicBezTo>
                    <a:pt x="41" y="13"/>
                    <a:pt x="40" y="13"/>
                    <a:pt x="40" y="14"/>
                  </a:cubicBezTo>
                  <a:cubicBezTo>
                    <a:pt x="40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4"/>
                    <a:pt x="42" y="15"/>
                    <a:pt x="42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39" y="16"/>
                    <a:pt x="39" y="15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6"/>
                  </a:cubicBezTo>
                  <a:cubicBezTo>
                    <a:pt x="36" y="16"/>
                    <a:pt x="37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3" y="19"/>
                    <a:pt x="33" y="19"/>
                  </a:cubicBezTo>
                  <a:cubicBezTo>
                    <a:pt x="33" y="19"/>
                    <a:pt x="33" y="18"/>
                    <a:pt x="33" y="19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30" y="21"/>
                    <a:pt x="30" y="22"/>
                    <a:pt x="30" y="22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3"/>
                    <a:pt x="31" y="33"/>
                  </a:cubicBezTo>
                  <a:cubicBezTo>
                    <a:pt x="31" y="33"/>
                    <a:pt x="31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2"/>
                    <a:pt x="32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5" y="34"/>
                    <a:pt x="35" y="33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7" y="33"/>
                    <a:pt x="37" y="34"/>
                    <a:pt x="37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5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6"/>
                    <a:pt x="42" y="36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8"/>
                    <a:pt x="43" y="38"/>
                  </a:cubicBezTo>
                  <a:cubicBezTo>
                    <a:pt x="43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6" y="40"/>
                    <a:pt x="46" y="40"/>
                  </a:cubicBezTo>
                  <a:cubicBezTo>
                    <a:pt x="46" y="40"/>
                    <a:pt x="46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50" y="41"/>
                    <a:pt x="50" y="41"/>
                  </a:cubicBezTo>
                  <a:cubicBezTo>
                    <a:pt x="46" y="47"/>
                    <a:pt x="41" y="51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1"/>
                    <a:pt x="34" y="51"/>
                  </a:cubicBezTo>
                  <a:cubicBezTo>
                    <a:pt x="34" y="50"/>
                    <a:pt x="34" y="50"/>
                    <a:pt x="33" y="49"/>
                  </a:cubicBezTo>
                  <a:cubicBezTo>
                    <a:pt x="33" y="49"/>
                    <a:pt x="33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0" y="48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6"/>
                    <a:pt x="30" y="46"/>
                    <a:pt x="30" y="46"/>
                  </a:cubicBezTo>
                  <a:lnTo>
                    <a:pt x="30" y="55"/>
                  </a:lnTo>
                  <a:close/>
                  <a:moveTo>
                    <a:pt x="1" y="22"/>
                  </a:moveTo>
                  <a:cubicBezTo>
                    <a:pt x="1" y="23"/>
                    <a:pt x="1" y="23"/>
                    <a:pt x="1" y="24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9"/>
                    <a:pt x="0" y="30"/>
                    <a:pt x="1" y="30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1" y="34"/>
                    <a:pt x="1" y="35"/>
                  </a:cubicBezTo>
                  <a:cubicBezTo>
                    <a:pt x="1" y="35"/>
                    <a:pt x="2" y="36"/>
                    <a:pt x="2" y="37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" y="42"/>
                    <a:pt x="5" y="44"/>
                    <a:pt x="6" y="45"/>
                  </a:cubicBezTo>
                  <a:cubicBezTo>
                    <a:pt x="7" y="45"/>
                    <a:pt x="7" y="46"/>
                    <a:pt x="7" y="46"/>
                  </a:cubicBezTo>
                  <a:cubicBezTo>
                    <a:pt x="8" y="46"/>
                    <a:pt x="8" y="47"/>
                    <a:pt x="8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1" y="49"/>
                    <a:pt x="12" y="50"/>
                    <a:pt x="14" y="51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3"/>
                    <a:pt x="17" y="53"/>
                    <a:pt x="18" y="53"/>
                  </a:cubicBezTo>
                  <a:cubicBezTo>
                    <a:pt x="18" y="53"/>
                    <a:pt x="19" y="54"/>
                    <a:pt x="19" y="54"/>
                  </a:cubicBezTo>
                  <a:cubicBezTo>
                    <a:pt x="22" y="55"/>
                    <a:pt x="25" y="55"/>
                    <a:pt x="28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9" y="45"/>
                    <a:pt x="29" y="44"/>
                    <a:pt x="28" y="44"/>
                  </a:cubicBezTo>
                  <a:cubicBezTo>
                    <a:pt x="28" y="44"/>
                    <a:pt x="28" y="43"/>
                    <a:pt x="28" y="43"/>
                  </a:cubicBezTo>
                  <a:cubicBezTo>
                    <a:pt x="28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8" y="41"/>
                    <a:pt x="27" y="41"/>
                    <a:pt x="27" y="40"/>
                  </a:cubicBezTo>
                  <a:cubicBezTo>
                    <a:pt x="27" y="40"/>
                    <a:pt x="27" y="40"/>
                    <a:pt x="27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9" y="35"/>
                    <a:pt x="29" y="34"/>
                    <a:pt x="28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4"/>
                    <a:pt x="25" y="33"/>
                    <a:pt x="25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31"/>
                    <a:pt x="21" y="30"/>
                    <a:pt x="20" y="30"/>
                  </a:cubicBezTo>
                  <a:cubicBezTo>
                    <a:pt x="20" y="30"/>
                    <a:pt x="20" y="31"/>
                    <a:pt x="19" y="31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8" y="30"/>
                    <a:pt x="18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9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7"/>
                    <a:pt x="15" y="27"/>
                    <a:pt x="14" y="26"/>
                  </a:cubicBezTo>
                  <a:cubicBezTo>
                    <a:pt x="14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3" y="24"/>
                    <a:pt x="13" y="24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2" y="22"/>
                    <a:pt x="12" y="22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3" y="25"/>
                    <a:pt x="13" y="25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2" y="25"/>
                    <a:pt x="11" y="25"/>
                    <a:pt x="11" y="24"/>
                  </a:cubicBezTo>
                  <a:cubicBezTo>
                    <a:pt x="11" y="24"/>
                    <a:pt x="12" y="24"/>
                    <a:pt x="12" y="24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1" y="21"/>
                    <a:pt x="11" y="21"/>
                    <a:pt x="10" y="21"/>
                  </a:cubicBezTo>
                  <a:cubicBezTo>
                    <a:pt x="10" y="21"/>
                    <a:pt x="10" y="21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19"/>
                    <a:pt x="10" y="19"/>
                    <a:pt x="10" y="18"/>
                  </a:cubicBezTo>
                  <a:cubicBezTo>
                    <a:pt x="10" y="18"/>
                    <a:pt x="9" y="18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5" y="5"/>
                    <a:pt x="19" y="3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8" y="2"/>
                    <a:pt x="28" y="2"/>
                  </a:cubicBezTo>
                  <a:cubicBezTo>
                    <a:pt x="28" y="2"/>
                    <a:pt x="29" y="2"/>
                    <a:pt x="30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4" y="0"/>
                    <a:pt x="22" y="1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3" y="5"/>
                    <a:pt x="11" y="6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10"/>
                    <a:pt x="7" y="10"/>
                    <a:pt x="6" y="11"/>
                  </a:cubicBezTo>
                  <a:cubicBezTo>
                    <a:pt x="5" y="12"/>
                    <a:pt x="5" y="13"/>
                    <a:pt x="4" y="14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3" y="16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lose/>
                  <a:moveTo>
                    <a:pt x="30" y="22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8" y="34"/>
                    <a:pt x="28" y="34"/>
                    <a:pt x="27" y="34"/>
                  </a:cubicBezTo>
                  <a:cubicBezTo>
                    <a:pt x="27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2"/>
                    <a:pt x="26" y="32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5" y="28"/>
                    <a:pt x="24" y="28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9"/>
                    <a:pt x="22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0" y="29"/>
                    <a:pt x="20" y="29"/>
                  </a:cubicBezTo>
                  <a:cubicBezTo>
                    <a:pt x="20" y="29"/>
                    <a:pt x="19" y="28"/>
                    <a:pt x="19" y="28"/>
                  </a:cubicBezTo>
                  <a:cubicBezTo>
                    <a:pt x="19" y="27"/>
                    <a:pt x="19" y="26"/>
                    <a:pt x="20" y="26"/>
                  </a:cubicBezTo>
                  <a:cubicBezTo>
                    <a:pt x="20" y="26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6" y="23"/>
                    <a:pt x="26" y="23"/>
                  </a:cubicBezTo>
                  <a:cubicBezTo>
                    <a:pt x="26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5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3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3" name="íṩlide">
              <a:extLst>
                <a:ext uri="{FF2B5EF4-FFF2-40B4-BE49-F238E27FC236}">
                  <a16:creationId xmlns:a16="http://schemas.microsoft.com/office/drawing/2014/main" id="{BAA9075F-CA65-4113-A1F3-18010AAF5562}"/>
                </a:ext>
              </a:extLst>
            </p:cNvPr>
            <p:cNvSpPr/>
            <p:nvPr/>
          </p:nvSpPr>
          <p:spPr bwMode="auto">
            <a:xfrm flipH="1">
              <a:off x="2546433" y="4616841"/>
              <a:ext cx="116708" cy="97142"/>
            </a:xfrm>
            <a:custGeom>
              <a:avLst/>
              <a:gdLst>
                <a:gd name="T0" fmla="*/ 6 w 54"/>
                <a:gd name="T1" fmla="*/ 5 h 48"/>
                <a:gd name="T2" fmla="*/ 1 w 54"/>
                <a:gd name="T3" fmla="*/ 15 h 48"/>
                <a:gd name="T4" fmla="*/ 0 w 54"/>
                <a:gd name="T5" fmla="*/ 18 h 48"/>
                <a:gd name="T6" fmla="*/ 0 w 54"/>
                <a:gd name="T7" fmla="*/ 18 h 48"/>
                <a:gd name="T8" fmla="*/ 0 w 54"/>
                <a:gd name="T9" fmla="*/ 21 h 48"/>
                <a:gd name="T10" fmla="*/ 1 w 54"/>
                <a:gd name="T11" fmla="*/ 23 h 48"/>
                <a:gd name="T12" fmla="*/ 3 w 54"/>
                <a:gd name="T13" fmla="*/ 32 h 48"/>
                <a:gd name="T14" fmla="*/ 8 w 54"/>
                <a:gd name="T15" fmla="*/ 42 h 48"/>
                <a:gd name="T16" fmla="*/ 9 w 54"/>
                <a:gd name="T17" fmla="*/ 43 h 48"/>
                <a:gd name="T18" fmla="*/ 12 w 54"/>
                <a:gd name="T19" fmla="*/ 46 h 48"/>
                <a:gd name="T20" fmla="*/ 13 w 54"/>
                <a:gd name="T21" fmla="*/ 47 h 48"/>
                <a:gd name="T22" fmla="*/ 19 w 54"/>
                <a:gd name="T23" fmla="*/ 48 h 48"/>
                <a:gd name="T24" fmla="*/ 19 w 54"/>
                <a:gd name="T25" fmla="*/ 48 h 48"/>
                <a:gd name="T26" fmla="*/ 22 w 54"/>
                <a:gd name="T27" fmla="*/ 47 h 48"/>
                <a:gd name="T28" fmla="*/ 24 w 54"/>
                <a:gd name="T29" fmla="*/ 46 h 48"/>
                <a:gd name="T30" fmla="*/ 27 w 54"/>
                <a:gd name="T31" fmla="*/ 46 h 48"/>
                <a:gd name="T32" fmla="*/ 27 w 54"/>
                <a:gd name="T33" fmla="*/ 46 h 48"/>
                <a:gd name="T34" fmla="*/ 30 w 54"/>
                <a:gd name="T35" fmla="*/ 46 h 48"/>
                <a:gd name="T36" fmla="*/ 32 w 54"/>
                <a:gd name="T37" fmla="*/ 47 h 48"/>
                <a:gd name="T38" fmla="*/ 35 w 54"/>
                <a:gd name="T39" fmla="*/ 48 h 48"/>
                <a:gd name="T40" fmla="*/ 35 w 54"/>
                <a:gd name="T41" fmla="*/ 48 h 48"/>
                <a:gd name="T42" fmla="*/ 41 w 54"/>
                <a:gd name="T43" fmla="*/ 47 h 48"/>
                <a:gd name="T44" fmla="*/ 42 w 54"/>
                <a:gd name="T45" fmla="*/ 46 h 48"/>
                <a:gd name="T46" fmla="*/ 45 w 54"/>
                <a:gd name="T47" fmla="*/ 43 h 48"/>
                <a:gd name="T48" fmla="*/ 46 w 54"/>
                <a:gd name="T49" fmla="*/ 42 h 48"/>
                <a:gd name="T50" fmla="*/ 51 w 54"/>
                <a:gd name="T51" fmla="*/ 32 h 48"/>
                <a:gd name="T52" fmla="*/ 53 w 54"/>
                <a:gd name="T53" fmla="*/ 23 h 48"/>
                <a:gd name="T54" fmla="*/ 54 w 54"/>
                <a:gd name="T55" fmla="*/ 21 h 48"/>
                <a:gd name="T56" fmla="*/ 54 w 54"/>
                <a:gd name="T57" fmla="*/ 18 h 48"/>
                <a:gd name="T58" fmla="*/ 54 w 54"/>
                <a:gd name="T59" fmla="*/ 18 h 48"/>
                <a:gd name="T60" fmla="*/ 53 w 54"/>
                <a:gd name="T61" fmla="*/ 15 h 48"/>
                <a:gd name="T62" fmla="*/ 48 w 54"/>
                <a:gd name="T63" fmla="*/ 5 h 48"/>
                <a:gd name="T64" fmla="*/ 47 w 54"/>
                <a:gd name="T65" fmla="*/ 4 h 48"/>
                <a:gd name="T66" fmla="*/ 40 w 54"/>
                <a:gd name="T67" fmla="*/ 1 h 48"/>
                <a:gd name="T68" fmla="*/ 31 w 54"/>
                <a:gd name="T69" fmla="*/ 2 h 48"/>
                <a:gd name="T70" fmla="*/ 27 w 54"/>
                <a:gd name="T71" fmla="*/ 4 h 48"/>
                <a:gd name="T72" fmla="*/ 23 w 54"/>
                <a:gd name="T73" fmla="*/ 2 h 48"/>
                <a:gd name="T74" fmla="*/ 14 w 54"/>
                <a:gd name="T75" fmla="*/ 1 h 48"/>
                <a:gd name="T76" fmla="*/ 7 w 54"/>
                <a:gd name="T77" fmla="*/ 4 h 48"/>
                <a:gd name="T78" fmla="*/ 6 w 54"/>
                <a:gd name="T79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4" h="48">
                  <a:moveTo>
                    <a:pt x="6" y="5"/>
                  </a:moveTo>
                  <a:cubicBezTo>
                    <a:pt x="3" y="8"/>
                    <a:pt x="1" y="11"/>
                    <a:pt x="1" y="15"/>
                  </a:cubicBezTo>
                  <a:cubicBezTo>
                    <a:pt x="1" y="16"/>
                    <a:pt x="1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0" y="22"/>
                    <a:pt x="1" y="22"/>
                    <a:pt x="1" y="23"/>
                  </a:cubicBezTo>
                  <a:cubicBezTo>
                    <a:pt x="1" y="26"/>
                    <a:pt x="2" y="29"/>
                    <a:pt x="3" y="32"/>
                  </a:cubicBezTo>
                  <a:cubicBezTo>
                    <a:pt x="4" y="35"/>
                    <a:pt x="6" y="39"/>
                    <a:pt x="8" y="42"/>
                  </a:cubicBezTo>
                  <a:cubicBezTo>
                    <a:pt x="8" y="42"/>
                    <a:pt x="9" y="42"/>
                    <a:pt x="9" y="43"/>
                  </a:cubicBezTo>
                  <a:cubicBezTo>
                    <a:pt x="10" y="44"/>
                    <a:pt x="11" y="45"/>
                    <a:pt x="12" y="46"/>
                  </a:cubicBezTo>
                  <a:cubicBezTo>
                    <a:pt x="12" y="47"/>
                    <a:pt x="13" y="47"/>
                    <a:pt x="13" y="47"/>
                  </a:cubicBezTo>
                  <a:cubicBezTo>
                    <a:pt x="15" y="48"/>
                    <a:pt x="17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47"/>
                    <a:pt x="21" y="47"/>
                    <a:pt x="22" y="47"/>
                  </a:cubicBezTo>
                  <a:cubicBezTo>
                    <a:pt x="22" y="47"/>
                    <a:pt x="23" y="46"/>
                    <a:pt x="24" y="46"/>
                  </a:cubicBezTo>
                  <a:cubicBezTo>
                    <a:pt x="25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8" y="46"/>
                    <a:pt x="29" y="46"/>
                    <a:pt x="30" y="46"/>
                  </a:cubicBezTo>
                  <a:cubicBezTo>
                    <a:pt x="31" y="46"/>
                    <a:pt x="32" y="47"/>
                    <a:pt x="32" y="47"/>
                  </a:cubicBezTo>
                  <a:cubicBezTo>
                    <a:pt x="33" y="47"/>
                    <a:pt x="34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7" y="48"/>
                    <a:pt x="39" y="48"/>
                    <a:pt x="41" y="47"/>
                  </a:cubicBezTo>
                  <a:cubicBezTo>
                    <a:pt x="41" y="47"/>
                    <a:pt x="42" y="47"/>
                    <a:pt x="42" y="46"/>
                  </a:cubicBezTo>
                  <a:cubicBezTo>
                    <a:pt x="43" y="45"/>
                    <a:pt x="44" y="44"/>
                    <a:pt x="45" y="43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8" y="39"/>
                    <a:pt x="50" y="35"/>
                    <a:pt x="51" y="32"/>
                  </a:cubicBezTo>
                  <a:cubicBezTo>
                    <a:pt x="52" y="29"/>
                    <a:pt x="53" y="26"/>
                    <a:pt x="53" y="23"/>
                  </a:cubicBezTo>
                  <a:cubicBezTo>
                    <a:pt x="54" y="22"/>
                    <a:pt x="54" y="22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3" y="17"/>
                    <a:pt x="53" y="16"/>
                    <a:pt x="53" y="15"/>
                  </a:cubicBezTo>
                  <a:cubicBezTo>
                    <a:pt x="53" y="11"/>
                    <a:pt x="51" y="8"/>
                    <a:pt x="48" y="5"/>
                  </a:cubicBezTo>
                  <a:cubicBezTo>
                    <a:pt x="48" y="5"/>
                    <a:pt x="47" y="4"/>
                    <a:pt x="47" y="4"/>
                  </a:cubicBezTo>
                  <a:cubicBezTo>
                    <a:pt x="45" y="2"/>
                    <a:pt x="42" y="1"/>
                    <a:pt x="40" y="1"/>
                  </a:cubicBezTo>
                  <a:cubicBezTo>
                    <a:pt x="37" y="0"/>
                    <a:pt x="34" y="1"/>
                    <a:pt x="31" y="2"/>
                  </a:cubicBezTo>
                  <a:cubicBezTo>
                    <a:pt x="30" y="3"/>
                    <a:pt x="27" y="4"/>
                    <a:pt x="27" y="4"/>
                  </a:cubicBezTo>
                  <a:cubicBezTo>
                    <a:pt x="27" y="4"/>
                    <a:pt x="24" y="3"/>
                    <a:pt x="23" y="2"/>
                  </a:cubicBezTo>
                  <a:cubicBezTo>
                    <a:pt x="20" y="1"/>
                    <a:pt x="17" y="0"/>
                    <a:pt x="14" y="1"/>
                  </a:cubicBezTo>
                  <a:cubicBezTo>
                    <a:pt x="12" y="1"/>
                    <a:pt x="9" y="2"/>
                    <a:pt x="7" y="4"/>
                  </a:cubicBezTo>
                  <a:cubicBezTo>
                    <a:pt x="7" y="4"/>
                    <a:pt x="6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4" name="ïṥļíḓé">
              <a:extLst>
                <a:ext uri="{FF2B5EF4-FFF2-40B4-BE49-F238E27FC236}">
                  <a16:creationId xmlns:a16="http://schemas.microsoft.com/office/drawing/2014/main" id="{48C1AE3D-4A8B-48D4-9DB7-F0A37E017A1A}"/>
                </a:ext>
              </a:extLst>
            </p:cNvPr>
            <p:cNvSpPr/>
            <p:nvPr/>
          </p:nvSpPr>
          <p:spPr bwMode="auto">
            <a:xfrm flipH="1">
              <a:off x="2604787" y="4587612"/>
              <a:ext cx="28265" cy="29228"/>
            </a:xfrm>
            <a:custGeom>
              <a:avLst/>
              <a:gdLst>
                <a:gd name="T0" fmla="*/ 4 w 13"/>
                <a:gd name="T1" fmla="*/ 10 h 14"/>
                <a:gd name="T2" fmla="*/ 10 w 13"/>
                <a:gd name="T3" fmla="*/ 14 h 14"/>
                <a:gd name="T4" fmla="*/ 13 w 13"/>
                <a:gd name="T5" fmla="*/ 14 h 14"/>
                <a:gd name="T6" fmla="*/ 13 w 13"/>
                <a:gd name="T7" fmla="*/ 14 h 14"/>
                <a:gd name="T8" fmla="*/ 10 w 13"/>
                <a:gd name="T9" fmla="*/ 5 h 14"/>
                <a:gd name="T10" fmla="*/ 1 w 13"/>
                <a:gd name="T11" fmla="*/ 0 h 14"/>
                <a:gd name="T12" fmla="*/ 1 w 13"/>
                <a:gd name="T13" fmla="*/ 0 h 14"/>
                <a:gd name="T14" fmla="*/ 0 w 13"/>
                <a:gd name="T15" fmla="*/ 0 h 14"/>
                <a:gd name="T16" fmla="*/ 1 w 13"/>
                <a:gd name="T17" fmla="*/ 3 h 14"/>
                <a:gd name="T18" fmla="*/ 4 w 13"/>
                <a:gd name="T1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">
                  <a:moveTo>
                    <a:pt x="4" y="10"/>
                  </a:moveTo>
                  <a:cubicBezTo>
                    <a:pt x="6" y="12"/>
                    <a:pt x="7" y="13"/>
                    <a:pt x="10" y="14"/>
                  </a:cubicBezTo>
                  <a:cubicBezTo>
                    <a:pt x="11" y="14"/>
                    <a:pt x="12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1"/>
                    <a:pt x="12" y="8"/>
                    <a:pt x="10" y="5"/>
                  </a:cubicBezTo>
                  <a:cubicBezTo>
                    <a:pt x="8" y="2"/>
                    <a:pt x="5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6"/>
                    <a:pt x="2" y="8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5" name="ïşļiďé">
              <a:extLst>
                <a:ext uri="{FF2B5EF4-FFF2-40B4-BE49-F238E27FC236}">
                  <a16:creationId xmlns:a16="http://schemas.microsoft.com/office/drawing/2014/main" id="{90C94986-E325-45D3-91AB-92C20BF450D5}"/>
                </a:ext>
              </a:extLst>
            </p:cNvPr>
            <p:cNvSpPr/>
            <p:nvPr/>
          </p:nvSpPr>
          <p:spPr bwMode="auto">
            <a:xfrm flipH="1">
              <a:off x="4164841" y="2761698"/>
              <a:ext cx="23706" cy="103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6" name="îSľîḑé">
              <a:extLst>
                <a:ext uri="{FF2B5EF4-FFF2-40B4-BE49-F238E27FC236}">
                  <a16:creationId xmlns:a16="http://schemas.microsoft.com/office/drawing/2014/main" id="{151C1576-8E24-424C-997C-8F0EF78AF90B}"/>
                </a:ext>
              </a:extLst>
            </p:cNvPr>
            <p:cNvSpPr/>
            <p:nvPr/>
          </p:nvSpPr>
          <p:spPr bwMode="auto">
            <a:xfrm flipH="1">
              <a:off x="4149341" y="2776312"/>
              <a:ext cx="127649" cy="85106"/>
            </a:xfrm>
            <a:custGeom>
              <a:avLst/>
              <a:gdLst>
                <a:gd name="T0" fmla="*/ 30 w 59"/>
                <a:gd name="T1" fmla="*/ 42 h 42"/>
                <a:gd name="T2" fmla="*/ 59 w 59"/>
                <a:gd name="T3" fmla="*/ 42 h 42"/>
                <a:gd name="T4" fmla="*/ 59 w 59"/>
                <a:gd name="T5" fmla="*/ 0 h 42"/>
                <a:gd name="T6" fmla="*/ 30 w 59"/>
                <a:gd name="T7" fmla="*/ 0 h 42"/>
                <a:gd name="T8" fmla="*/ 30 w 59"/>
                <a:gd name="T9" fmla="*/ 4 h 42"/>
                <a:gd name="T10" fmla="*/ 46 w 59"/>
                <a:gd name="T11" fmla="*/ 21 h 42"/>
                <a:gd name="T12" fmla="*/ 30 w 59"/>
                <a:gd name="T13" fmla="*/ 37 h 42"/>
                <a:gd name="T14" fmla="*/ 30 w 59"/>
                <a:gd name="T15" fmla="*/ 42 h 42"/>
                <a:gd name="T16" fmla="*/ 0 w 59"/>
                <a:gd name="T17" fmla="*/ 42 h 42"/>
                <a:gd name="T18" fmla="*/ 30 w 59"/>
                <a:gd name="T19" fmla="*/ 42 h 42"/>
                <a:gd name="T20" fmla="*/ 30 w 59"/>
                <a:gd name="T21" fmla="*/ 37 h 42"/>
                <a:gd name="T22" fmla="*/ 30 w 59"/>
                <a:gd name="T23" fmla="*/ 37 h 42"/>
                <a:gd name="T24" fmla="*/ 13 w 59"/>
                <a:gd name="T25" fmla="*/ 21 h 42"/>
                <a:gd name="T26" fmla="*/ 30 w 59"/>
                <a:gd name="T27" fmla="*/ 4 h 42"/>
                <a:gd name="T28" fmla="*/ 30 w 59"/>
                <a:gd name="T29" fmla="*/ 4 h 42"/>
                <a:gd name="T30" fmla="*/ 30 w 59"/>
                <a:gd name="T31" fmla="*/ 4 h 42"/>
                <a:gd name="T32" fmla="*/ 30 w 59"/>
                <a:gd name="T33" fmla="*/ 0 h 42"/>
                <a:gd name="T34" fmla="*/ 0 w 59"/>
                <a:gd name="T35" fmla="*/ 0 h 42"/>
                <a:gd name="T36" fmla="*/ 0 w 59"/>
                <a:gd name="T3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42">
                  <a:moveTo>
                    <a:pt x="30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9" y="4"/>
                    <a:pt x="46" y="12"/>
                    <a:pt x="46" y="21"/>
                  </a:cubicBezTo>
                  <a:cubicBezTo>
                    <a:pt x="46" y="30"/>
                    <a:pt x="39" y="37"/>
                    <a:pt x="30" y="37"/>
                  </a:cubicBezTo>
                  <a:lnTo>
                    <a:pt x="30" y="42"/>
                  </a:lnTo>
                  <a:close/>
                  <a:moveTo>
                    <a:pt x="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1" y="37"/>
                    <a:pt x="13" y="30"/>
                    <a:pt x="13" y="21"/>
                  </a:cubicBezTo>
                  <a:cubicBezTo>
                    <a:pt x="13" y="12"/>
                    <a:pt x="2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7" name="iSḻîdé">
              <a:extLst>
                <a:ext uri="{FF2B5EF4-FFF2-40B4-BE49-F238E27FC236}">
                  <a16:creationId xmlns:a16="http://schemas.microsoft.com/office/drawing/2014/main" id="{CED2C2A7-52F9-4981-829F-377416E0F022}"/>
                </a:ext>
              </a:extLst>
            </p:cNvPr>
            <p:cNvSpPr/>
            <p:nvPr/>
          </p:nvSpPr>
          <p:spPr bwMode="auto">
            <a:xfrm flipH="1">
              <a:off x="4188547" y="2796944"/>
              <a:ext cx="47413" cy="4470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8" name="ïṩḷîďé">
              <a:extLst>
                <a:ext uri="{FF2B5EF4-FFF2-40B4-BE49-F238E27FC236}">
                  <a16:creationId xmlns:a16="http://schemas.microsoft.com/office/drawing/2014/main" id="{A9008DF2-51D9-4642-8CE4-7E272B73B997}"/>
                </a:ext>
              </a:extLst>
            </p:cNvPr>
            <p:cNvSpPr/>
            <p:nvPr/>
          </p:nvSpPr>
          <p:spPr bwMode="auto">
            <a:xfrm flipH="1">
              <a:off x="2958557" y="1477368"/>
              <a:ext cx="110326" cy="103159"/>
            </a:xfrm>
            <a:custGeom>
              <a:avLst/>
              <a:gdLst>
                <a:gd name="T0" fmla="*/ 26 w 51"/>
                <a:gd name="T1" fmla="*/ 51 h 51"/>
                <a:gd name="T2" fmla="*/ 51 w 51"/>
                <a:gd name="T3" fmla="*/ 25 h 51"/>
                <a:gd name="T4" fmla="*/ 26 w 51"/>
                <a:gd name="T5" fmla="*/ 0 h 51"/>
                <a:gd name="T6" fmla="*/ 26 w 51"/>
                <a:gd name="T7" fmla="*/ 18 h 51"/>
                <a:gd name="T8" fmla="*/ 33 w 51"/>
                <a:gd name="T9" fmla="*/ 25 h 51"/>
                <a:gd name="T10" fmla="*/ 26 w 51"/>
                <a:gd name="T11" fmla="*/ 33 h 51"/>
                <a:gd name="T12" fmla="*/ 26 w 51"/>
                <a:gd name="T13" fmla="*/ 51 h 51"/>
                <a:gd name="T14" fmla="*/ 26 w 51"/>
                <a:gd name="T15" fmla="*/ 33 h 51"/>
                <a:gd name="T16" fmla="*/ 26 w 51"/>
                <a:gd name="T17" fmla="*/ 33 h 51"/>
                <a:gd name="T18" fmla="*/ 26 w 51"/>
                <a:gd name="T19" fmla="*/ 0 h 51"/>
                <a:gd name="T20" fmla="*/ 0 w 51"/>
                <a:gd name="T21" fmla="*/ 25 h 51"/>
                <a:gd name="T22" fmla="*/ 26 w 51"/>
                <a:gd name="T23" fmla="*/ 51 h 51"/>
                <a:gd name="T24" fmla="*/ 26 w 51"/>
                <a:gd name="T25" fmla="*/ 33 h 51"/>
                <a:gd name="T26" fmla="*/ 26 w 51"/>
                <a:gd name="T27" fmla="*/ 33 h 51"/>
                <a:gd name="T28" fmla="*/ 18 w 51"/>
                <a:gd name="T29" fmla="*/ 25 h 51"/>
                <a:gd name="T30" fmla="*/ 26 w 51"/>
                <a:gd name="T31" fmla="*/ 18 h 51"/>
                <a:gd name="T32" fmla="*/ 26 w 51"/>
                <a:gd name="T3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40" y="51"/>
                    <a:pt x="51" y="40"/>
                    <a:pt x="51" y="25"/>
                  </a:cubicBezTo>
                  <a:cubicBezTo>
                    <a:pt x="51" y="11"/>
                    <a:pt x="40" y="0"/>
                    <a:pt x="26" y="0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0" y="18"/>
                    <a:pt x="33" y="21"/>
                    <a:pt x="33" y="25"/>
                  </a:cubicBezTo>
                  <a:cubicBezTo>
                    <a:pt x="33" y="30"/>
                    <a:pt x="30" y="33"/>
                    <a:pt x="26" y="33"/>
                  </a:cubicBezTo>
                  <a:cubicBezTo>
                    <a:pt x="26" y="51"/>
                    <a:pt x="26" y="51"/>
                    <a:pt x="26" y="51"/>
                  </a:cubicBezTo>
                  <a:close/>
                  <a:moveTo>
                    <a:pt x="26" y="33"/>
                  </a:moveTo>
                  <a:cubicBezTo>
                    <a:pt x="26" y="33"/>
                    <a:pt x="26" y="33"/>
                    <a:pt x="26" y="33"/>
                  </a:cubicBezTo>
                  <a:moveTo>
                    <a:pt x="26" y="0"/>
                  </a:moveTo>
                  <a:cubicBezTo>
                    <a:pt x="11" y="0"/>
                    <a:pt x="0" y="11"/>
                    <a:pt x="0" y="25"/>
                  </a:cubicBezTo>
                  <a:cubicBezTo>
                    <a:pt x="0" y="40"/>
                    <a:pt x="11" y="51"/>
                    <a:pt x="26" y="51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2" y="33"/>
                    <a:pt x="18" y="30"/>
                    <a:pt x="18" y="25"/>
                  </a:cubicBezTo>
                  <a:cubicBezTo>
                    <a:pt x="18" y="21"/>
                    <a:pt x="22" y="18"/>
                    <a:pt x="26" y="18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9" name="ï$1îdê">
              <a:extLst>
                <a:ext uri="{FF2B5EF4-FFF2-40B4-BE49-F238E27FC236}">
                  <a16:creationId xmlns:a16="http://schemas.microsoft.com/office/drawing/2014/main" id="{4144AFFA-6A87-4F5E-ABA6-D71930D4124B}"/>
                </a:ext>
              </a:extLst>
            </p:cNvPr>
            <p:cNvSpPr/>
            <p:nvPr/>
          </p:nvSpPr>
          <p:spPr bwMode="auto">
            <a:xfrm flipH="1">
              <a:off x="2999588" y="1515193"/>
              <a:ext cx="25530" cy="24930"/>
            </a:xfrm>
            <a:custGeom>
              <a:avLst/>
              <a:gdLst>
                <a:gd name="T0" fmla="*/ 6 w 12"/>
                <a:gd name="T1" fmla="*/ 12 h 12"/>
                <a:gd name="T2" fmla="*/ 12 w 12"/>
                <a:gd name="T3" fmla="*/ 6 h 12"/>
                <a:gd name="T4" fmla="*/ 6 w 12"/>
                <a:gd name="T5" fmla="*/ 0 h 12"/>
                <a:gd name="T6" fmla="*/ 6 w 12"/>
                <a:gd name="T7" fmla="*/ 2 h 12"/>
                <a:gd name="T8" fmla="*/ 10 w 12"/>
                <a:gd name="T9" fmla="*/ 6 h 12"/>
                <a:gd name="T10" fmla="*/ 6 w 12"/>
                <a:gd name="T11" fmla="*/ 11 h 12"/>
                <a:gd name="T12" fmla="*/ 6 w 12"/>
                <a:gd name="T13" fmla="*/ 12 h 12"/>
                <a:gd name="T14" fmla="*/ 6 w 12"/>
                <a:gd name="T15" fmla="*/ 0 h 12"/>
                <a:gd name="T16" fmla="*/ 0 w 12"/>
                <a:gd name="T17" fmla="*/ 6 h 12"/>
                <a:gd name="T18" fmla="*/ 6 w 12"/>
                <a:gd name="T19" fmla="*/ 12 h 12"/>
                <a:gd name="T20" fmla="*/ 6 w 12"/>
                <a:gd name="T21" fmla="*/ 12 h 12"/>
                <a:gd name="T22" fmla="*/ 6 w 12"/>
                <a:gd name="T23" fmla="*/ 11 h 12"/>
                <a:gd name="T24" fmla="*/ 6 w 12"/>
                <a:gd name="T25" fmla="*/ 11 h 12"/>
                <a:gd name="T26" fmla="*/ 6 w 12"/>
                <a:gd name="T27" fmla="*/ 11 h 12"/>
                <a:gd name="T28" fmla="*/ 1 w 12"/>
                <a:gd name="T29" fmla="*/ 6 h 12"/>
                <a:gd name="T30" fmla="*/ 6 w 12"/>
                <a:gd name="T31" fmla="*/ 2 h 12"/>
                <a:gd name="T32" fmla="*/ 6 w 12"/>
                <a:gd name="T33" fmla="*/ 2 h 12"/>
                <a:gd name="T34" fmla="*/ 6 w 12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10" y="4"/>
                    <a:pt x="10" y="6"/>
                  </a:cubicBezTo>
                  <a:cubicBezTo>
                    <a:pt x="10" y="9"/>
                    <a:pt x="8" y="11"/>
                    <a:pt x="6" y="11"/>
                  </a:cubicBezTo>
                  <a:lnTo>
                    <a:pt x="6" y="12"/>
                  </a:lnTo>
                  <a:close/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1" y="9"/>
                    <a:pt x="1" y="6"/>
                  </a:cubicBezTo>
                  <a:cubicBezTo>
                    <a:pt x="1" y="4"/>
                    <a:pt x="3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0" name="îş1iḍé">
              <a:extLst>
                <a:ext uri="{FF2B5EF4-FFF2-40B4-BE49-F238E27FC236}">
                  <a16:creationId xmlns:a16="http://schemas.microsoft.com/office/drawing/2014/main" id="{EE101804-5AE4-4DD4-82E8-9AD5B6FD56F8}"/>
                </a:ext>
              </a:extLst>
            </p:cNvPr>
            <p:cNvSpPr/>
            <p:nvPr/>
          </p:nvSpPr>
          <p:spPr bwMode="auto">
            <a:xfrm flipH="1">
              <a:off x="2292047" y="3908482"/>
              <a:ext cx="120355" cy="120352"/>
            </a:xfrm>
            <a:custGeom>
              <a:avLst/>
              <a:gdLst>
                <a:gd name="T0" fmla="*/ 46 w 56"/>
                <a:gd name="T1" fmla="*/ 41 h 59"/>
                <a:gd name="T2" fmla="*/ 50 w 56"/>
                <a:gd name="T3" fmla="*/ 39 h 59"/>
                <a:gd name="T4" fmla="*/ 55 w 56"/>
                <a:gd name="T5" fmla="*/ 37 h 59"/>
                <a:gd name="T6" fmla="*/ 55 w 56"/>
                <a:gd name="T7" fmla="*/ 30 h 59"/>
                <a:gd name="T8" fmla="*/ 54 w 56"/>
                <a:gd name="T9" fmla="*/ 17 h 59"/>
                <a:gd name="T10" fmla="*/ 42 w 56"/>
                <a:gd name="T11" fmla="*/ 28 h 59"/>
                <a:gd name="T12" fmla="*/ 37 w 56"/>
                <a:gd name="T13" fmla="*/ 32 h 59"/>
                <a:gd name="T14" fmla="*/ 37 w 56"/>
                <a:gd name="T15" fmla="*/ 28 h 59"/>
                <a:gd name="T16" fmla="*/ 42 w 56"/>
                <a:gd name="T17" fmla="*/ 20 h 59"/>
                <a:gd name="T18" fmla="*/ 38 w 56"/>
                <a:gd name="T19" fmla="*/ 12 h 59"/>
                <a:gd name="T20" fmla="*/ 28 w 56"/>
                <a:gd name="T21" fmla="*/ 0 h 59"/>
                <a:gd name="T22" fmla="*/ 28 w 56"/>
                <a:gd name="T23" fmla="*/ 0 h 59"/>
                <a:gd name="T24" fmla="*/ 28 w 56"/>
                <a:gd name="T25" fmla="*/ 0 h 59"/>
                <a:gd name="T26" fmla="*/ 28 w 56"/>
                <a:gd name="T27" fmla="*/ 0 h 59"/>
                <a:gd name="T28" fmla="*/ 28 w 56"/>
                <a:gd name="T29" fmla="*/ 0 h 59"/>
                <a:gd name="T30" fmla="*/ 18 w 56"/>
                <a:gd name="T31" fmla="*/ 12 h 59"/>
                <a:gd name="T32" fmla="*/ 14 w 56"/>
                <a:gd name="T33" fmla="*/ 20 h 59"/>
                <a:gd name="T34" fmla="*/ 18 w 56"/>
                <a:gd name="T35" fmla="*/ 28 h 59"/>
                <a:gd name="T36" fmla="*/ 19 w 56"/>
                <a:gd name="T37" fmla="*/ 32 h 59"/>
                <a:gd name="T38" fmla="*/ 14 w 56"/>
                <a:gd name="T39" fmla="*/ 28 h 59"/>
                <a:gd name="T40" fmla="*/ 2 w 56"/>
                <a:gd name="T41" fmla="*/ 17 h 59"/>
                <a:gd name="T42" fmla="*/ 1 w 56"/>
                <a:gd name="T43" fmla="*/ 30 h 59"/>
                <a:gd name="T44" fmla="*/ 1 w 56"/>
                <a:gd name="T45" fmla="*/ 37 h 59"/>
                <a:gd name="T46" fmla="*/ 6 w 56"/>
                <a:gd name="T47" fmla="*/ 39 h 59"/>
                <a:gd name="T48" fmla="*/ 10 w 56"/>
                <a:gd name="T49" fmla="*/ 41 h 59"/>
                <a:gd name="T50" fmla="*/ 9 w 56"/>
                <a:gd name="T51" fmla="*/ 44 h 59"/>
                <a:gd name="T52" fmla="*/ 1 w 56"/>
                <a:gd name="T53" fmla="*/ 41 h 59"/>
                <a:gd name="T54" fmla="*/ 13 w 56"/>
                <a:gd name="T55" fmla="*/ 58 h 59"/>
                <a:gd name="T56" fmla="*/ 19 w 56"/>
                <a:gd name="T57" fmla="*/ 57 h 59"/>
                <a:gd name="T58" fmla="*/ 25 w 56"/>
                <a:gd name="T59" fmla="*/ 53 h 59"/>
                <a:gd name="T60" fmla="*/ 27 w 56"/>
                <a:gd name="T61" fmla="*/ 53 h 59"/>
                <a:gd name="T62" fmla="*/ 27 w 56"/>
                <a:gd name="T63" fmla="*/ 50 h 59"/>
                <a:gd name="T64" fmla="*/ 28 w 56"/>
                <a:gd name="T65" fmla="*/ 26 h 59"/>
                <a:gd name="T66" fmla="*/ 29 w 56"/>
                <a:gd name="T67" fmla="*/ 50 h 59"/>
                <a:gd name="T68" fmla="*/ 29 w 56"/>
                <a:gd name="T69" fmla="*/ 53 h 59"/>
                <a:gd name="T70" fmla="*/ 31 w 56"/>
                <a:gd name="T71" fmla="*/ 53 h 59"/>
                <a:gd name="T72" fmla="*/ 37 w 56"/>
                <a:gd name="T73" fmla="*/ 57 h 59"/>
                <a:gd name="T74" fmla="*/ 43 w 56"/>
                <a:gd name="T75" fmla="*/ 58 h 59"/>
                <a:gd name="T76" fmla="*/ 55 w 56"/>
                <a:gd name="T77" fmla="*/ 41 h 59"/>
                <a:gd name="T78" fmla="*/ 47 w 56"/>
                <a:gd name="T79" fmla="*/ 44 h 59"/>
                <a:gd name="T80" fmla="*/ 46 w 56"/>
                <a:gd name="T81" fmla="*/ 4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" h="59">
                  <a:moveTo>
                    <a:pt x="46" y="41"/>
                  </a:moveTo>
                  <a:cubicBezTo>
                    <a:pt x="47" y="40"/>
                    <a:pt x="49" y="39"/>
                    <a:pt x="50" y="39"/>
                  </a:cubicBezTo>
                  <a:cubicBezTo>
                    <a:pt x="52" y="38"/>
                    <a:pt x="53" y="38"/>
                    <a:pt x="55" y="37"/>
                  </a:cubicBezTo>
                  <a:cubicBezTo>
                    <a:pt x="55" y="35"/>
                    <a:pt x="56" y="32"/>
                    <a:pt x="55" y="30"/>
                  </a:cubicBezTo>
                  <a:cubicBezTo>
                    <a:pt x="55" y="26"/>
                    <a:pt x="54" y="22"/>
                    <a:pt x="54" y="17"/>
                  </a:cubicBezTo>
                  <a:cubicBezTo>
                    <a:pt x="49" y="20"/>
                    <a:pt x="43" y="22"/>
                    <a:pt x="42" y="28"/>
                  </a:cubicBezTo>
                  <a:cubicBezTo>
                    <a:pt x="41" y="30"/>
                    <a:pt x="39" y="33"/>
                    <a:pt x="37" y="32"/>
                  </a:cubicBezTo>
                  <a:cubicBezTo>
                    <a:pt x="36" y="31"/>
                    <a:pt x="37" y="29"/>
                    <a:pt x="37" y="28"/>
                  </a:cubicBezTo>
                  <a:cubicBezTo>
                    <a:pt x="39" y="25"/>
                    <a:pt x="42" y="23"/>
                    <a:pt x="42" y="20"/>
                  </a:cubicBezTo>
                  <a:cubicBezTo>
                    <a:pt x="42" y="17"/>
                    <a:pt x="40" y="14"/>
                    <a:pt x="38" y="12"/>
                  </a:cubicBezTo>
                  <a:cubicBezTo>
                    <a:pt x="35" y="8"/>
                    <a:pt x="31" y="5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5"/>
                    <a:pt x="21" y="8"/>
                    <a:pt x="18" y="12"/>
                  </a:cubicBezTo>
                  <a:cubicBezTo>
                    <a:pt x="16" y="14"/>
                    <a:pt x="14" y="17"/>
                    <a:pt x="14" y="20"/>
                  </a:cubicBezTo>
                  <a:cubicBezTo>
                    <a:pt x="14" y="23"/>
                    <a:pt x="17" y="25"/>
                    <a:pt x="18" y="28"/>
                  </a:cubicBezTo>
                  <a:cubicBezTo>
                    <a:pt x="19" y="29"/>
                    <a:pt x="20" y="31"/>
                    <a:pt x="19" y="32"/>
                  </a:cubicBezTo>
                  <a:cubicBezTo>
                    <a:pt x="16" y="33"/>
                    <a:pt x="15" y="30"/>
                    <a:pt x="14" y="28"/>
                  </a:cubicBezTo>
                  <a:cubicBezTo>
                    <a:pt x="13" y="22"/>
                    <a:pt x="7" y="20"/>
                    <a:pt x="2" y="17"/>
                  </a:cubicBezTo>
                  <a:cubicBezTo>
                    <a:pt x="2" y="22"/>
                    <a:pt x="1" y="26"/>
                    <a:pt x="1" y="30"/>
                  </a:cubicBezTo>
                  <a:cubicBezTo>
                    <a:pt x="0" y="32"/>
                    <a:pt x="1" y="35"/>
                    <a:pt x="1" y="37"/>
                  </a:cubicBezTo>
                  <a:cubicBezTo>
                    <a:pt x="3" y="38"/>
                    <a:pt x="4" y="38"/>
                    <a:pt x="6" y="39"/>
                  </a:cubicBezTo>
                  <a:cubicBezTo>
                    <a:pt x="7" y="39"/>
                    <a:pt x="9" y="40"/>
                    <a:pt x="10" y="41"/>
                  </a:cubicBezTo>
                  <a:cubicBezTo>
                    <a:pt x="11" y="42"/>
                    <a:pt x="11" y="44"/>
                    <a:pt x="9" y="44"/>
                  </a:cubicBezTo>
                  <a:cubicBezTo>
                    <a:pt x="6" y="43"/>
                    <a:pt x="4" y="40"/>
                    <a:pt x="1" y="41"/>
                  </a:cubicBezTo>
                  <a:cubicBezTo>
                    <a:pt x="2" y="48"/>
                    <a:pt x="6" y="55"/>
                    <a:pt x="13" y="58"/>
                  </a:cubicBezTo>
                  <a:cubicBezTo>
                    <a:pt x="16" y="59"/>
                    <a:pt x="17" y="59"/>
                    <a:pt x="19" y="57"/>
                  </a:cubicBezTo>
                  <a:cubicBezTo>
                    <a:pt x="21" y="56"/>
                    <a:pt x="22" y="54"/>
                    <a:pt x="25" y="53"/>
                  </a:cubicBezTo>
                  <a:cubicBezTo>
                    <a:pt x="26" y="53"/>
                    <a:pt x="26" y="54"/>
                    <a:pt x="27" y="53"/>
                  </a:cubicBezTo>
                  <a:cubicBezTo>
                    <a:pt x="27" y="52"/>
                    <a:pt x="27" y="51"/>
                    <a:pt x="27" y="50"/>
                  </a:cubicBezTo>
                  <a:cubicBezTo>
                    <a:pt x="27" y="41"/>
                    <a:pt x="28" y="36"/>
                    <a:pt x="28" y="26"/>
                  </a:cubicBezTo>
                  <a:cubicBezTo>
                    <a:pt x="28" y="36"/>
                    <a:pt x="29" y="41"/>
                    <a:pt x="29" y="50"/>
                  </a:cubicBezTo>
                  <a:cubicBezTo>
                    <a:pt x="29" y="51"/>
                    <a:pt x="29" y="52"/>
                    <a:pt x="29" y="53"/>
                  </a:cubicBezTo>
                  <a:cubicBezTo>
                    <a:pt x="29" y="54"/>
                    <a:pt x="30" y="53"/>
                    <a:pt x="31" y="53"/>
                  </a:cubicBezTo>
                  <a:cubicBezTo>
                    <a:pt x="34" y="54"/>
                    <a:pt x="35" y="56"/>
                    <a:pt x="37" y="57"/>
                  </a:cubicBezTo>
                  <a:cubicBezTo>
                    <a:pt x="39" y="59"/>
                    <a:pt x="40" y="59"/>
                    <a:pt x="43" y="58"/>
                  </a:cubicBezTo>
                  <a:cubicBezTo>
                    <a:pt x="50" y="55"/>
                    <a:pt x="54" y="48"/>
                    <a:pt x="55" y="41"/>
                  </a:cubicBezTo>
                  <a:cubicBezTo>
                    <a:pt x="52" y="40"/>
                    <a:pt x="50" y="43"/>
                    <a:pt x="47" y="44"/>
                  </a:cubicBezTo>
                  <a:cubicBezTo>
                    <a:pt x="45" y="44"/>
                    <a:pt x="45" y="42"/>
                    <a:pt x="4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1" name="ïsľïḍé">
              <a:extLst>
                <a:ext uri="{FF2B5EF4-FFF2-40B4-BE49-F238E27FC236}">
                  <a16:creationId xmlns:a16="http://schemas.microsoft.com/office/drawing/2014/main" id="{3798AC17-9899-4F47-89A8-611A6FB3F551}"/>
                </a:ext>
              </a:extLst>
            </p:cNvPr>
            <p:cNvSpPr/>
            <p:nvPr/>
          </p:nvSpPr>
          <p:spPr bwMode="auto">
            <a:xfrm flipH="1">
              <a:off x="2347665" y="4021098"/>
              <a:ext cx="9117" cy="361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2" name="îṣḷîďe">
              <a:extLst>
                <a:ext uri="{FF2B5EF4-FFF2-40B4-BE49-F238E27FC236}">
                  <a16:creationId xmlns:a16="http://schemas.microsoft.com/office/drawing/2014/main" id="{A520D82E-1E41-4112-A06F-C55AF4950B02}"/>
                </a:ext>
              </a:extLst>
            </p:cNvPr>
            <p:cNvSpPr/>
            <p:nvPr/>
          </p:nvSpPr>
          <p:spPr bwMode="auto">
            <a:xfrm flipH="1">
              <a:off x="1837069" y="3522495"/>
              <a:ext cx="31913" cy="38685"/>
            </a:xfrm>
            <a:custGeom>
              <a:avLst/>
              <a:gdLst>
                <a:gd name="T0" fmla="*/ 0 w 15"/>
                <a:gd name="T1" fmla="*/ 0 h 19"/>
                <a:gd name="T2" fmla="*/ 6 w 15"/>
                <a:gd name="T3" fmla="*/ 19 h 19"/>
                <a:gd name="T4" fmla="*/ 15 w 15"/>
                <a:gd name="T5" fmla="*/ 0 h 19"/>
                <a:gd name="T6" fmla="*/ 0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0" y="0"/>
                  </a:moveTo>
                  <a:cubicBezTo>
                    <a:pt x="0" y="8"/>
                    <a:pt x="3" y="15"/>
                    <a:pt x="6" y="19"/>
                  </a:cubicBezTo>
                  <a:cubicBezTo>
                    <a:pt x="11" y="14"/>
                    <a:pt x="15" y="8"/>
                    <a:pt x="1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3" name="iśľïḑe">
              <a:extLst>
                <a:ext uri="{FF2B5EF4-FFF2-40B4-BE49-F238E27FC236}">
                  <a16:creationId xmlns:a16="http://schemas.microsoft.com/office/drawing/2014/main" id="{8CFF0691-DAA1-4717-B71A-98D35D70334B}"/>
                </a:ext>
              </a:extLst>
            </p:cNvPr>
            <p:cNvSpPr/>
            <p:nvPr/>
          </p:nvSpPr>
          <p:spPr bwMode="auto">
            <a:xfrm flipH="1">
              <a:off x="1837069" y="3473495"/>
              <a:ext cx="31913" cy="38685"/>
            </a:xfrm>
            <a:custGeom>
              <a:avLst/>
              <a:gdLst>
                <a:gd name="T0" fmla="*/ 6 w 15"/>
                <a:gd name="T1" fmla="*/ 0 h 19"/>
                <a:gd name="T2" fmla="*/ 0 w 15"/>
                <a:gd name="T3" fmla="*/ 19 h 19"/>
                <a:gd name="T4" fmla="*/ 15 w 15"/>
                <a:gd name="T5" fmla="*/ 19 h 19"/>
                <a:gd name="T6" fmla="*/ 6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6" y="0"/>
                  </a:moveTo>
                  <a:cubicBezTo>
                    <a:pt x="3" y="5"/>
                    <a:pt x="0" y="11"/>
                    <a:pt x="0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1"/>
                    <a:pt x="11" y="5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4" name="ï$ḻiḋé">
              <a:extLst>
                <a:ext uri="{FF2B5EF4-FFF2-40B4-BE49-F238E27FC236}">
                  <a16:creationId xmlns:a16="http://schemas.microsoft.com/office/drawing/2014/main" id="{B74BB6CF-20BF-479F-9F8D-B021CA1C4DCD}"/>
                </a:ext>
              </a:extLst>
            </p:cNvPr>
            <p:cNvSpPr/>
            <p:nvPr/>
          </p:nvSpPr>
          <p:spPr bwMode="auto">
            <a:xfrm flipH="1">
              <a:off x="1864423" y="3457160"/>
              <a:ext cx="30089" cy="55018"/>
            </a:xfrm>
            <a:custGeom>
              <a:avLst/>
              <a:gdLst>
                <a:gd name="T0" fmla="*/ 0 w 14"/>
                <a:gd name="T1" fmla="*/ 0 h 27"/>
                <a:gd name="T2" fmla="*/ 0 w 14"/>
                <a:gd name="T3" fmla="*/ 27 h 27"/>
                <a:gd name="T4" fmla="*/ 7 w 14"/>
                <a:gd name="T5" fmla="*/ 27 h 27"/>
                <a:gd name="T6" fmla="*/ 14 w 14"/>
                <a:gd name="T7" fmla="*/ 5 h 27"/>
                <a:gd name="T8" fmla="*/ 0 w 14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18"/>
                    <a:pt x="10" y="10"/>
                    <a:pt x="14" y="5"/>
                  </a:cubicBezTo>
                  <a:cubicBezTo>
                    <a:pt x="10" y="2"/>
                    <a:pt x="5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5" name="íṧḻídé">
              <a:extLst>
                <a:ext uri="{FF2B5EF4-FFF2-40B4-BE49-F238E27FC236}">
                  <a16:creationId xmlns:a16="http://schemas.microsoft.com/office/drawing/2014/main" id="{1A67A64F-34C5-49EB-A383-44FA87F893FB}"/>
                </a:ext>
              </a:extLst>
            </p:cNvPr>
            <p:cNvSpPr/>
            <p:nvPr/>
          </p:nvSpPr>
          <p:spPr bwMode="auto">
            <a:xfrm flipH="1">
              <a:off x="1905453" y="3522495"/>
              <a:ext cx="30089" cy="55018"/>
            </a:xfrm>
            <a:custGeom>
              <a:avLst/>
              <a:gdLst>
                <a:gd name="T0" fmla="*/ 14 w 14"/>
                <a:gd name="T1" fmla="*/ 27 h 27"/>
                <a:gd name="T2" fmla="*/ 14 w 14"/>
                <a:gd name="T3" fmla="*/ 0 h 27"/>
                <a:gd name="T4" fmla="*/ 7 w 14"/>
                <a:gd name="T5" fmla="*/ 0 h 27"/>
                <a:gd name="T6" fmla="*/ 0 w 14"/>
                <a:gd name="T7" fmla="*/ 22 h 27"/>
                <a:gd name="T8" fmla="*/ 14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14" y="27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9"/>
                    <a:pt x="4" y="17"/>
                    <a:pt x="0" y="22"/>
                  </a:cubicBezTo>
                  <a:cubicBezTo>
                    <a:pt x="4" y="25"/>
                    <a:pt x="9" y="27"/>
                    <a:pt x="1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6" name="îšļiďê">
              <a:extLst>
                <a:ext uri="{FF2B5EF4-FFF2-40B4-BE49-F238E27FC236}">
                  <a16:creationId xmlns:a16="http://schemas.microsoft.com/office/drawing/2014/main" id="{3E8ABD6C-2173-4528-A77B-3C2F3F82F2A3}"/>
                </a:ext>
              </a:extLst>
            </p:cNvPr>
            <p:cNvSpPr/>
            <p:nvPr/>
          </p:nvSpPr>
          <p:spPr bwMode="auto">
            <a:xfrm flipH="1">
              <a:off x="1905453" y="3457160"/>
              <a:ext cx="30089" cy="55018"/>
            </a:xfrm>
            <a:custGeom>
              <a:avLst/>
              <a:gdLst>
                <a:gd name="T0" fmla="*/ 7 w 14"/>
                <a:gd name="T1" fmla="*/ 27 h 27"/>
                <a:gd name="T2" fmla="*/ 14 w 14"/>
                <a:gd name="T3" fmla="*/ 27 h 27"/>
                <a:gd name="T4" fmla="*/ 14 w 14"/>
                <a:gd name="T5" fmla="*/ 0 h 27"/>
                <a:gd name="T6" fmla="*/ 0 w 14"/>
                <a:gd name="T7" fmla="*/ 5 h 27"/>
                <a:gd name="T8" fmla="*/ 7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7" y="27"/>
                  </a:moveTo>
                  <a:cubicBezTo>
                    <a:pt x="14" y="27"/>
                    <a:pt x="14" y="27"/>
                    <a:pt x="14" y="2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0"/>
                    <a:pt x="4" y="2"/>
                    <a:pt x="0" y="5"/>
                  </a:cubicBezTo>
                  <a:cubicBezTo>
                    <a:pt x="4" y="10"/>
                    <a:pt x="7" y="18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7" name="iS1idè">
              <a:extLst>
                <a:ext uri="{FF2B5EF4-FFF2-40B4-BE49-F238E27FC236}">
                  <a16:creationId xmlns:a16="http://schemas.microsoft.com/office/drawing/2014/main" id="{7027D851-4FC0-4D03-88FE-AFD3C2C22B34}"/>
                </a:ext>
              </a:extLst>
            </p:cNvPr>
            <p:cNvSpPr/>
            <p:nvPr/>
          </p:nvSpPr>
          <p:spPr bwMode="auto">
            <a:xfrm flipH="1">
              <a:off x="1931895" y="3522495"/>
              <a:ext cx="31913" cy="38685"/>
            </a:xfrm>
            <a:custGeom>
              <a:avLst/>
              <a:gdLst>
                <a:gd name="T0" fmla="*/ 10 w 15"/>
                <a:gd name="T1" fmla="*/ 19 h 19"/>
                <a:gd name="T2" fmla="*/ 15 w 15"/>
                <a:gd name="T3" fmla="*/ 0 h 19"/>
                <a:gd name="T4" fmla="*/ 0 w 15"/>
                <a:gd name="T5" fmla="*/ 0 h 19"/>
                <a:gd name="T6" fmla="*/ 10 w 15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0" y="19"/>
                  </a:moveTo>
                  <a:cubicBezTo>
                    <a:pt x="13" y="14"/>
                    <a:pt x="15" y="8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8"/>
                    <a:pt x="4" y="14"/>
                    <a:pt x="1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8" name="îśliḍê">
              <a:extLst>
                <a:ext uri="{FF2B5EF4-FFF2-40B4-BE49-F238E27FC236}">
                  <a16:creationId xmlns:a16="http://schemas.microsoft.com/office/drawing/2014/main" id="{41D7FF6A-FD32-455A-BE07-8D8F56049F6A}"/>
                </a:ext>
              </a:extLst>
            </p:cNvPr>
            <p:cNvSpPr/>
            <p:nvPr/>
          </p:nvSpPr>
          <p:spPr bwMode="auto">
            <a:xfrm flipH="1">
              <a:off x="1931895" y="3473495"/>
              <a:ext cx="31913" cy="38685"/>
            </a:xfrm>
            <a:custGeom>
              <a:avLst/>
              <a:gdLst>
                <a:gd name="T0" fmla="*/ 10 w 15"/>
                <a:gd name="T1" fmla="*/ 0 h 19"/>
                <a:gd name="T2" fmla="*/ 0 w 15"/>
                <a:gd name="T3" fmla="*/ 19 h 19"/>
                <a:gd name="T4" fmla="*/ 15 w 15"/>
                <a:gd name="T5" fmla="*/ 19 h 19"/>
                <a:gd name="T6" fmla="*/ 10 w 1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0" y="0"/>
                  </a:moveTo>
                  <a:cubicBezTo>
                    <a:pt x="4" y="5"/>
                    <a:pt x="1" y="12"/>
                    <a:pt x="0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1"/>
                    <a:pt x="13" y="5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49" name="íṣľïḍe">
              <a:extLst>
                <a:ext uri="{FF2B5EF4-FFF2-40B4-BE49-F238E27FC236}">
                  <a16:creationId xmlns:a16="http://schemas.microsoft.com/office/drawing/2014/main" id="{B80AD48B-70A4-4DEE-B5C4-7E22ECC3E577}"/>
                </a:ext>
              </a:extLst>
            </p:cNvPr>
            <p:cNvSpPr/>
            <p:nvPr/>
          </p:nvSpPr>
          <p:spPr bwMode="auto">
            <a:xfrm flipH="1">
              <a:off x="1864423" y="3522495"/>
              <a:ext cx="30089" cy="55018"/>
            </a:xfrm>
            <a:custGeom>
              <a:avLst/>
              <a:gdLst>
                <a:gd name="T0" fmla="*/ 0 w 14"/>
                <a:gd name="T1" fmla="*/ 27 h 27"/>
                <a:gd name="T2" fmla="*/ 14 w 14"/>
                <a:gd name="T3" fmla="*/ 22 h 27"/>
                <a:gd name="T4" fmla="*/ 7 w 14"/>
                <a:gd name="T5" fmla="*/ 0 h 27"/>
                <a:gd name="T6" fmla="*/ 0 w 14"/>
                <a:gd name="T7" fmla="*/ 0 h 27"/>
                <a:gd name="T8" fmla="*/ 0 w 1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7">
                  <a:moveTo>
                    <a:pt x="0" y="27"/>
                  </a:moveTo>
                  <a:cubicBezTo>
                    <a:pt x="5" y="27"/>
                    <a:pt x="10" y="25"/>
                    <a:pt x="14" y="22"/>
                  </a:cubicBezTo>
                  <a:cubicBezTo>
                    <a:pt x="10" y="17"/>
                    <a:pt x="7" y="9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0" name="îŝḻîḍé">
              <a:extLst>
                <a:ext uri="{FF2B5EF4-FFF2-40B4-BE49-F238E27FC236}">
                  <a16:creationId xmlns:a16="http://schemas.microsoft.com/office/drawing/2014/main" id="{654F7D36-96C5-4912-B31C-596868721385}"/>
                </a:ext>
              </a:extLst>
            </p:cNvPr>
            <p:cNvSpPr/>
            <p:nvPr/>
          </p:nvSpPr>
          <p:spPr bwMode="auto">
            <a:xfrm flipH="1">
              <a:off x="1858040" y="1724950"/>
              <a:ext cx="170503" cy="160756"/>
            </a:xfrm>
            <a:custGeom>
              <a:avLst/>
              <a:gdLst>
                <a:gd name="T0" fmla="*/ 40 w 79"/>
                <a:gd name="T1" fmla="*/ 79 h 79"/>
                <a:gd name="T2" fmla="*/ 79 w 79"/>
                <a:gd name="T3" fmla="*/ 40 h 79"/>
                <a:gd name="T4" fmla="*/ 40 w 79"/>
                <a:gd name="T5" fmla="*/ 0 h 79"/>
                <a:gd name="T6" fmla="*/ 40 w 79"/>
                <a:gd name="T7" fmla="*/ 0 h 79"/>
                <a:gd name="T8" fmla="*/ 40 w 79"/>
                <a:gd name="T9" fmla="*/ 28 h 79"/>
                <a:gd name="T10" fmla="*/ 60 w 79"/>
                <a:gd name="T11" fmla="*/ 20 h 79"/>
                <a:gd name="T12" fmla="*/ 47 w 79"/>
                <a:gd name="T13" fmla="*/ 47 h 79"/>
                <a:gd name="T14" fmla="*/ 40 w 79"/>
                <a:gd name="T15" fmla="*/ 51 h 79"/>
                <a:gd name="T16" fmla="*/ 40 w 79"/>
                <a:gd name="T17" fmla="*/ 79 h 79"/>
                <a:gd name="T18" fmla="*/ 40 w 79"/>
                <a:gd name="T19" fmla="*/ 0 h 79"/>
                <a:gd name="T20" fmla="*/ 0 w 79"/>
                <a:gd name="T21" fmla="*/ 40 h 79"/>
                <a:gd name="T22" fmla="*/ 40 w 79"/>
                <a:gd name="T23" fmla="*/ 79 h 79"/>
                <a:gd name="T24" fmla="*/ 40 w 79"/>
                <a:gd name="T25" fmla="*/ 51 h 79"/>
                <a:gd name="T26" fmla="*/ 20 w 79"/>
                <a:gd name="T27" fmla="*/ 60 h 79"/>
                <a:gd name="T28" fmla="*/ 32 w 79"/>
                <a:gd name="T29" fmla="*/ 32 h 79"/>
                <a:gd name="T30" fmla="*/ 32 w 79"/>
                <a:gd name="T31" fmla="*/ 32 h 79"/>
                <a:gd name="T32" fmla="*/ 40 w 79"/>
                <a:gd name="T33" fmla="*/ 28 h 79"/>
                <a:gd name="T34" fmla="*/ 40 w 79"/>
                <a:gd name="T3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9">
                  <a:moveTo>
                    <a:pt x="40" y="79"/>
                  </a:moveTo>
                  <a:cubicBezTo>
                    <a:pt x="61" y="79"/>
                    <a:pt x="79" y="61"/>
                    <a:pt x="79" y="40"/>
                  </a:cubicBezTo>
                  <a:cubicBezTo>
                    <a:pt x="79" y="18"/>
                    <a:pt x="61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79"/>
                    <a:pt x="40" y="79"/>
                    <a:pt x="40" y="79"/>
                  </a:cubicBezTo>
                  <a:close/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40" y="28"/>
                    <a:pt x="40" y="28"/>
                    <a:pt x="40" y="28"/>
                  </a:cubicBez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1" name="î$ļide">
              <a:extLst>
                <a:ext uri="{FF2B5EF4-FFF2-40B4-BE49-F238E27FC236}">
                  <a16:creationId xmlns:a16="http://schemas.microsoft.com/office/drawing/2014/main" id="{A3BEA674-C846-43F8-970A-8E8CD45621A2}"/>
                </a:ext>
              </a:extLst>
            </p:cNvPr>
            <p:cNvSpPr/>
            <p:nvPr/>
          </p:nvSpPr>
          <p:spPr bwMode="auto">
            <a:xfrm flipH="1">
              <a:off x="1933718" y="1796301"/>
              <a:ext cx="19148" cy="1805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2" name="íSľíḓè">
              <a:extLst>
                <a:ext uri="{FF2B5EF4-FFF2-40B4-BE49-F238E27FC236}">
                  <a16:creationId xmlns:a16="http://schemas.microsoft.com/office/drawing/2014/main" id="{114ADD56-DD2C-4A7E-BFBF-A6752364EA98}"/>
                </a:ext>
              </a:extLst>
            </p:cNvPr>
            <p:cNvSpPr/>
            <p:nvPr/>
          </p:nvSpPr>
          <p:spPr bwMode="auto">
            <a:xfrm flipH="1">
              <a:off x="3357917" y="4947809"/>
              <a:ext cx="137679" cy="65334"/>
            </a:xfrm>
            <a:custGeom>
              <a:avLst/>
              <a:gdLst>
                <a:gd name="T0" fmla="*/ 55 w 64"/>
                <a:gd name="T1" fmla="*/ 23 h 32"/>
                <a:gd name="T2" fmla="*/ 64 w 64"/>
                <a:gd name="T3" fmla="*/ 12 h 32"/>
                <a:gd name="T4" fmla="*/ 55 w 64"/>
                <a:gd name="T5" fmla="*/ 1 h 32"/>
                <a:gd name="T6" fmla="*/ 55 w 64"/>
                <a:gd name="T7" fmla="*/ 6 h 32"/>
                <a:gd name="T8" fmla="*/ 59 w 64"/>
                <a:gd name="T9" fmla="*/ 12 h 32"/>
                <a:gd name="T10" fmla="*/ 55 w 64"/>
                <a:gd name="T11" fmla="*/ 18 h 32"/>
                <a:gd name="T12" fmla="*/ 55 w 64"/>
                <a:gd name="T13" fmla="*/ 23 h 32"/>
                <a:gd name="T14" fmla="*/ 27 w 64"/>
                <a:gd name="T15" fmla="*/ 32 h 32"/>
                <a:gd name="T16" fmla="*/ 48 w 64"/>
                <a:gd name="T17" fmla="*/ 22 h 32"/>
                <a:gd name="T18" fmla="*/ 53 w 64"/>
                <a:gd name="T19" fmla="*/ 23 h 32"/>
                <a:gd name="T20" fmla="*/ 55 w 64"/>
                <a:gd name="T21" fmla="*/ 23 h 32"/>
                <a:gd name="T22" fmla="*/ 55 w 64"/>
                <a:gd name="T23" fmla="*/ 18 h 32"/>
                <a:gd name="T24" fmla="*/ 53 w 64"/>
                <a:gd name="T25" fmla="*/ 18 h 32"/>
                <a:gd name="T26" fmla="*/ 51 w 64"/>
                <a:gd name="T27" fmla="*/ 18 h 32"/>
                <a:gd name="T28" fmla="*/ 54 w 64"/>
                <a:gd name="T29" fmla="*/ 5 h 32"/>
                <a:gd name="T30" fmla="*/ 54 w 64"/>
                <a:gd name="T31" fmla="*/ 5 h 32"/>
                <a:gd name="T32" fmla="*/ 54 w 64"/>
                <a:gd name="T33" fmla="*/ 5 h 32"/>
                <a:gd name="T34" fmla="*/ 55 w 64"/>
                <a:gd name="T35" fmla="*/ 6 h 32"/>
                <a:gd name="T36" fmla="*/ 55 w 64"/>
                <a:gd name="T37" fmla="*/ 1 h 32"/>
                <a:gd name="T38" fmla="*/ 53 w 64"/>
                <a:gd name="T39" fmla="*/ 0 h 32"/>
                <a:gd name="T40" fmla="*/ 53 w 64"/>
                <a:gd name="T41" fmla="*/ 0 h 32"/>
                <a:gd name="T42" fmla="*/ 1 w 64"/>
                <a:gd name="T43" fmla="*/ 0 h 32"/>
                <a:gd name="T44" fmla="*/ 0 w 64"/>
                <a:gd name="T45" fmla="*/ 5 h 32"/>
                <a:gd name="T46" fmla="*/ 27 w 64"/>
                <a:gd name="T4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32">
                  <a:moveTo>
                    <a:pt x="55" y="23"/>
                  </a:moveTo>
                  <a:cubicBezTo>
                    <a:pt x="60" y="22"/>
                    <a:pt x="64" y="17"/>
                    <a:pt x="64" y="12"/>
                  </a:cubicBezTo>
                  <a:cubicBezTo>
                    <a:pt x="64" y="6"/>
                    <a:pt x="60" y="2"/>
                    <a:pt x="55" y="1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7"/>
                    <a:pt x="59" y="9"/>
                    <a:pt x="59" y="12"/>
                  </a:cubicBezTo>
                  <a:cubicBezTo>
                    <a:pt x="59" y="14"/>
                    <a:pt x="57" y="17"/>
                    <a:pt x="55" y="18"/>
                  </a:cubicBezTo>
                  <a:lnTo>
                    <a:pt x="55" y="23"/>
                  </a:lnTo>
                  <a:close/>
                  <a:moveTo>
                    <a:pt x="27" y="32"/>
                  </a:moveTo>
                  <a:cubicBezTo>
                    <a:pt x="35" y="32"/>
                    <a:pt x="43" y="28"/>
                    <a:pt x="48" y="22"/>
                  </a:cubicBezTo>
                  <a:cubicBezTo>
                    <a:pt x="49" y="23"/>
                    <a:pt x="51" y="23"/>
                    <a:pt x="53" y="23"/>
                  </a:cubicBezTo>
                  <a:cubicBezTo>
                    <a:pt x="53" y="23"/>
                    <a:pt x="54" y="23"/>
                    <a:pt x="55" y="23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3" y="18"/>
                    <a:pt x="53" y="18"/>
                  </a:cubicBezTo>
                  <a:cubicBezTo>
                    <a:pt x="52" y="18"/>
                    <a:pt x="51" y="18"/>
                    <a:pt x="51" y="18"/>
                  </a:cubicBezTo>
                  <a:cubicBezTo>
                    <a:pt x="52" y="14"/>
                    <a:pt x="54" y="10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6"/>
                    <a:pt x="55" y="6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0"/>
                    <a:pt x="54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20"/>
                    <a:pt x="12" y="32"/>
                    <a:pt x="27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3" name="iŝlîḍê">
              <a:extLst>
                <a:ext uri="{FF2B5EF4-FFF2-40B4-BE49-F238E27FC236}">
                  <a16:creationId xmlns:a16="http://schemas.microsoft.com/office/drawing/2014/main" id="{43CE5B07-18A5-4F23-B021-F183AF50A629}"/>
                </a:ext>
              </a:extLst>
            </p:cNvPr>
            <p:cNvSpPr/>
            <p:nvPr/>
          </p:nvSpPr>
          <p:spPr bwMode="auto">
            <a:xfrm flipH="1">
              <a:off x="3370681" y="5019161"/>
              <a:ext cx="124914" cy="103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4" name="íṡľiďè">
              <a:extLst>
                <a:ext uri="{FF2B5EF4-FFF2-40B4-BE49-F238E27FC236}">
                  <a16:creationId xmlns:a16="http://schemas.microsoft.com/office/drawing/2014/main" id="{E7894C15-286D-4FB2-9A33-AC63601B6502}"/>
                </a:ext>
              </a:extLst>
            </p:cNvPr>
            <p:cNvSpPr/>
            <p:nvPr/>
          </p:nvSpPr>
          <p:spPr bwMode="auto">
            <a:xfrm flipH="1">
              <a:off x="3443623" y="4891072"/>
              <a:ext cx="23706" cy="55018"/>
            </a:xfrm>
            <a:custGeom>
              <a:avLst/>
              <a:gdLst>
                <a:gd name="T0" fmla="*/ 4 w 11"/>
                <a:gd name="T1" fmla="*/ 20 h 27"/>
                <a:gd name="T2" fmla="*/ 5 w 11"/>
                <a:gd name="T3" fmla="*/ 25 h 27"/>
                <a:gd name="T4" fmla="*/ 10 w 11"/>
                <a:gd name="T5" fmla="*/ 16 h 27"/>
                <a:gd name="T6" fmla="*/ 7 w 11"/>
                <a:gd name="T7" fmla="*/ 11 h 27"/>
                <a:gd name="T8" fmla="*/ 7 w 11"/>
                <a:gd name="T9" fmla="*/ 7 h 27"/>
                <a:gd name="T10" fmla="*/ 4 w 11"/>
                <a:gd name="T11" fmla="*/ 2 h 27"/>
                <a:gd name="T12" fmla="*/ 2 w 11"/>
                <a:gd name="T13" fmla="*/ 11 h 27"/>
                <a:gd name="T14" fmla="*/ 4 w 11"/>
                <a:gd name="T15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7">
                  <a:moveTo>
                    <a:pt x="4" y="20"/>
                  </a:moveTo>
                  <a:cubicBezTo>
                    <a:pt x="1" y="21"/>
                    <a:pt x="2" y="27"/>
                    <a:pt x="5" y="25"/>
                  </a:cubicBezTo>
                  <a:cubicBezTo>
                    <a:pt x="9" y="24"/>
                    <a:pt x="11" y="20"/>
                    <a:pt x="10" y="16"/>
                  </a:cubicBezTo>
                  <a:cubicBezTo>
                    <a:pt x="9" y="14"/>
                    <a:pt x="8" y="13"/>
                    <a:pt x="7" y="11"/>
                  </a:cubicBezTo>
                  <a:cubicBezTo>
                    <a:pt x="7" y="10"/>
                    <a:pt x="6" y="8"/>
                    <a:pt x="7" y="7"/>
                  </a:cubicBezTo>
                  <a:cubicBezTo>
                    <a:pt x="10" y="5"/>
                    <a:pt x="7" y="0"/>
                    <a:pt x="4" y="2"/>
                  </a:cubicBezTo>
                  <a:cubicBezTo>
                    <a:pt x="1" y="4"/>
                    <a:pt x="0" y="8"/>
                    <a:pt x="2" y="11"/>
                  </a:cubicBezTo>
                  <a:cubicBezTo>
                    <a:pt x="2" y="13"/>
                    <a:pt x="6" y="19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5" name="íṧļíḍe">
              <a:extLst>
                <a:ext uri="{FF2B5EF4-FFF2-40B4-BE49-F238E27FC236}">
                  <a16:creationId xmlns:a16="http://schemas.microsoft.com/office/drawing/2014/main" id="{91643EA9-588D-4C21-AF27-6F4D1D963B25}"/>
                </a:ext>
              </a:extLst>
            </p:cNvPr>
            <p:cNvSpPr/>
            <p:nvPr/>
          </p:nvSpPr>
          <p:spPr bwMode="auto">
            <a:xfrm flipH="1">
              <a:off x="3411712" y="4891072"/>
              <a:ext cx="23706" cy="55018"/>
            </a:xfrm>
            <a:custGeom>
              <a:avLst/>
              <a:gdLst>
                <a:gd name="T0" fmla="*/ 4 w 11"/>
                <a:gd name="T1" fmla="*/ 20 h 27"/>
                <a:gd name="T2" fmla="*/ 5 w 11"/>
                <a:gd name="T3" fmla="*/ 25 h 27"/>
                <a:gd name="T4" fmla="*/ 10 w 11"/>
                <a:gd name="T5" fmla="*/ 16 h 27"/>
                <a:gd name="T6" fmla="*/ 7 w 11"/>
                <a:gd name="T7" fmla="*/ 11 h 27"/>
                <a:gd name="T8" fmla="*/ 7 w 11"/>
                <a:gd name="T9" fmla="*/ 7 h 27"/>
                <a:gd name="T10" fmla="*/ 4 w 11"/>
                <a:gd name="T11" fmla="*/ 2 h 27"/>
                <a:gd name="T12" fmla="*/ 2 w 11"/>
                <a:gd name="T13" fmla="*/ 11 h 27"/>
                <a:gd name="T14" fmla="*/ 4 w 11"/>
                <a:gd name="T15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7">
                  <a:moveTo>
                    <a:pt x="4" y="20"/>
                  </a:moveTo>
                  <a:cubicBezTo>
                    <a:pt x="1" y="21"/>
                    <a:pt x="2" y="27"/>
                    <a:pt x="5" y="25"/>
                  </a:cubicBezTo>
                  <a:cubicBezTo>
                    <a:pt x="9" y="24"/>
                    <a:pt x="11" y="20"/>
                    <a:pt x="10" y="16"/>
                  </a:cubicBezTo>
                  <a:cubicBezTo>
                    <a:pt x="9" y="14"/>
                    <a:pt x="8" y="13"/>
                    <a:pt x="7" y="11"/>
                  </a:cubicBezTo>
                  <a:cubicBezTo>
                    <a:pt x="7" y="10"/>
                    <a:pt x="6" y="8"/>
                    <a:pt x="7" y="7"/>
                  </a:cubicBezTo>
                  <a:cubicBezTo>
                    <a:pt x="10" y="5"/>
                    <a:pt x="7" y="0"/>
                    <a:pt x="4" y="2"/>
                  </a:cubicBezTo>
                  <a:cubicBezTo>
                    <a:pt x="1" y="4"/>
                    <a:pt x="0" y="8"/>
                    <a:pt x="2" y="11"/>
                  </a:cubicBezTo>
                  <a:cubicBezTo>
                    <a:pt x="2" y="13"/>
                    <a:pt x="6" y="19"/>
                    <a:pt x="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6" name="iṣļíḍê">
              <a:extLst>
                <a:ext uri="{FF2B5EF4-FFF2-40B4-BE49-F238E27FC236}">
                  <a16:creationId xmlns:a16="http://schemas.microsoft.com/office/drawing/2014/main" id="{F1E3A221-69E8-454A-A458-CDA406B2D0E6}"/>
                </a:ext>
              </a:extLst>
            </p:cNvPr>
            <p:cNvSpPr/>
            <p:nvPr/>
          </p:nvSpPr>
          <p:spPr bwMode="auto">
            <a:xfrm flipH="1">
              <a:off x="1527977" y="2727311"/>
              <a:ext cx="12765" cy="146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7" name="îṥliḑè">
              <a:extLst>
                <a:ext uri="{FF2B5EF4-FFF2-40B4-BE49-F238E27FC236}">
                  <a16:creationId xmlns:a16="http://schemas.microsoft.com/office/drawing/2014/main" id="{C362FEC2-D3E4-48E1-AEF9-174C133FD703}"/>
                </a:ext>
              </a:extLst>
            </p:cNvPr>
            <p:cNvSpPr/>
            <p:nvPr/>
          </p:nvSpPr>
          <p:spPr bwMode="auto">
            <a:xfrm flipH="1">
              <a:off x="1515212" y="2713557"/>
              <a:ext cx="12765" cy="945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8" name="íSḻïḑé">
              <a:extLst>
                <a:ext uri="{FF2B5EF4-FFF2-40B4-BE49-F238E27FC236}">
                  <a16:creationId xmlns:a16="http://schemas.microsoft.com/office/drawing/2014/main" id="{B74999ED-93B6-481E-BDCC-C49DF277C055}"/>
                </a:ext>
              </a:extLst>
            </p:cNvPr>
            <p:cNvSpPr/>
            <p:nvPr/>
          </p:nvSpPr>
          <p:spPr bwMode="auto">
            <a:xfrm flipH="1">
              <a:off x="1530712" y="2694644"/>
              <a:ext cx="8206" cy="859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59" name="ïşľiḋe">
              <a:extLst>
                <a:ext uri="{FF2B5EF4-FFF2-40B4-BE49-F238E27FC236}">
                  <a16:creationId xmlns:a16="http://schemas.microsoft.com/office/drawing/2014/main" id="{5076A8A0-5B76-42BD-A336-B461C13D6F2A}"/>
                </a:ext>
              </a:extLst>
            </p:cNvPr>
            <p:cNvSpPr/>
            <p:nvPr/>
          </p:nvSpPr>
          <p:spPr bwMode="auto">
            <a:xfrm flipH="1">
              <a:off x="1527977" y="2664556"/>
              <a:ext cx="12765" cy="1375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0" name="íŝliďè">
              <a:extLst>
                <a:ext uri="{FF2B5EF4-FFF2-40B4-BE49-F238E27FC236}">
                  <a16:creationId xmlns:a16="http://schemas.microsoft.com/office/drawing/2014/main" id="{BF4B6650-3086-46A7-975B-99613BF62C22}"/>
                </a:ext>
              </a:extLst>
            </p:cNvPr>
            <p:cNvSpPr/>
            <p:nvPr/>
          </p:nvSpPr>
          <p:spPr bwMode="auto">
            <a:xfrm flipH="1">
              <a:off x="1489682" y="2603520"/>
              <a:ext cx="72942" cy="154739"/>
            </a:xfrm>
            <a:custGeom>
              <a:avLst/>
              <a:gdLst>
                <a:gd name="T0" fmla="*/ 19 w 34"/>
                <a:gd name="T1" fmla="*/ 4 h 76"/>
                <a:gd name="T2" fmla="*/ 18 w 34"/>
                <a:gd name="T3" fmla="*/ 7 h 76"/>
                <a:gd name="T4" fmla="*/ 18 w 34"/>
                <a:gd name="T5" fmla="*/ 11 h 76"/>
                <a:gd name="T6" fmla="*/ 16 w 34"/>
                <a:gd name="T7" fmla="*/ 11 h 76"/>
                <a:gd name="T8" fmla="*/ 16 w 34"/>
                <a:gd name="T9" fmla="*/ 25 h 76"/>
                <a:gd name="T10" fmla="*/ 18 w 34"/>
                <a:gd name="T11" fmla="*/ 25 h 76"/>
                <a:gd name="T12" fmla="*/ 18 w 34"/>
                <a:gd name="T13" fmla="*/ 35 h 76"/>
                <a:gd name="T14" fmla="*/ 18 w 34"/>
                <a:gd name="T15" fmla="*/ 39 h 76"/>
                <a:gd name="T16" fmla="*/ 21 w 34"/>
                <a:gd name="T17" fmla="*/ 42 h 76"/>
                <a:gd name="T18" fmla="*/ 21 w 34"/>
                <a:gd name="T19" fmla="*/ 42 h 76"/>
                <a:gd name="T20" fmla="*/ 24 w 34"/>
                <a:gd name="T21" fmla="*/ 39 h 76"/>
                <a:gd name="T22" fmla="*/ 24 w 34"/>
                <a:gd name="T23" fmla="*/ 25 h 76"/>
                <a:gd name="T24" fmla="*/ 26 w 34"/>
                <a:gd name="T25" fmla="*/ 25 h 76"/>
                <a:gd name="T26" fmla="*/ 26 w 34"/>
                <a:gd name="T27" fmla="*/ 25 h 76"/>
                <a:gd name="T28" fmla="*/ 26 w 34"/>
                <a:gd name="T29" fmla="*/ 69 h 76"/>
                <a:gd name="T30" fmla="*/ 16 w 34"/>
                <a:gd name="T31" fmla="*/ 69 h 76"/>
                <a:gd name="T32" fmla="*/ 16 w 34"/>
                <a:gd name="T33" fmla="*/ 76 h 76"/>
                <a:gd name="T34" fmla="*/ 32 w 34"/>
                <a:gd name="T35" fmla="*/ 76 h 76"/>
                <a:gd name="T36" fmla="*/ 32 w 34"/>
                <a:gd name="T37" fmla="*/ 11 h 76"/>
                <a:gd name="T38" fmla="*/ 24 w 34"/>
                <a:gd name="T39" fmla="*/ 11 h 76"/>
                <a:gd name="T40" fmla="*/ 24 w 34"/>
                <a:gd name="T41" fmla="*/ 8 h 76"/>
                <a:gd name="T42" fmla="*/ 31 w 34"/>
                <a:gd name="T43" fmla="*/ 6 h 76"/>
                <a:gd name="T44" fmla="*/ 34 w 34"/>
                <a:gd name="T45" fmla="*/ 3 h 76"/>
                <a:gd name="T46" fmla="*/ 30 w 34"/>
                <a:gd name="T47" fmla="*/ 0 h 76"/>
                <a:gd name="T48" fmla="*/ 21 w 34"/>
                <a:gd name="T49" fmla="*/ 3 h 76"/>
                <a:gd name="T50" fmla="*/ 19 w 34"/>
                <a:gd name="T51" fmla="*/ 4 h 76"/>
                <a:gd name="T52" fmla="*/ 16 w 34"/>
                <a:gd name="T53" fmla="*/ 11 h 76"/>
                <a:gd name="T54" fmla="*/ 0 w 34"/>
                <a:gd name="T55" fmla="*/ 11 h 76"/>
                <a:gd name="T56" fmla="*/ 0 w 34"/>
                <a:gd name="T57" fmla="*/ 76 h 76"/>
                <a:gd name="T58" fmla="*/ 16 w 34"/>
                <a:gd name="T59" fmla="*/ 76 h 76"/>
                <a:gd name="T60" fmla="*/ 16 w 34"/>
                <a:gd name="T61" fmla="*/ 69 h 76"/>
                <a:gd name="T62" fmla="*/ 7 w 34"/>
                <a:gd name="T63" fmla="*/ 69 h 76"/>
                <a:gd name="T64" fmla="*/ 7 w 34"/>
                <a:gd name="T65" fmla="*/ 25 h 76"/>
                <a:gd name="T66" fmla="*/ 16 w 34"/>
                <a:gd name="T67" fmla="*/ 25 h 76"/>
                <a:gd name="T68" fmla="*/ 16 w 34"/>
                <a:gd name="T69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" h="76">
                  <a:moveTo>
                    <a:pt x="19" y="4"/>
                  </a:moveTo>
                  <a:cubicBezTo>
                    <a:pt x="18" y="5"/>
                    <a:pt x="18" y="6"/>
                    <a:pt x="18" y="7"/>
                  </a:cubicBezTo>
                  <a:cubicBezTo>
                    <a:pt x="18" y="7"/>
                    <a:pt x="18" y="9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30"/>
                    <a:pt x="18" y="34"/>
                    <a:pt x="18" y="35"/>
                  </a:cubicBezTo>
                  <a:cubicBezTo>
                    <a:pt x="18" y="36"/>
                    <a:pt x="18" y="39"/>
                    <a:pt x="18" y="39"/>
                  </a:cubicBezTo>
                  <a:cubicBezTo>
                    <a:pt x="18" y="41"/>
                    <a:pt x="19" y="42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3" y="42"/>
                    <a:pt x="24" y="41"/>
                    <a:pt x="24" y="39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3" y="6"/>
                    <a:pt x="34" y="4"/>
                    <a:pt x="34" y="3"/>
                  </a:cubicBezTo>
                  <a:cubicBezTo>
                    <a:pt x="33" y="1"/>
                    <a:pt x="32" y="0"/>
                    <a:pt x="30" y="0"/>
                  </a:cubicBezTo>
                  <a:cubicBezTo>
                    <a:pt x="30" y="1"/>
                    <a:pt x="22" y="2"/>
                    <a:pt x="21" y="3"/>
                  </a:cubicBezTo>
                  <a:cubicBezTo>
                    <a:pt x="20" y="3"/>
                    <a:pt x="19" y="3"/>
                    <a:pt x="19" y="4"/>
                  </a:cubicBezTo>
                  <a:close/>
                  <a:moveTo>
                    <a:pt x="16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6" y="25"/>
                    <a:pt x="16" y="25"/>
                    <a:pt x="16" y="25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1" name="îSļíḍe">
              <a:extLst>
                <a:ext uri="{FF2B5EF4-FFF2-40B4-BE49-F238E27FC236}">
                  <a16:creationId xmlns:a16="http://schemas.microsoft.com/office/drawing/2014/main" id="{8D3152D0-486C-4498-A5B0-47F2F0D08F2B}"/>
                </a:ext>
              </a:extLst>
            </p:cNvPr>
            <p:cNvSpPr/>
            <p:nvPr/>
          </p:nvSpPr>
          <p:spPr bwMode="auto">
            <a:xfrm flipH="1">
              <a:off x="3935984" y="2521854"/>
              <a:ext cx="120355" cy="114335"/>
            </a:xfrm>
            <a:custGeom>
              <a:avLst/>
              <a:gdLst>
                <a:gd name="T0" fmla="*/ 28 w 56"/>
                <a:gd name="T1" fmla="*/ 56 h 56"/>
                <a:gd name="T2" fmla="*/ 32 w 56"/>
                <a:gd name="T3" fmla="*/ 56 h 56"/>
                <a:gd name="T4" fmla="*/ 32 w 56"/>
                <a:gd name="T5" fmla="*/ 51 h 56"/>
                <a:gd name="T6" fmla="*/ 42 w 56"/>
                <a:gd name="T7" fmla="*/ 48 h 56"/>
                <a:gd name="T8" fmla="*/ 44 w 56"/>
                <a:gd name="T9" fmla="*/ 51 h 56"/>
                <a:gd name="T10" fmla="*/ 51 w 56"/>
                <a:gd name="T11" fmla="*/ 44 h 56"/>
                <a:gd name="T12" fmla="*/ 48 w 56"/>
                <a:gd name="T13" fmla="*/ 42 h 56"/>
                <a:gd name="T14" fmla="*/ 51 w 56"/>
                <a:gd name="T15" fmla="*/ 32 h 56"/>
                <a:gd name="T16" fmla="*/ 56 w 56"/>
                <a:gd name="T17" fmla="*/ 32 h 56"/>
                <a:gd name="T18" fmla="*/ 56 w 56"/>
                <a:gd name="T19" fmla="*/ 24 h 56"/>
                <a:gd name="T20" fmla="*/ 51 w 56"/>
                <a:gd name="T21" fmla="*/ 24 h 56"/>
                <a:gd name="T22" fmla="*/ 48 w 56"/>
                <a:gd name="T23" fmla="*/ 14 h 56"/>
                <a:gd name="T24" fmla="*/ 51 w 56"/>
                <a:gd name="T25" fmla="*/ 11 h 56"/>
                <a:gd name="T26" fmla="*/ 44 w 56"/>
                <a:gd name="T27" fmla="*/ 5 h 56"/>
                <a:gd name="T28" fmla="*/ 42 w 56"/>
                <a:gd name="T29" fmla="*/ 8 h 56"/>
                <a:gd name="T30" fmla="*/ 32 w 56"/>
                <a:gd name="T31" fmla="*/ 4 h 56"/>
                <a:gd name="T32" fmla="*/ 32 w 56"/>
                <a:gd name="T33" fmla="*/ 0 h 56"/>
                <a:gd name="T34" fmla="*/ 28 w 56"/>
                <a:gd name="T35" fmla="*/ 0 h 56"/>
                <a:gd name="T36" fmla="*/ 28 w 56"/>
                <a:gd name="T37" fmla="*/ 10 h 56"/>
                <a:gd name="T38" fmla="*/ 46 w 56"/>
                <a:gd name="T39" fmla="*/ 28 h 56"/>
                <a:gd name="T40" fmla="*/ 28 w 56"/>
                <a:gd name="T41" fmla="*/ 46 h 56"/>
                <a:gd name="T42" fmla="*/ 28 w 56"/>
                <a:gd name="T43" fmla="*/ 56 h 56"/>
                <a:gd name="T44" fmla="*/ 8 w 56"/>
                <a:gd name="T45" fmla="*/ 42 h 56"/>
                <a:gd name="T46" fmla="*/ 5 w 56"/>
                <a:gd name="T47" fmla="*/ 44 h 56"/>
                <a:gd name="T48" fmla="*/ 11 w 56"/>
                <a:gd name="T49" fmla="*/ 51 h 56"/>
                <a:gd name="T50" fmla="*/ 14 w 56"/>
                <a:gd name="T51" fmla="*/ 48 h 56"/>
                <a:gd name="T52" fmla="*/ 24 w 56"/>
                <a:gd name="T53" fmla="*/ 51 h 56"/>
                <a:gd name="T54" fmla="*/ 24 w 56"/>
                <a:gd name="T55" fmla="*/ 56 h 56"/>
                <a:gd name="T56" fmla="*/ 28 w 56"/>
                <a:gd name="T57" fmla="*/ 56 h 56"/>
                <a:gd name="T58" fmla="*/ 28 w 56"/>
                <a:gd name="T59" fmla="*/ 46 h 56"/>
                <a:gd name="T60" fmla="*/ 28 w 56"/>
                <a:gd name="T61" fmla="*/ 46 h 56"/>
                <a:gd name="T62" fmla="*/ 10 w 56"/>
                <a:gd name="T63" fmla="*/ 28 h 56"/>
                <a:gd name="T64" fmla="*/ 28 w 56"/>
                <a:gd name="T65" fmla="*/ 10 h 56"/>
                <a:gd name="T66" fmla="*/ 28 w 56"/>
                <a:gd name="T67" fmla="*/ 10 h 56"/>
                <a:gd name="T68" fmla="*/ 28 w 56"/>
                <a:gd name="T69" fmla="*/ 10 h 56"/>
                <a:gd name="T70" fmla="*/ 28 w 56"/>
                <a:gd name="T71" fmla="*/ 0 h 56"/>
                <a:gd name="T72" fmla="*/ 24 w 56"/>
                <a:gd name="T73" fmla="*/ 0 h 56"/>
                <a:gd name="T74" fmla="*/ 24 w 56"/>
                <a:gd name="T75" fmla="*/ 4 h 56"/>
                <a:gd name="T76" fmla="*/ 14 w 56"/>
                <a:gd name="T77" fmla="*/ 8 h 56"/>
                <a:gd name="T78" fmla="*/ 11 w 56"/>
                <a:gd name="T79" fmla="*/ 5 h 56"/>
                <a:gd name="T80" fmla="*/ 5 w 56"/>
                <a:gd name="T81" fmla="*/ 11 h 56"/>
                <a:gd name="T82" fmla="*/ 8 w 56"/>
                <a:gd name="T83" fmla="*/ 14 h 56"/>
                <a:gd name="T84" fmla="*/ 4 w 56"/>
                <a:gd name="T85" fmla="*/ 24 h 56"/>
                <a:gd name="T86" fmla="*/ 0 w 56"/>
                <a:gd name="T87" fmla="*/ 24 h 56"/>
                <a:gd name="T88" fmla="*/ 0 w 56"/>
                <a:gd name="T89" fmla="*/ 32 h 56"/>
                <a:gd name="T90" fmla="*/ 4 w 56"/>
                <a:gd name="T91" fmla="*/ 32 h 56"/>
                <a:gd name="T92" fmla="*/ 8 w 56"/>
                <a:gd name="T9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32" y="56"/>
                    <a:pt x="32" y="56"/>
                    <a:pt x="32" y="56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6" y="51"/>
                    <a:pt x="39" y="50"/>
                    <a:pt x="42" y="48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50" y="39"/>
                    <a:pt x="51" y="36"/>
                    <a:pt x="51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0" y="17"/>
                    <a:pt x="48" y="14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39" y="6"/>
                    <a:pt x="36" y="5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8" y="10"/>
                    <a:pt x="46" y="18"/>
                    <a:pt x="46" y="28"/>
                  </a:cubicBezTo>
                  <a:cubicBezTo>
                    <a:pt x="46" y="38"/>
                    <a:pt x="38" y="46"/>
                    <a:pt x="28" y="46"/>
                  </a:cubicBezTo>
                  <a:lnTo>
                    <a:pt x="28" y="56"/>
                  </a:lnTo>
                  <a:close/>
                  <a:moveTo>
                    <a:pt x="8" y="42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7" y="50"/>
                    <a:pt x="20" y="51"/>
                    <a:pt x="24" y="51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18" y="46"/>
                    <a:pt x="10" y="38"/>
                    <a:pt x="10" y="28"/>
                  </a:cubicBezTo>
                  <a:cubicBezTo>
                    <a:pt x="10" y="18"/>
                    <a:pt x="1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0" y="5"/>
                    <a:pt x="17" y="6"/>
                    <a:pt x="14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17"/>
                    <a:pt x="5" y="20"/>
                    <a:pt x="4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6"/>
                    <a:pt x="6" y="39"/>
                    <a:pt x="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2" name="ïŝlídê">
              <a:extLst>
                <a:ext uri="{FF2B5EF4-FFF2-40B4-BE49-F238E27FC236}">
                  <a16:creationId xmlns:a16="http://schemas.microsoft.com/office/drawing/2014/main" id="{90CAA245-C14A-4FBE-B7E5-605C7F2BAACA}"/>
                </a:ext>
              </a:extLst>
            </p:cNvPr>
            <p:cNvSpPr/>
            <p:nvPr/>
          </p:nvSpPr>
          <p:spPr bwMode="auto">
            <a:xfrm flipH="1">
              <a:off x="3187414" y="3207001"/>
              <a:ext cx="86619" cy="8166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3" name="î$ḷïḑê">
              <a:extLst>
                <a:ext uri="{FF2B5EF4-FFF2-40B4-BE49-F238E27FC236}">
                  <a16:creationId xmlns:a16="http://schemas.microsoft.com/office/drawing/2014/main" id="{708CBBD0-17B2-42F7-884F-0A59DCD2E8AE}"/>
                </a:ext>
              </a:extLst>
            </p:cNvPr>
            <p:cNvSpPr/>
            <p:nvPr/>
          </p:nvSpPr>
          <p:spPr bwMode="auto">
            <a:xfrm flipH="1">
              <a:off x="3223885" y="3187228"/>
              <a:ext cx="10941" cy="137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4" name="íślïḍé">
              <a:extLst>
                <a:ext uri="{FF2B5EF4-FFF2-40B4-BE49-F238E27FC236}">
                  <a16:creationId xmlns:a16="http://schemas.microsoft.com/office/drawing/2014/main" id="{18B3E540-28AE-4C4C-9F6F-A25E50E5C8B4}"/>
                </a:ext>
              </a:extLst>
            </p:cNvPr>
            <p:cNvSpPr/>
            <p:nvPr/>
          </p:nvSpPr>
          <p:spPr bwMode="auto">
            <a:xfrm flipH="1">
              <a:off x="3165531" y="3242247"/>
              <a:ext cx="15502" cy="94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5" name="ïşľîḋé">
              <a:extLst>
                <a:ext uri="{FF2B5EF4-FFF2-40B4-BE49-F238E27FC236}">
                  <a16:creationId xmlns:a16="http://schemas.microsoft.com/office/drawing/2014/main" id="{FAA5F138-CF1A-481F-BD17-C08FFD4E5A6C}"/>
                </a:ext>
              </a:extLst>
            </p:cNvPr>
            <p:cNvSpPr/>
            <p:nvPr/>
          </p:nvSpPr>
          <p:spPr bwMode="auto">
            <a:xfrm flipH="1">
              <a:off x="3223885" y="3294686"/>
              <a:ext cx="10941" cy="146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6" name="îṩļïḑé">
              <a:extLst>
                <a:ext uri="{FF2B5EF4-FFF2-40B4-BE49-F238E27FC236}">
                  <a16:creationId xmlns:a16="http://schemas.microsoft.com/office/drawing/2014/main" id="{525F4FF0-611A-4431-B409-98ECCF71429C}"/>
                </a:ext>
              </a:extLst>
            </p:cNvPr>
            <p:cNvSpPr/>
            <p:nvPr/>
          </p:nvSpPr>
          <p:spPr bwMode="auto">
            <a:xfrm flipH="1">
              <a:off x="3280416" y="3242247"/>
              <a:ext cx="14587" cy="94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7" name="ï$ļïdê">
              <a:extLst>
                <a:ext uri="{FF2B5EF4-FFF2-40B4-BE49-F238E27FC236}">
                  <a16:creationId xmlns:a16="http://schemas.microsoft.com/office/drawing/2014/main" id="{E2F78A58-0C4C-4233-BFBF-1C8AE4535371}"/>
                </a:ext>
              </a:extLst>
            </p:cNvPr>
            <p:cNvSpPr/>
            <p:nvPr/>
          </p:nvSpPr>
          <p:spPr bwMode="auto">
            <a:xfrm flipH="1">
              <a:off x="3181031" y="3200983"/>
              <a:ext cx="17324" cy="16334"/>
            </a:xfrm>
            <a:custGeom>
              <a:avLst/>
              <a:gdLst>
                <a:gd name="T0" fmla="*/ 19 w 19"/>
                <a:gd name="T1" fmla="*/ 7 h 19"/>
                <a:gd name="T2" fmla="*/ 7 w 19"/>
                <a:gd name="T3" fmla="*/ 19 h 19"/>
                <a:gd name="T4" fmla="*/ 0 w 19"/>
                <a:gd name="T5" fmla="*/ 12 h 19"/>
                <a:gd name="T6" fmla="*/ 12 w 19"/>
                <a:gd name="T7" fmla="*/ 0 h 19"/>
                <a:gd name="T8" fmla="*/ 19 w 19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7"/>
                  </a:moveTo>
                  <a:lnTo>
                    <a:pt x="7" y="19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19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8" name="íṥḻîḍe">
              <a:extLst>
                <a:ext uri="{FF2B5EF4-FFF2-40B4-BE49-F238E27FC236}">
                  <a16:creationId xmlns:a16="http://schemas.microsoft.com/office/drawing/2014/main" id="{41463F33-62AF-480B-98A5-9180EF1A91CC}"/>
                </a:ext>
              </a:extLst>
            </p:cNvPr>
            <p:cNvSpPr/>
            <p:nvPr/>
          </p:nvSpPr>
          <p:spPr bwMode="auto">
            <a:xfrm flipH="1">
              <a:off x="3181031" y="3276633"/>
              <a:ext cx="17324" cy="18053"/>
            </a:xfrm>
            <a:custGeom>
              <a:avLst/>
              <a:gdLst>
                <a:gd name="T0" fmla="*/ 7 w 19"/>
                <a:gd name="T1" fmla="*/ 0 h 21"/>
                <a:gd name="T2" fmla="*/ 19 w 19"/>
                <a:gd name="T3" fmla="*/ 12 h 21"/>
                <a:gd name="T4" fmla="*/ 12 w 19"/>
                <a:gd name="T5" fmla="*/ 21 h 21"/>
                <a:gd name="T6" fmla="*/ 0 w 19"/>
                <a:gd name="T7" fmla="*/ 9 h 21"/>
                <a:gd name="T8" fmla="*/ 7 w 19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7" y="0"/>
                  </a:moveTo>
                  <a:lnTo>
                    <a:pt x="19" y="12"/>
                  </a:lnTo>
                  <a:lnTo>
                    <a:pt x="12" y="21"/>
                  </a:lnTo>
                  <a:lnTo>
                    <a:pt x="0" y="9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69" name="íṡ1íḓé">
              <a:extLst>
                <a:ext uri="{FF2B5EF4-FFF2-40B4-BE49-F238E27FC236}">
                  <a16:creationId xmlns:a16="http://schemas.microsoft.com/office/drawing/2014/main" id="{4BF49272-04C2-41F1-AC96-357C7D26A2A1}"/>
                </a:ext>
              </a:extLst>
            </p:cNvPr>
            <p:cNvSpPr/>
            <p:nvPr/>
          </p:nvSpPr>
          <p:spPr bwMode="auto">
            <a:xfrm flipH="1">
              <a:off x="3260356" y="3276633"/>
              <a:ext cx="20059" cy="18053"/>
            </a:xfrm>
            <a:custGeom>
              <a:avLst/>
              <a:gdLst>
                <a:gd name="T0" fmla="*/ 12 w 22"/>
                <a:gd name="T1" fmla="*/ 0 h 21"/>
                <a:gd name="T2" fmla="*/ 22 w 22"/>
                <a:gd name="T3" fmla="*/ 9 h 21"/>
                <a:gd name="T4" fmla="*/ 10 w 22"/>
                <a:gd name="T5" fmla="*/ 21 h 21"/>
                <a:gd name="T6" fmla="*/ 0 w 22"/>
                <a:gd name="T7" fmla="*/ 12 h 21"/>
                <a:gd name="T8" fmla="*/ 12 w 22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2" y="0"/>
                  </a:moveTo>
                  <a:lnTo>
                    <a:pt x="22" y="9"/>
                  </a:lnTo>
                  <a:lnTo>
                    <a:pt x="10" y="21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0" name="iṣļiḍé">
              <a:extLst>
                <a:ext uri="{FF2B5EF4-FFF2-40B4-BE49-F238E27FC236}">
                  <a16:creationId xmlns:a16="http://schemas.microsoft.com/office/drawing/2014/main" id="{14FA67F2-74F6-46C8-9AE0-B87E70A3F473}"/>
                </a:ext>
              </a:extLst>
            </p:cNvPr>
            <p:cNvSpPr/>
            <p:nvPr/>
          </p:nvSpPr>
          <p:spPr bwMode="auto">
            <a:xfrm flipH="1">
              <a:off x="3260356" y="3200983"/>
              <a:ext cx="20059" cy="16334"/>
            </a:xfrm>
            <a:custGeom>
              <a:avLst/>
              <a:gdLst>
                <a:gd name="T0" fmla="*/ 22 w 22"/>
                <a:gd name="T1" fmla="*/ 12 h 19"/>
                <a:gd name="T2" fmla="*/ 12 w 22"/>
                <a:gd name="T3" fmla="*/ 19 h 19"/>
                <a:gd name="T4" fmla="*/ 0 w 22"/>
                <a:gd name="T5" fmla="*/ 7 h 19"/>
                <a:gd name="T6" fmla="*/ 10 w 22"/>
                <a:gd name="T7" fmla="*/ 0 h 19"/>
                <a:gd name="T8" fmla="*/ 22 w 22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22" y="12"/>
                  </a:moveTo>
                  <a:lnTo>
                    <a:pt x="12" y="19"/>
                  </a:lnTo>
                  <a:lnTo>
                    <a:pt x="0" y="7"/>
                  </a:lnTo>
                  <a:lnTo>
                    <a:pt x="10" y="0"/>
                  </a:ln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1" name="ïśļîďé">
              <a:extLst>
                <a:ext uri="{FF2B5EF4-FFF2-40B4-BE49-F238E27FC236}">
                  <a16:creationId xmlns:a16="http://schemas.microsoft.com/office/drawing/2014/main" id="{334FB52A-6453-4280-AF46-59069A584952}"/>
                </a:ext>
              </a:extLst>
            </p:cNvPr>
            <p:cNvSpPr/>
            <p:nvPr/>
          </p:nvSpPr>
          <p:spPr bwMode="auto">
            <a:xfrm flipH="1">
              <a:off x="3200178" y="3188948"/>
              <a:ext cx="15502" cy="16334"/>
            </a:xfrm>
            <a:custGeom>
              <a:avLst/>
              <a:gdLst>
                <a:gd name="T0" fmla="*/ 17 w 17"/>
                <a:gd name="T1" fmla="*/ 5 h 19"/>
                <a:gd name="T2" fmla="*/ 10 w 17"/>
                <a:gd name="T3" fmla="*/ 19 h 19"/>
                <a:gd name="T4" fmla="*/ 0 w 17"/>
                <a:gd name="T5" fmla="*/ 17 h 19"/>
                <a:gd name="T6" fmla="*/ 5 w 17"/>
                <a:gd name="T7" fmla="*/ 0 h 19"/>
                <a:gd name="T8" fmla="*/ 17 w 17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9">
                  <a:moveTo>
                    <a:pt x="17" y="5"/>
                  </a:moveTo>
                  <a:lnTo>
                    <a:pt x="10" y="19"/>
                  </a:lnTo>
                  <a:lnTo>
                    <a:pt x="0" y="17"/>
                  </a:lnTo>
                  <a:lnTo>
                    <a:pt x="5" y="0"/>
                  </a:ln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2" name="išļidè">
              <a:extLst>
                <a:ext uri="{FF2B5EF4-FFF2-40B4-BE49-F238E27FC236}">
                  <a16:creationId xmlns:a16="http://schemas.microsoft.com/office/drawing/2014/main" id="{1AC15A23-F419-45A8-AAD8-70050A4E8677}"/>
                </a:ext>
              </a:extLst>
            </p:cNvPr>
            <p:cNvSpPr/>
            <p:nvPr/>
          </p:nvSpPr>
          <p:spPr bwMode="auto">
            <a:xfrm flipH="1">
              <a:off x="3168267" y="3260299"/>
              <a:ext cx="17324" cy="16334"/>
            </a:xfrm>
            <a:custGeom>
              <a:avLst/>
              <a:gdLst>
                <a:gd name="T0" fmla="*/ 5 w 19"/>
                <a:gd name="T1" fmla="*/ 0 h 19"/>
                <a:gd name="T2" fmla="*/ 19 w 19"/>
                <a:gd name="T3" fmla="*/ 7 h 19"/>
                <a:gd name="T4" fmla="*/ 15 w 19"/>
                <a:gd name="T5" fmla="*/ 19 h 19"/>
                <a:gd name="T6" fmla="*/ 0 w 19"/>
                <a:gd name="T7" fmla="*/ 12 h 19"/>
                <a:gd name="T8" fmla="*/ 5 w 1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0"/>
                  </a:moveTo>
                  <a:lnTo>
                    <a:pt x="19" y="7"/>
                  </a:lnTo>
                  <a:lnTo>
                    <a:pt x="15" y="19"/>
                  </a:lnTo>
                  <a:lnTo>
                    <a:pt x="0" y="1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3" name="íṣlíḑê">
              <a:extLst>
                <a:ext uri="{FF2B5EF4-FFF2-40B4-BE49-F238E27FC236}">
                  <a16:creationId xmlns:a16="http://schemas.microsoft.com/office/drawing/2014/main" id="{075B6991-6BE4-4972-8D34-CB22B4D89539}"/>
                </a:ext>
              </a:extLst>
            </p:cNvPr>
            <p:cNvSpPr/>
            <p:nvPr/>
          </p:nvSpPr>
          <p:spPr bwMode="auto">
            <a:xfrm flipH="1">
              <a:off x="3243032" y="3288668"/>
              <a:ext cx="17324" cy="18053"/>
            </a:xfrm>
            <a:custGeom>
              <a:avLst/>
              <a:gdLst>
                <a:gd name="T0" fmla="*/ 19 w 19"/>
                <a:gd name="T1" fmla="*/ 5 h 21"/>
                <a:gd name="T2" fmla="*/ 12 w 19"/>
                <a:gd name="T3" fmla="*/ 21 h 21"/>
                <a:gd name="T4" fmla="*/ 0 w 19"/>
                <a:gd name="T5" fmla="*/ 17 h 21"/>
                <a:gd name="T6" fmla="*/ 7 w 19"/>
                <a:gd name="T7" fmla="*/ 0 h 21"/>
                <a:gd name="T8" fmla="*/ 19 w 19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5"/>
                  </a:moveTo>
                  <a:lnTo>
                    <a:pt x="12" y="21"/>
                  </a:lnTo>
                  <a:lnTo>
                    <a:pt x="0" y="17"/>
                  </a:lnTo>
                  <a:lnTo>
                    <a:pt x="7" y="0"/>
                  </a:lnTo>
                  <a:lnTo>
                    <a:pt x="1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4" name="î$ļíḋê">
              <a:extLst>
                <a:ext uri="{FF2B5EF4-FFF2-40B4-BE49-F238E27FC236}">
                  <a16:creationId xmlns:a16="http://schemas.microsoft.com/office/drawing/2014/main" id="{0555038E-8AEB-455D-A0E5-E8E7DF36D12D}"/>
                </a:ext>
              </a:extLst>
            </p:cNvPr>
            <p:cNvSpPr/>
            <p:nvPr/>
          </p:nvSpPr>
          <p:spPr bwMode="auto">
            <a:xfrm flipH="1">
              <a:off x="3274033" y="3219895"/>
              <a:ext cx="19148" cy="13755"/>
            </a:xfrm>
            <a:custGeom>
              <a:avLst/>
              <a:gdLst>
                <a:gd name="T0" fmla="*/ 17 w 21"/>
                <a:gd name="T1" fmla="*/ 16 h 16"/>
                <a:gd name="T2" fmla="*/ 0 w 21"/>
                <a:gd name="T3" fmla="*/ 11 h 16"/>
                <a:gd name="T4" fmla="*/ 5 w 21"/>
                <a:gd name="T5" fmla="*/ 0 h 16"/>
                <a:gd name="T6" fmla="*/ 21 w 21"/>
                <a:gd name="T7" fmla="*/ 7 h 16"/>
                <a:gd name="T8" fmla="*/ 17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7" y="16"/>
                  </a:moveTo>
                  <a:lnTo>
                    <a:pt x="0" y="11"/>
                  </a:lnTo>
                  <a:lnTo>
                    <a:pt x="5" y="0"/>
                  </a:lnTo>
                  <a:lnTo>
                    <a:pt x="21" y="7"/>
                  </a:lnTo>
                  <a:lnTo>
                    <a:pt x="1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5" name="îśḷiḓe">
              <a:extLst>
                <a:ext uri="{FF2B5EF4-FFF2-40B4-BE49-F238E27FC236}">
                  <a16:creationId xmlns:a16="http://schemas.microsoft.com/office/drawing/2014/main" id="{008AA672-4438-4354-9277-C6E401B76649}"/>
                </a:ext>
              </a:extLst>
            </p:cNvPr>
            <p:cNvSpPr/>
            <p:nvPr/>
          </p:nvSpPr>
          <p:spPr bwMode="auto">
            <a:xfrm flipH="1">
              <a:off x="3168267" y="3219895"/>
              <a:ext cx="17324" cy="13755"/>
            </a:xfrm>
            <a:custGeom>
              <a:avLst/>
              <a:gdLst>
                <a:gd name="T0" fmla="*/ 0 w 19"/>
                <a:gd name="T1" fmla="*/ 7 h 16"/>
                <a:gd name="T2" fmla="*/ 15 w 19"/>
                <a:gd name="T3" fmla="*/ 0 h 16"/>
                <a:gd name="T4" fmla="*/ 19 w 19"/>
                <a:gd name="T5" fmla="*/ 11 h 16"/>
                <a:gd name="T6" fmla="*/ 5 w 19"/>
                <a:gd name="T7" fmla="*/ 16 h 16"/>
                <a:gd name="T8" fmla="*/ 0 w 19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6">
                  <a:moveTo>
                    <a:pt x="0" y="7"/>
                  </a:moveTo>
                  <a:lnTo>
                    <a:pt x="15" y="0"/>
                  </a:lnTo>
                  <a:lnTo>
                    <a:pt x="19" y="11"/>
                  </a:lnTo>
                  <a:lnTo>
                    <a:pt x="5" y="16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6" name="iṧḷidê">
              <a:extLst>
                <a:ext uri="{FF2B5EF4-FFF2-40B4-BE49-F238E27FC236}">
                  <a16:creationId xmlns:a16="http://schemas.microsoft.com/office/drawing/2014/main" id="{565107BA-D4AE-48AC-AD5D-C109A3D2E279}"/>
                </a:ext>
              </a:extLst>
            </p:cNvPr>
            <p:cNvSpPr/>
            <p:nvPr/>
          </p:nvSpPr>
          <p:spPr bwMode="auto">
            <a:xfrm flipH="1">
              <a:off x="3200178" y="3288668"/>
              <a:ext cx="15502" cy="18053"/>
            </a:xfrm>
            <a:custGeom>
              <a:avLst/>
              <a:gdLst>
                <a:gd name="T0" fmla="*/ 17 w 17"/>
                <a:gd name="T1" fmla="*/ 17 h 21"/>
                <a:gd name="T2" fmla="*/ 7 w 17"/>
                <a:gd name="T3" fmla="*/ 21 h 21"/>
                <a:gd name="T4" fmla="*/ 0 w 17"/>
                <a:gd name="T5" fmla="*/ 5 h 21"/>
                <a:gd name="T6" fmla="*/ 12 w 17"/>
                <a:gd name="T7" fmla="*/ 0 h 21"/>
                <a:gd name="T8" fmla="*/ 17 w 17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1">
                  <a:moveTo>
                    <a:pt x="17" y="17"/>
                  </a:moveTo>
                  <a:lnTo>
                    <a:pt x="7" y="21"/>
                  </a:lnTo>
                  <a:lnTo>
                    <a:pt x="0" y="5"/>
                  </a:lnTo>
                  <a:lnTo>
                    <a:pt x="12" y="0"/>
                  </a:lnTo>
                  <a:lnTo>
                    <a:pt x="1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7" name="íṧļíḍé">
              <a:extLst>
                <a:ext uri="{FF2B5EF4-FFF2-40B4-BE49-F238E27FC236}">
                  <a16:creationId xmlns:a16="http://schemas.microsoft.com/office/drawing/2014/main" id="{298669E5-B687-4974-BE34-D7A983377FC6}"/>
                </a:ext>
              </a:extLst>
            </p:cNvPr>
            <p:cNvSpPr/>
            <p:nvPr/>
          </p:nvSpPr>
          <p:spPr bwMode="auto">
            <a:xfrm flipH="1">
              <a:off x="3274033" y="3260299"/>
              <a:ext cx="19148" cy="16334"/>
            </a:xfrm>
            <a:custGeom>
              <a:avLst/>
              <a:gdLst>
                <a:gd name="T0" fmla="*/ 21 w 21"/>
                <a:gd name="T1" fmla="*/ 12 h 19"/>
                <a:gd name="T2" fmla="*/ 5 w 21"/>
                <a:gd name="T3" fmla="*/ 19 h 19"/>
                <a:gd name="T4" fmla="*/ 0 w 21"/>
                <a:gd name="T5" fmla="*/ 7 h 19"/>
                <a:gd name="T6" fmla="*/ 17 w 21"/>
                <a:gd name="T7" fmla="*/ 0 h 19"/>
                <a:gd name="T8" fmla="*/ 21 w 21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21" y="12"/>
                  </a:moveTo>
                  <a:lnTo>
                    <a:pt x="5" y="19"/>
                  </a:lnTo>
                  <a:lnTo>
                    <a:pt x="0" y="7"/>
                  </a:lnTo>
                  <a:lnTo>
                    <a:pt x="17" y="0"/>
                  </a:lnTo>
                  <a:lnTo>
                    <a:pt x="2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8" name="íslïďe">
              <a:extLst>
                <a:ext uri="{FF2B5EF4-FFF2-40B4-BE49-F238E27FC236}">
                  <a16:creationId xmlns:a16="http://schemas.microsoft.com/office/drawing/2014/main" id="{8F12A774-F4A6-4FAD-B9B8-30BAE1C97824}"/>
                </a:ext>
              </a:extLst>
            </p:cNvPr>
            <p:cNvSpPr/>
            <p:nvPr/>
          </p:nvSpPr>
          <p:spPr bwMode="auto">
            <a:xfrm flipH="1">
              <a:off x="3243032" y="3188948"/>
              <a:ext cx="17324" cy="18053"/>
            </a:xfrm>
            <a:custGeom>
              <a:avLst/>
              <a:gdLst>
                <a:gd name="T0" fmla="*/ 19 w 19"/>
                <a:gd name="T1" fmla="*/ 17 h 21"/>
                <a:gd name="T2" fmla="*/ 7 w 19"/>
                <a:gd name="T3" fmla="*/ 21 h 21"/>
                <a:gd name="T4" fmla="*/ 0 w 19"/>
                <a:gd name="T5" fmla="*/ 5 h 21"/>
                <a:gd name="T6" fmla="*/ 12 w 19"/>
                <a:gd name="T7" fmla="*/ 0 h 21"/>
                <a:gd name="T8" fmla="*/ 19 w 19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17"/>
                  </a:moveTo>
                  <a:lnTo>
                    <a:pt x="7" y="21"/>
                  </a:lnTo>
                  <a:lnTo>
                    <a:pt x="0" y="5"/>
                  </a:lnTo>
                  <a:lnTo>
                    <a:pt x="12" y="0"/>
                  </a:ln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79" name="íṧ1îḑe">
              <a:extLst>
                <a:ext uri="{FF2B5EF4-FFF2-40B4-BE49-F238E27FC236}">
                  <a16:creationId xmlns:a16="http://schemas.microsoft.com/office/drawing/2014/main" id="{B3F0F99C-52CC-4EA1-B061-DEEA5497FB62}"/>
                </a:ext>
              </a:extLst>
            </p:cNvPr>
            <p:cNvSpPr/>
            <p:nvPr/>
          </p:nvSpPr>
          <p:spPr bwMode="auto">
            <a:xfrm flipH="1">
              <a:off x="3413536" y="1570211"/>
              <a:ext cx="108502" cy="104019"/>
            </a:xfrm>
            <a:custGeom>
              <a:avLst/>
              <a:gdLst>
                <a:gd name="T0" fmla="*/ 25 w 50"/>
                <a:gd name="T1" fmla="*/ 51 h 51"/>
                <a:gd name="T2" fmla="*/ 50 w 50"/>
                <a:gd name="T3" fmla="*/ 25 h 51"/>
                <a:gd name="T4" fmla="*/ 25 w 50"/>
                <a:gd name="T5" fmla="*/ 0 h 51"/>
                <a:gd name="T6" fmla="*/ 25 w 50"/>
                <a:gd name="T7" fmla="*/ 0 h 51"/>
                <a:gd name="T8" fmla="*/ 25 w 50"/>
                <a:gd name="T9" fmla="*/ 18 h 51"/>
                <a:gd name="T10" fmla="*/ 38 w 50"/>
                <a:gd name="T11" fmla="*/ 13 h 51"/>
                <a:gd name="T12" fmla="*/ 30 w 50"/>
                <a:gd name="T13" fmla="*/ 30 h 51"/>
                <a:gd name="T14" fmla="*/ 25 w 50"/>
                <a:gd name="T15" fmla="*/ 33 h 51"/>
                <a:gd name="T16" fmla="*/ 25 w 50"/>
                <a:gd name="T17" fmla="*/ 51 h 51"/>
                <a:gd name="T18" fmla="*/ 25 w 50"/>
                <a:gd name="T19" fmla="*/ 0 h 51"/>
                <a:gd name="T20" fmla="*/ 0 w 50"/>
                <a:gd name="T21" fmla="*/ 25 h 51"/>
                <a:gd name="T22" fmla="*/ 25 w 50"/>
                <a:gd name="T23" fmla="*/ 51 h 51"/>
                <a:gd name="T24" fmla="*/ 25 w 50"/>
                <a:gd name="T25" fmla="*/ 33 h 51"/>
                <a:gd name="T26" fmla="*/ 12 w 50"/>
                <a:gd name="T27" fmla="*/ 38 h 51"/>
                <a:gd name="T28" fmla="*/ 20 w 50"/>
                <a:gd name="T29" fmla="*/ 20 h 51"/>
                <a:gd name="T30" fmla="*/ 20 w 50"/>
                <a:gd name="T31" fmla="*/ 20 h 51"/>
                <a:gd name="T32" fmla="*/ 25 w 50"/>
                <a:gd name="T33" fmla="*/ 18 h 51"/>
                <a:gd name="T34" fmla="*/ 25 w 50"/>
                <a:gd name="T3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51">
                  <a:moveTo>
                    <a:pt x="25" y="51"/>
                  </a:moveTo>
                  <a:cubicBezTo>
                    <a:pt x="39" y="51"/>
                    <a:pt x="50" y="39"/>
                    <a:pt x="50" y="25"/>
                  </a:cubicBezTo>
                  <a:cubicBezTo>
                    <a:pt x="50" y="12"/>
                    <a:pt x="39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1"/>
                    <a:pt x="25" y="51"/>
                    <a:pt x="25" y="51"/>
                  </a:cubicBezTo>
                  <a:close/>
                  <a:moveTo>
                    <a:pt x="25" y="0"/>
                  </a:moveTo>
                  <a:cubicBezTo>
                    <a:pt x="11" y="0"/>
                    <a:pt x="0" y="12"/>
                    <a:pt x="0" y="25"/>
                  </a:cubicBezTo>
                  <a:cubicBezTo>
                    <a:pt x="0" y="39"/>
                    <a:pt x="11" y="51"/>
                    <a:pt x="25" y="51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5" y="18"/>
                    <a:pt x="25" y="18"/>
                    <a:pt x="25" y="18"/>
                  </a:cubicBez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0" name="ïṩḻîďé">
              <a:extLst>
                <a:ext uri="{FF2B5EF4-FFF2-40B4-BE49-F238E27FC236}">
                  <a16:creationId xmlns:a16="http://schemas.microsoft.com/office/drawing/2014/main" id="{9E9D6800-7C28-4BBE-8906-5B3BBA2F9B4C}"/>
                </a:ext>
              </a:extLst>
            </p:cNvPr>
            <p:cNvSpPr/>
            <p:nvPr/>
          </p:nvSpPr>
          <p:spPr bwMode="auto">
            <a:xfrm flipH="1">
              <a:off x="3460947" y="1614914"/>
              <a:ext cx="13677" cy="1289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1" name="ïS1îḋè">
              <a:extLst>
                <a:ext uri="{FF2B5EF4-FFF2-40B4-BE49-F238E27FC236}">
                  <a16:creationId xmlns:a16="http://schemas.microsoft.com/office/drawing/2014/main" id="{3040ADD5-9128-4FC8-A602-BF9ACC062A4F}"/>
                </a:ext>
              </a:extLst>
            </p:cNvPr>
            <p:cNvSpPr/>
            <p:nvPr/>
          </p:nvSpPr>
          <p:spPr bwMode="auto">
            <a:xfrm flipH="1">
              <a:off x="1946483" y="2251920"/>
              <a:ext cx="129472" cy="122071"/>
            </a:xfrm>
            <a:custGeom>
              <a:avLst/>
              <a:gdLst>
                <a:gd name="T0" fmla="*/ 30 w 60"/>
                <a:gd name="T1" fmla="*/ 60 h 60"/>
                <a:gd name="T2" fmla="*/ 35 w 60"/>
                <a:gd name="T3" fmla="*/ 60 h 60"/>
                <a:gd name="T4" fmla="*/ 35 w 60"/>
                <a:gd name="T5" fmla="*/ 55 h 60"/>
                <a:gd name="T6" fmla="*/ 45 w 60"/>
                <a:gd name="T7" fmla="*/ 51 h 60"/>
                <a:gd name="T8" fmla="*/ 48 w 60"/>
                <a:gd name="T9" fmla="*/ 54 h 60"/>
                <a:gd name="T10" fmla="*/ 55 w 60"/>
                <a:gd name="T11" fmla="*/ 48 h 60"/>
                <a:gd name="T12" fmla="*/ 52 w 60"/>
                <a:gd name="T13" fmla="*/ 45 h 60"/>
                <a:gd name="T14" fmla="*/ 56 w 60"/>
                <a:gd name="T15" fmla="*/ 35 h 60"/>
                <a:gd name="T16" fmla="*/ 60 w 60"/>
                <a:gd name="T17" fmla="*/ 35 h 60"/>
                <a:gd name="T18" fmla="*/ 60 w 60"/>
                <a:gd name="T19" fmla="*/ 25 h 60"/>
                <a:gd name="T20" fmla="*/ 56 w 60"/>
                <a:gd name="T21" fmla="*/ 25 h 60"/>
                <a:gd name="T22" fmla="*/ 52 w 60"/>
                <a:gd name="T23" fmla="*/ 15 h 60"/>
                <a:gd name="T24" fmla="*/ 55 w 60"/>
                <a:gd name="T25" fmla="*/ 12 h 60"/>
                <a:gd name="T26" fmla="*/ 48 w 60"/>
                <a:gd name="T27" fmla="*/ 5 h 60"/>
                <a:gd name="T28" fmla="*/ 45 w 60"/>
                <a:gd name="T29" fmla="*/ 8 h 60"/>
                <a:gd name="T30" fmla="*/ 35 w 60"/>
                <a:gd name="T31" fmla="*/ 4 h 60"/>
                <a:gd name="T32" fmla="*/ 35 w 60"/>
                <a:gd name="T33" fmla="*/ 0 h 60"/>
                <a:gd name="T34" fmla="*/ 30 w 60"/>
                <a:gd name="T35" fmla="*/ 0 h 60"/>
                <a:gd name="T36" fmla="*/ 30 w 60"/>
                <a:gd name="T37" fmla="*/ 11 h 60"/>
                <a:gd name="T38" fmla="*/ 30 w 60"/>
                <a:gd name="T39" fmla="*/ 11 h 60"/>
                <a:gd name="T40" fmla="*/ 49 w 60"/>
                <a:gd name="T41" fmla="*/ 30 h 60"/>
                <a:gd name="T42" fmla="*/ 30 w 60"/>
                <a:gd name="T43" fmla="*/ 49 h 60"/>
                <a:gd name="T44" fmla="*/ 30 w 60"/>
                <a:gd name="T45" fmla="*/ 60 h 60"/>
                <a:gd name="T46" fmla="*/ 9 w 60"/>
                <a:gd name="T47" fmla="*/ 45 h 60"/>
                <a:gd name="T48" fmla="*/ 6 w 60"/>
                <a:gd name="T49" fmla="*/ 48 h 60"/>
                <a:gd name="T50" fmla="*/ 12 w 60"/>
                <a:gd name="T51" fmla="*/ 54 h 60"/>
                <a:gd name="T52" fmla="*/ 15 w 60"/>
                <a:gd name="T53" fmla="*/ 51 h 60"/>
                <a:gd name="T54" fmla="*/ 25 w 60"/>
                <a:gd name="T55" fmla="*/ 55 h 60"/>
                <a:gd name="T56" fmla="*/ 25 w 60"/>
                <a:gd name="T57" fmla="*/ 60 h 60"/>
                <a:gd name="T58" fmla="*/ 30 w 60"/>
                <a:gd name="T59" fmla="*/ 60 h 60"/>
                <a:gd name="T60" fmla="*/ 30 w 60"/>
                <a:gd name="T61" fmla="*/ 49 h 60"/>
                <a:gd name="T62" fmla="*/ 11 w 60"/>
                <a:gd name="T63" fmla="*/ 30 h 60"/>
                <a:gd name="T64" fmla="*/ 30 w 60"/>
                <a:gd name="T65" fmla="*/ 11 h 60"/>
                <a:gd name="T66" fmla="*/ 30 w 60"/>
                <a:gd name="T67" fmla="*/ 0 h 60"/>
                <a:gd name="T68" fmla="*/ 25 w 60"/>
                <a:gd name="T69" fmla="*/ 0 h 60"/>
                <a:gd name="T70" fmla="*/ 25 w 60"/>
                <a:gd name="T71" fmla="*/ 4 h 60"/>
                <a:gd name="T72" fmla="*/ 15 w 60"/>
                <a:gd name="T73" fmla="*/ 8 h 60"/>
                <a:gd name="T74" fmla="*/ 12 w 60"/>
                <a:gd name="T75" fmla="*/ 5 h 60"/>
                <a:gd name="T76" fmla="*/ 6 w 60"/>
                <a:gd name="T77" fmla="*/ 12 h 60"/>
                <a:gd name="T78" fmla="*/ 9 w 60"/>
                <a:gd name="T79" fmla="*/ 15 h 60"/>
                <a:gd name="T80" fmla="*/ 5 w 60"/>
                <a:gd name="T81" fmla="*/ 25 h 60"/>
                <a:gd name="T82" fmla="*/ 0 w 60"/>
                <a:gd name="T83" fmla="*/ 25 h 60"/>
                <a:gd name="T84" fmla="*/ 0 w 60"/>
                <a:gd name="T85" fmla="*/ 35 h 60"/>
                <a:gd name="T86" fmla="*/ 5 w 60"/>
                <a:gd name="T87" fmla="*/ 35 h 60"/>
                <a:gd name="T88" fmla="*/ 9 w 60"/>
                <a:gd name="T89" fmla="*/ 45 h 60"/>
                <a:gd name="T90" fmla="*/ 30 w 60"/>
                <a:gd name="T91" fmla="*/ 11 h 60"/>
                <a:gd name="T92" fmla="*/ 30 w 60"/>
                <a:gd name="T93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9" y="55"/>
                    <a:pt x="42" y="53"/>
                    <a:pt x="45" y="51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4" y="42"/>
                    <a:pt x="55" y="38"/>
                    <a:pt x="56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5" y="21"/>
                    <a:pt x="54" y="18"/>
                    <a:pt x="52" y="15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2" y="6"/>
                    <a:pt x="39" y="5"/>
                    <a:pt x="35" y="4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41" y="11"/>
                    <a:pt x="49" y="19"/>
                    <a:pt x="49" y="30"/>
                  </a:cubicBezTo>
                  <a:cubicBezTo>
                    <a:pt x="49" y="40"/>
                    <a:pt x="41" y="49"/>
                    <a:pt x="30" y="49"/>
                  </a:cubicBezTo>
                  <a:lnTo>
                    <a:pt x="30" y="60"/>
                  </a:lnTo>
                  <a:close/>
                  <a:moveTo>
                    <a:pt x="9" y="45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8" y="53"/>
                    <a:pt x="22" y="55"/>
                    <a:pt x="25" y="5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20" y="49"/>
                    <a:pt x="11" y="40"/>
                    <a:pt x="11" y="30"/>
                  </a:cubicBezTo>
                  <a:cubicBezTo>
                    <a:pt x="11" y="19"/>
                    <a:pt x="20" y="11"/>
                    <a:pt x="30" y="1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2" y="5"/>
                    <a:pt x="18" y="6"/>
                    <a:pt x="15" y="8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7" y="18"/>
                    <a:pt x="5" y="21"/>
                    <a:pt x="5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8"/>
                    <a:pt x="7" y="42"/>
                    <a:pt x="9" y="45"/>
                  </a:cubicBezTo>
                  <a:close/>
                  <a:moveTo>
                    <a:pt x="30" y="11"/>
                  </a:moveTo>
                  <a:cubicBezTo>
                    <a:pt x="30" y="11"/>
                    <a:pt x="30" y="11"/>
                    <a:pt x="30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2" name="îśļídê">
              <a:extLst>
                <a:ext uri="{FF2B5EF4-FFF2-40B4-BE49-F238E27FC236}">
                  <a16:creationId xmlns:a16="http://schemas.microsoft.com/office/drawing/2014/main" id="{CC82D367-58ED-4FAD-8BB3-214A51780C86}"/>
                </a:ext>
              </a:extLst>
            </p:cNvPr>
            <p:cNvSpPr/>
            <p:nvPr/>
          </p:nvSpPr>
          <p:spPr bwMode="auto">
            <a:xfrm flipH="1">
              <a:off x="2233693" y="2581170"/>
              <a:ext cx="151355" cy="1633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3" name="ísḷïďe">
              <a:extLst>
                <a:ext uri="{FF2B5EF4-FFF2-40B4-BE49-F238E27FC236}">
                  <a16:creationId xmlns:a16="http://schemas.microsoft.com/office/drawing/2014/main" id="{C16BCA24-8705-4403-BE7A-3631626A5F08}"/>
                </a:ext>
              </a:extLst>
            </p:cNvPr>
            <p:cNvSpPr/>
            <p:nvPr/>
          </p:nvSpPr>
          <p:spPr bwMode="auto">
            <a:xfrm flipH="1">
              <a:off x="2233693" y="2613837"/>
              <a:ext cx="151355" cy="56737"/>
            </a:xfrm>
            <a:custGeom>
              <a:avLst/>
              <a:gdLst>
                <a:gd name="T0" fmla="*/ 140 w 166"/>
                <a:gd name="T1" fmla="*/ 66 h 66"/>
                <a:gd name="T2" fmla="*/ 166 w 166"/>
                <a:gd name="T3" fmla="*/ 66 h 66"/>
                <a:gd name="T4" fmla="*/ 166 w 166"/>
                <a:gd name="T5" fmla="*/ 0 h 66"/>
                <a:gd name="T6" fmla="*/ 140 w 166"/>
                <a:gd name="T7" fmla="*/ 0 h 66"/>
                <a:gd name="T8" fmla="*/ 140 w 166"/>
                <a:gd name="T9" fmla="*/ 33 h 66"/>
                <a:gd name="T10" fmla="*/ 140 w 166"/>
                <a:gd name="T11" fmla="*/ 33 h 66"/>
                <a:gd name="T12" fmla="*/ 152 w 166"/>
                <a:gd name="T13" fmla="*/ 45 h 66"/>
                <a:gd name="T14" fmla="*/ 140 w 166"/>
                <a:gd name="T15" fmla="*/ 57 h 66"/>
                <a:gd name="T16" fmla="*/ 140 w 166"/>
                <a:gd name="T17" fmla="*/ 66 h 66"/>
                <a:gd name="T18" fmla="*/ 0 w 166"/>
                <a:gd name="T19" fmla="*/ 66 h 66"/>
                <a:gd name="T20" fmla="*/ 140 w 166"/>
                <a:gd name="T21" fmla="*/ 66 h 66"/>
                <a:gd name="T22" fmla="*/ 140 w 166"/>
                <a:gd name="T23" fmla="*/ 57 h 66"/>
                <a:gd name="T24" fmla="*/ 128 w 166"/>
                <a:gd name="T25" fmla="*/ 45 h 66"/>
                <a:gd name="T26" fmla="*/ 140 w 166"/>
                <a:gd name="T27" fmla="*/ 33 h 66"/>
                <a:gd name="T28" fmla="*/ 140 w 166"/>
                <a:gd name="T29" fmla="*/ 0 h 66"/>
                <a:gd name="T30" fmla="*/ 0 w 166"/>
                <a:gd name="T31" fmla="*/ 0 h 66"/>
                <a:gd name="T32" fmla="*/ 0 w 166"/>
                <a:gd name="T33" fmla="*/ 66 h 66"/>
                <a:gd name="T34" fmla="*/ 0 w 166"/>
                <a:gd name="T35" fmla="*/ 66 h 66"/>
                <a:gd name="T36" fmla="*/ 140 w 166"/>
                <a:gd name="T37" fmla="*/ 33 h 66"/>
                <a:gd name="T38" fmla="*/ 140 w 166"/>
                <a:gd name="T3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66">
                  <a:moveTo>
                    <a:pt x="140" y="66"/>
                  </a:moveTo>
                  <a:lnTo>
                    <a:pt x="166" y="66"/>
                  </a:lnTo>
                  <a:lnTo>
                    <a:pt x="166" y="0"/>
                  </a:lnTo>
                  <a:lnTo>
                    <a:pt x="140" y="0"/>
                  </a:lnTo>
                  <a:lnTo>
                    <a:pt x="140" y="33"/>
                  </a:lnTo>
                  <a:lnTo>
                    <a:pt x="140" y="33"/>
                  </a:lnTo>
                  <a:lnTo>
                    <a:pt x="152" y="45"/>
                  </a:lnTo>
                  <a:lnTo>
                    <a:pt x="140" y="57"/>
                  </a:lnTo>
                  <a:lnTo>
                    <a:pt x="140" y="66"/>
                  </a:lnTo>
                  <a:close/>
                  <a:moveTo>
                    <a:pt x="0" y="66"/>
                  </a:moveTo>
                  <a:lnTo>
                    <a:pt x="140" y="66"/>
                  </a:lnTo>
                  <a:lnTo>
                    <a:pt x="140" y="57"/>
                  </a:lnTo>
                  <a:lnTo>
                    <a:pt x="128" y="45"/>
                  </a:lnTo>
                  <a:lnTo>
                    <a:pt x="140" y="33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0" y="66"/>
                  </a:lnTo>
                  <a:close/>
                  <a:moveTo>
                    <a:pt x="140" y="33"/>
                  </a:moveTo>
                  <a:lnTo>
                    <a:pt x="14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4" name="îŝľîḓê">
              <a:extLst>
                <a:ext uri="{FF2B5EF4-FFF2-40B4-BE49-F238E27FC236}">
                  <a16:creationId xmlns:a16="http://schemas.microsoft.com/office/drawing/2014/main" id="{AF289D9F-57BE-44FA-ABAF-F35637C63A7C}"/>
                </a:ext>
              </a:extLst>
            </p:cNvPr>
            <p:cNvSpPr/>
            <p:nvPr/>
          </p:nvSpPr>
          <p:spPr bwMode="auto">
            <a:xfrm flipH="1">
              <a:off x="2233693" y="2613837"/>
              <a:ext cx="151355" cy="56737"/>
            </a:xfrm>
            <a:custGeom>
              <a:avLst/>
              <a:gdLst>
                <a:gd name="T0" fmla="*/ 140 w 166"/>
                <a:gd name="T1" fmla="*/ 66 h 66"/>
                <a:gd name="T2" fmla="*/ 166 w 166"/>
                <a:gd name="T3" fmla="*/ 66 h 66"/>
                <a:gd name="T4" fmla="*/ 166 w 166"/>
                <a:gd name="T5" fmla="*/ 0 h 66"/>
                <a:gd name="T6" fmla="*/ 140 w 166"/>
                <a:gd name="T7" fmla="*/ 0 h 66"/>
                <a:gd name="T8" fmla="*/ 140 w 166"/>
                <a:gd name="T9" fmla="*/ 33 h 66"/>
                <a:gd name="T10" fmla="*/ 140 w 166"/>
                <a:gd name="T11" fmla="*/ 33 h 66"/>
                <a:gd name="T12" fmla="*/ 152 w 166"/>
                <a:gd name="T13" fmla="*/ 45 h 66"/>
                <a:gd name="T14" fmla="*/ 140 w 166"/>
                <a:gd name="T15" fmla="*/ 57 h 66"/>
                <a:gd name="T16" fmla="*/ 140 w 166"/>
                <a:gd name="T17" fmla="*/ 66 h 66"/>
                <a:gd name="T18" fmla="*/ 0 w 166"/>
                <a:gd name="T19" fmla="*/ 66 h 66"/>
                <a:gd name="T20" fmla="*/ 140 w 166"/>
                <a:gd name="T21" fmla="*/ 66 h 66"/>
                <a:gd name="T22" fmla="*/ 140 w 166"/>
                <a:gd name="T23" fmla="*/ 57 h 66"/>
                <a:gd name="T24" fmla="*/ 128 w 166"/>
                <a:gd name="T25" fmla="*/ 45 h 66"/>
                <a:gd name="T26" fmla="*/ 140 w 166"/>
                <a:gd name="T27" fmla="*/ 33 h 66"/>
                <a:gd name="T28" fmla="*/ 140 w 166"/>
                <a:gd name="T29" fmla="*/ 0 h 66"/>
                <a:gd name="T30" fmla="*/ 0 w 166"/>
                <a:gd name="T31" fmla="*/ 0 h 66"/>
                <a:gd name="T32" fmla="*/ 0 w 166"/>
                <a:gd name="T33" fmla="*/ 66 h 66"/>
                <a:gd name="T34" fmla="*/ 0 w 166"/>
                <a:gd name="T35" fmla="*/ 66 h 66"/>
                <a:gd name="T36" fmla="*/ 140 w 166"/>
                <a:gd name="T37" fmla="*/ 33 h 66"/>
                <a:gd name="T38" fmla="*/ 140 w 166"/>
                <a:gd name="T39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66">
                  <a:moveTo>
                    <a:pt x="140" y="66"/>
                  </a:moveTo>
                  <a:lnTo>
                    <a:pt x="166" y="66"/>
                  </a:lnTo>
                  <a:lnTo>
                    <a:pt x="166" y="0"/>
                  </a:lnTo>
                  <a:lnTo>
                    <a:pt x="140" y="0"/>
                  </a:lnTo>
                  <a:lnTo>
                    <a:pt x="140" y="33"/>
                  </a:lnTo>
                  <a:lnTo>
                    <a:pt x="140" y="33"/>
                  </a:lnTo>
                  <a:lnTo>
                    <a:pt x="152" y="45"/>
                  </a:lnTo>
                  <a:lnTo>
                    <a:pt x="140" y="57"/>
                  </a:lnTo>
                  <a:lnTo>
                    <a:pt x="140" y="66"/>
                  </a:lnTo>
                  <a:moveTo>
                    <a:pt x="0" y="66"/>
                  </a:moveTo>
                  <a:lnTo>
                    <a:pt x="140" y="66"/>
                  </a:lnTo>
                  <a:lnTo>
                    <a:pt x="140" y="57"/>
                  </a:lnTo>
                  <a:lnTo>
                    <a:pt x="128" y="45"/>
                  </a:lnTo>
                  <a:lnTo>
                    <a:pt x="140" y="33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0" y="66"/>
                  </a:lnTo>
                  <a:moveTo>
                    <a:pt x="140" y="33"/>
                  </a:moveTo>
                  <a:lnTo>
                    <a:pt x="140" y="3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5" name="ïṩlîdé">
              <a:extLst>
                <a:ext uri="{FF2B5EF4-FFF2-40B4-BE49-F238E27FC236}">
                  <a16:creationId xmlns:a16="http://schemas.microsoft.com/office/drawing/2014/main" id="{87DE6C18-5880-4289-88D7-987CAA582820}"/>
                </a:ext>
              </a:extLst>
            </p:cNvPr>
            <p:cNvSpPr/>
            <p:nvPr/>
          </p:nvSpPr>
          <p:spPr bwMode="auto">
            <a:xfrm flipH="1">
              <a:off x="3235737" y="1190243"/>
              <a:ext cx="355594" cy="250161"/>
            </a:xfrm>
            <a:custGeom>
              <a:avLst/>
              <a:gdLst>
                <a:gd name="T0" fmla="*/ 82 w 165"/>
                <a:gd name="T1" fmla="*/ 0 h 123"/>
                <a:gd name="T2" fmla="*/ 0 w 165"/>
                <a:gd name="T3" fmla="*/ 83 h 123"/>
                <a:gd name="T4" fmla="*/ 10 w 165"/>
                <a:gd name="T5" fmla="*/ 122 h 123"/>
                <a:gd name="T6" fmla="*/ 10 w 165"/>
                <a:gd name="T7" fmla="*/ 100 h 123"/>
                <a:gd name="T8" fmla="*/ 14 w 165"/>
                <a:gd name="T9" fmla="*/ 89 h 123"/>
                <a:gd name="T10" fmla="*/ 13 w 165"/>
                <a:gd name="T11" fmla="*/ 83 h 123"/>
                <a:gd name="T12" fmla="*/ 82 w 165"/>
                <a:gd name="T13" fmla="*/ 13 h 123"/>
                <a:gd name="T14" fmla="*/ 151 w 165"/>
                <a:gd name="T15" fmla="*/ 83 h 123"/>
                <a:gd name="T16" fmla="*/ 151 w 165"/>
                <a:gd name="T17" fmla="*/ 90 h 123"/>
                <a:gd name="T18" fmla="*/ 155 w 165"/>
                <a:gd name="T19" fmla="*/ 100 h 123"/>
                <a:gd name="T20" fmla="*/ 155 w 165"/>
                <a:gd name="T21" fmla="*/ 123 h 123"/>
                <a:gd name="T22" fmla="*/ 165 w 165"/>
                <a:gd name="T23" fmla="*/ 83 h 123"/>
                <a:gd name="T24" fmla="*/ 82 w 165"/>
                <a:gd name="T2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5" h="123">
                  <a:moveTo>
                    <a:pt x="82" y="0"/>
                  </a:moveTo>
                  <a:cubicBezTo>
                    <a:pt x="37" y="0"/>
                    <a:pt x="0" y="37"/>
                    <a:pt x="0" y="83"/>
                  </a:cubicBezTo>
                  <a:cubicBezTo>
                    <a:pt x="0" y="96"/>
                    <a:pt x="3" y="110"/>
                    <a:pt x="10" y="122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96"/>
                    <a:pt x="11" y="92"/>
                    <a:pt x="14" y="89"/>
                  </a:cubicBezTo>
                  <a:cubicBezTo>
                    <a:pt x="14" y="87"/>
                    <a:pt x="13" y="85"/>
                    <a:pt x="13" y="83"/>
                  </a:cubicBezTo>
                  <a:cubicBezTo>
                    <a:pt x="13" y="45"/>
                    <a:pt x="44" y="13"/>
                    <a:pt x="82" y="13"/>
                  </a:cubicBezTo>
                  <a:cubicBezTo>
                    <a:pt x="120" y="13"/>
                    <a:pt x="151" y="45"/>
                    <a:pt x="151" y="83"/>
                  </a:cubicBezTo>
                  <a:cubicBezTo>
                    <a:pt x="151" y="85"/>
                    <a:pt x="151" y="88"/>
                    <a:pt x="151" y="90"/>
                  </a:cubicBezTo>
                  <a:cubicBezTo>
                    <a:pt x="153" y="93"/>
                    <a:pt x="155" y="97"/>
                    <a:pt x="155" y="100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61" y="111"/>
                    <a:pt x="165" y="97"/>
                    <a:pt x="165" y="83"/>
                  </a:cubicBezTo>
                  <a:cubicBezTo>
                    <a:pt x="165" y="37"/>
                    <a:pt x="128" y="0"/>
                    <a:pt x="8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6" name="ïṣḷiḑè">
              <a:extLst>
                <a:ext uri="{FF2B5EF4-FFF2-40B4-BE49-F238E27FC236}">
                  <a16:creationId xmlns:a16="http://schemas.microsoft.com/office/drawing/2014/main" id="{9C1AF34D-4109-4342-B818-A623E8242A1E}"/>
                </a:ext>
              </a:extLst>
            </p:cNvPr>
            <p:cNvSpPr/>
            <p:nvPr/>
          </p:nvSpPr>
          <p:spPr bwMode="auto">
            <a:xfrm flipH="1">
              <a:off x="3481918" y="1359596"/>
              <a:ext cx="79324" cy="134107"/>
            </a:xfrm>
            <a:custGeom>
              <a:avLst/>
              <a:gdLst>
                <a:gd name="T0" fmla="*/ 1 w 37"/>
                <a:gd name="T1" fmla="*/ 14 h 66"/>
                <a:gd name="T2" fmla="*/ 0 w 37"/>
                <a:gd name="T3" fmla="*/ 17 h 66"/>
                <a:gd name="T4" fmla="*/ 0 w 37"/>
                <a:gd name="T5" fmla="*/ 38 h 66"/>
                <a:gd name="T6" fmla="*/ 0 w 37"/>
                <a:gd name="T7" fmla="*/ 48 h 66"/>
                <a:gd name="T8" fmla="*/ 26 w 37"/>
                <a:gd name="T9" fmla="*/ 66 h 66"/>
                <a:gd name="T10" fmla="*/ 37 w 37"/>
                <a:gd name="T11" fmla="*/ 66 h 66"/>
                <a:gd name="T12" fmla="*/ 37 w 37"/>
                <a:gd name="T13" fmla="*/ 0 h 66"/>
                <a:gd name="T14" fmla="*/ 26 w 37"/>
                <a:gd name="T15" fmla="*/ 0 h 66"/>
                <a:gd name="T16" fmla="*/ 1 w 37"/>
                <a:gd name="T1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66">
                  <a:moveTo>
                    <a:pt x="1" y="14"/>
                  </a:moveTo>
                  <a:cubicBezTo>
                    <a:pt x="1" y="15"/>
                    <a:pt x="0" y="16"/>
                    <a:pt x="0" y="1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8"/>
                    <a:pt x="12" y="66"/>
                    <a:pt x="26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4" y="0"/>
                    <a:pt x="3" y="6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7" name="íšḻïḋé">
              <a:extLst>
                <a:ext uri="{FF2B5EF4-FFF2-40B4-BE49-F238E27FC236}">
                  <a16:creationId xmlns:a16="http://schemas.microsoft.com/office/drawing/2014/main" id="{91D96CAB-076E-4EFD-8C55-107B269C44B7}"/>
                </a:ext>
              </a:extLst>
            </p:cNvPr>
            <p:cNvSpPr/>
            <p:nvPr/>
          </p:nvSpPr>
          <p:spPr bwMode="auto">
            <a:xfrm flipH="1">
              <a:off x="3268562" y="1359596"/>
              <a:ext cx="77501" cy="134107"/>
            </a:xfrm>
            <a:custGeom>
              <a:avLst/>
              <a:gdLst>
                <a:gd name="T0" fmla="*/ 36 w 36"/>
                <a:gd name="T1" fmla="*/ 48 h 66"/>
                <a:gd name="T2" fmla="*/ 36 w 36"/>
                <a:gd name="T3" fmla="*/ 38 h 66"/>
                <a:gd name="T4" fmla="*/ 36 w 36"/>
                <a:gd name="T5" fmla="*/ 17 h 66"/>
                <a:gd name="T6" fmla="*/ 36 w 36"/>
                <a:gd name="T7" fmla="*/ 15 h 66"/>
                <a:gd name="T8" fmla="*/ 10 w 36"/>
                <a:gd name="T9" fmla="*/ 0 h 66"/>
                <a:gd name="T10" fmla="*/ 0 w 36"/>
                <a:gd name="T11" fmla="*/ 0 h 66"/>
                <a:gd name="T12" fmla="*/ 0 w 36"/>
                <a:gd name="T13" fmla="*/ 66 h 66"/>
                <a:gd name="T14" fmla="*/ 10 w 36"/>
                <a:gd name="T15" fmla="*/ 66 h 66"/>
                <a:gd name="T16" fmla="*/ 36 w 36"/>
                <a:gd name="T17" fmla="*/ 4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6">
                  <a:moveTo>
                    <a:pt x="36" y="48"/>
                  </a:moveTo>
                  <a:cubicBezTo>
                    <a:pt x="36" y="38"/>
                    <a:pt x="36" y="38"/>
                    <a:pt x="36" y="38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5"/>
                  </a:cubicBezTo>
                  <a:cubicBezTo>
                    <a:pt x="34" y="7"/>
                    <a:pt x="23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25" y="66"/>
                    <a:pt x="36" y="58"/>
                    <a:pt x="3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8" name="íSḷíḋè">
              <a:extLst>
                <a:ext uri="{FF2B5EF4-FFF2-40B4-BE49-F238E27FC236}">
                  <a16:creationId xmlns:a16="http://schemas.microsoft.com/office/drawing/2014/main" id="{8D12D444-F7AC-4A6A-8270-9A6D4915CDC1}"/>
                </a:ext>
              </a:extLst>
            </p:cNvPr>
            <p:cNvSpPr/>
            <p:nvPr/>
          </p:nvSpPr>
          <p:spPr bwMode="auto">
            <a:xfrm flipH="1">
              <a:off x="3997073" y="2019812"/>
              <a:ext cx="295416" cy="276811"/>
            </a:xfrm>
            <a:custGeom>
              <a:avLst/>
              <a:gdLst>
                <a:gd name="T0" fmla="*/ 137 w 137"/>
                <a:gd name="T1" fmla="*/ 68 h 136"/>
                <a:gd name="T2" fmla="*/ 122 w 137"/>
                <a:gd name="T3" fmla="*/ 64 h 136"/>
                <a:gd name="T4" fmla="*/ 131 w 137"/>
                <a:gd name="T5" fmla="*/ 64 h 136"/>
                <a:gd name="T6" fmla="*/ 122 w 137"/>
                <a:gd name="T7" fmla="*/ 72 h 136"/>
                <a:gd name="T8" fmla="*/ 106 w 137"/>
                <a:gd name="T9" fmla="*/ 125 h 136"/>
                <a:gd name="T10" fmla="*/ 122 w 137"/>
                <a:gd name="T11" fmla="*/ 72 h 136"/>
                <a:gd name="T12" fmla="*/ 113 w 137"/>
                <a:gd name="T13" fmla="*/ 64 h 136"/>
                <a:gd name="T14" fmla="*/ 122 w 137"/>
                <a:gd name="T15" fmla="*/ 25 h 136"/>
                <a:gd name="T16" fmla="*/ 106 w 137"/>
                <a:gd name="T17" fmla="*/ 25 h 136"/>
                <a:gd name="T18" fmla="*/ 110 w 137"/>
                <a:gd name="T19" fmla="*/ 21 h 136"/>
                <a:gd name="T20" fmla="*/ 106 w 137"/>
                <a:gd name="T21" fmla="*/ 36 h 136"/>
                <a:gd name="T22" fmla="*/ 115 w 137"/>
                <a:gd name="T23" fmla="*/ 109 h 136"/>
                <a:gd name="T24" fmla="*/ 106 w 137"/>
                <a:gd name="T25" fmla="*/ 111 h 136"/>
                <a:gd name="T26" fmla="*/ 68 w 137"/>
                <a:gd name="T27" fmla="*/ 136 h 136"/>
                <a:gd name="T28" fmla="*/ 106 w 137"/>
                <a:gd name="T29" fmla="*/ 111 h 136"/>
                <a:gd name="T30" fmla="*/ 102 w 137"/>
                <a:gd name="T31" fmla="*/ 97 h 136"/>
                <a:gd name="T32" fmla="*/ 106 w 137"/>
                <a:gd name="T33" fmla="*/ 100 h 136"/>
                <a:gd name="T34" fmla="*/ 102 w 137"/>
                <a:gd name="T35" fmla="*/ 39 h 136"/>
                <a:gd name="T36" fmla="*/ 106 w 137"/>
                <a:gd name="T37" fmla="*/ 25 h 136"/>
                <a:gd name="T38" fmla="*/ 68 w 137"/>
                <a:gd name="T39" fmla="*/ 0 h 136"/>
                <a:gd name="T40" fmla="*/ 68 w 137"/>
                <a:gd name="T41" fmla="*/ 5 h 136"/>
                <a:gd name="T42" fmla="*/ 72 w 137"/>
                <a:gd name="T43" fmla="*/ 24 h 136"/>
                <a:gd name="T44" fmla="*/ 68 w 137"/>
                <a:gd name="T45" fmla="*/ 63 h 136"/>
                <a:gd name="T46" fmla="*/ 90 w 137"/>
                <a:gd name="T47" fmla="*/ 42 h 136"/>
                <a:gd name="T48" fmla="*/ 69 w 137"/>
                <a:gd name="T49" fmla="*/ 74 h 136"/>
                <a:gd name="T50" fmla="*/ 68 w 137"/>
                <a:gd name="T51" fmla="*/ 112 h 136"/>
                <a:gd name="T52" fmla="*/ 72 w 137"/>
                <a:gd name="T53" fmla="*/ 131 h 136"/>
                <a:gd name="T54" fmla="*/ 68 w 137"/>
                <a:gd name="T55" fmla="*/ 131 h 136"/>
                <a:gd name="T56" fmla="*/ 68 w 137"/>
                <a:gd name="T57" fmla="*/ 0 h 136"/>
                <a:gd name="T58" fmla="*/ 30 w 137"/>
                <a:gd name="T59" fmla="*/ 25 h 136"/>
                <a:gd name="T60" fmla="*/ 34 w 137"/>
                <a:gd name="T61" fmla="*/ 39 h 136"/>
                <a:gd name="T62" fmla="*/ 30 w 137"/>
                <a:gd name="T63" fmla="*/ 100 h 136"/>
                <a:gd name="T64" fmla="*/ 40 w 137"/>
                <a:gd name="T65" fmla="*/ 102 h 136"/>
                <a:gd name="T66" fmla="*/ 30 w 137"/>
                <a:gd name="T67" fmla="*/ 125 h 136"/>
                <a:gd name="T68" fmla="*/ 68 w 137"/>
                <a:gd name="T69" fmla="*/ 131 h 136"/>
                <a:gd name="T70" fmla="*/ 64 w 137"/>
                <a:gd name="T71" fmla="*/ 112 h 136"/>
                <a:gd name="T72" fmla="*/ 68 w 137"/>
                <a:gd name="T73" fmla="*/ 74 h 136"/>
                <a:gd name="T74" fmla="*/ 57 w 137"/>
                <a:gd name="T75" fmla="*/ 52 h 136"/>
                <a:gd name="T76" fmla="*/ 68 w 137"/>
                <a:gd name="T77" fmla="*/ 63 h 136"/>
                <a:gd name="T78" fmla="*/ 64 w 137"/>
                <a:gd name="T79" fmla="*/ 24 h 136"/>
                <a:gd name="T80" fmla="*/ 64 w 137"/>
                <a:gd name="T81" fmla="*/ 5 h 136"/>
                <a:gd name="T82" fmla="*/ 68 w 137"/>
                <a:gd name="T83" fmla="*/ 0 h 136"/>
                <a:gd name="T84" fmla="*/ 15 w 137"/>
                <a:gd name="T85" fmla="*/ 25 h 136"/>
                <a:gd name="T86" fmla="*/ 24 w 137"/>
                <a:gd name="T87" fmla="*/ 64 h 136"/>
                <a:gd name="T88" fmla="*/ 24 w 137"/>
                <a:gd name="T89" fmla="*/ 72 h 136"/>
                <a:gd name="T90" fmla="*/ 15 w 137"/>
                <a:gd name="T91" fmla="*/ 111 h 136"/>
                <a:gd name="T92" fmla="*/ 30 w 137"/>
                <a:gd name="T93" fmla="*/ 111 h 136"/>
                <a:gd name="T94" fmla="*/ 27 w 137"/>
                <a:gd name="T95" fmla="*/ 115 h 136"/>
                <a:gd name="T96" fmla="*/ 30 w 137"/>
                <a:gd name="T97" fmla="*/ 100 h 136"/>
                <a:gd name="T98" fmla="*/ 21 w 137"/>
                <a:gd name="T99" fmla="*/ 27 h 136"/>
                <a:gd name="T100" fmla="*/ 27 w 137"/>
                <a:gd name="T101" fmla="*/ 21 h 136"/>
                <a:gd name="T102" fmla="*/ 30 w 137"/>
                <a:gd name="T103" fmla="*/ 11 h 136"/>
                <a:gd name="T104" fmla="*/ 0 w 137"/>
                <a:gd name="T105" fmla="*/ 68 h 136"/>
                <a:gd name="T106" fmla="*/ 15 w 137"/>
                <a:gd name="T107" fmla="*/ 72 h 136"/>
                <a:gd name="T108" fmla="*/ 6 w 137"/>
                <a:gd name="T109" fmla="*/ 64 h 136"/>
                <a:gd name="T110" fmla="*/ 15 w 137"/>
                <a:gd name="T111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7" h="136">
                  <a:moveTo>
                    <a:pt x="122" y="111"/>
                  </a:moveTo>
                  <a:cubicBezTo>
                    <a:pt x="131" y="99"/>
                    <a:pt x="137" y="84"/>
                    <a:pt x="137" y="68"/>
                  </a:cubicBezTo>
                  <a:cubicBezTo>
                    <a:pt x="137" y="52"/>
                    <a:pt x="131" y="37"/>
                    <a:pt x="122" y="25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22" y="72"/>
                    <a:pt x="122" y="72"/>
                    <a:pt x="122" y="72"/>
                  </a:cubicBezTo>
                  <a:lnTo>
                    <a:pt x="122" y="111"/>
                  </a:lnTo>
                  <a:close/>
                  <a:moveTo>
                    <a:pt x="106" y="125"/>
                  </a:moveTo>
                  <a:cubicBezTo>
                    <a:pt x="112" y="121"/>
                    <a:pt x="117" y="116"/>
                    <a:pt x="122" y="111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17" y="20"/>
                    <a:pt x="112" y="15"/>
                    <a:pt x="106" y="11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15" y="109"/>
                    <a:pt x="115" y="109"/>
                    <a:pt x="115" y="109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06" y="111"/>
                    <a:pt x="106" y="111"/>
                    <a:pt x="106" y="111"/>
                  </a:cubicBezTo>
                  <a:lnTo>
                    <a:pt x="106" y="125"/>
                  </a:lnTo>
                  <a:close/>
                  <a:moveTo>
                    <a:pt x="68" y="136"/>
                  </a:moveTo>
                  <a:cubicBezTo>
                    <a:pt x="82" y="136"/>
                    <a:pt x="95" y="132"/>
                    <a:pt x="106" y="125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95" y="4"/>
                    <a:pt x="82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54" y="0"/>
                    <a:pt x="41" y="4"/>
                    <a:pt x="30" y="1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41" y="132"/>
                    <a:pt x="54" y="136"/>
                    <a:pt x="68" y="136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68" y="0"/>
                  </a:lnTo>
                  <a:close/>
                  <a:moveTo>
                    <a:pt x="30" y="11"/>
                  </a:moveTo>
                  <a:cubicBezTo>
                    <a:pt x="25" y="15"/>
                    <a:pt x="19" y="20"/>
                    <a:pt x="15" y="25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9" y="116"/>
                    <a:pt x="25" y="121"/>
                    <a:pt x="30" y="125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11"/>
                  </a:lnTo>
                  <a:close/>
                  <a:moveTo>
                    <a:pt x="15" y="25"/>
                  </a:moveTo>
                  <a:cubicBezTo>
                    <a:pt x="6" y="37"/>
                    <a:pt x="0" y="52"/>
                    <a:pt x="0" y="68"/>
                  </a:cubicBezTo>
                  <a:cubicBezTo>
                    <a:pt x="0" y="84"/>
                    <a:pt x="6" y="99"/>
                    <a:pt x="15" y="111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5" y="64"/>
                    <a:pt x="15" y="64"/>
                    <a:pt x="15" y="64"/>
                  </a:cubicBezTo>
                  <a:lnTo>
                    <a:pt x="1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89" name="íşļïdè">
              <a:extLst>
                <a:ext uri="{FF2B5EF4-FFF2-40B4-BE49-F238E27FC236}">
                  <a16:creationId xmlns:a16="http://schemas.microsoft.com/office/drawing/2014/main" id="{694CA4FA-E5E8-452D-A922-A69DECF028B3}"/>
                </a:ext>
              </a:extLst>
            </p:cNvPr>
            <p:cNvSpPr/>
            <p:nvPr/>
          </p:nvSpPr>
          <p:spPr bwMode="auto">
            <a:xfrm flipH="1">
              <a:off x="2581993" y="4134572"/>
              <a:ext cx="153179" cy="416934"/>
            </a:xfrm>
            <a:custGeom>
              <a:avLst/>
              <a:gdLst>
                <a:gd name="T0" fmla="*/ 8 w 71"/>
                <a:gd name="T1" fmla="*/ 24 h 205"/>
                <a:gd name="T2" fmla="*/ 1 w 71"/>
                <a:gd name="T3" fmla="*/ 49 h 205"/>
                <a:gd name="T4" fmla="*/ 6 w 71"/>
                <a:gd name="T5" fmla="*/ 71 h 205"/>
                <a:gd name="T6" fmla="*/ 26 w 71"/>
                <a:gd name="T7" fmla="*/ 93 h 205"/>
                <a:gd name="T8" fmla="*/ 26 w 71"/>
                <a:gd name="T9" fmla="*/ 205 h 205"/>
                <a:gd name="T10" fmla="*/ 45 w 71"/>
                <a:gd name="T11" fmla="*/ 205 h 205"/>
                <a:gd name="T12" fmla="*/ 45 w 71"/>
                <a:gd name="T13" fmla="*/ 93 h 205"/>
                <a:gd name="T14" fmla="*/ 65 w 71"/>
                <a:gd name="T15" fmla="*/ 71 h 205"/>
                <a:gd name="T16" fmla="*/ 70 w 71"/>
                <a:gd name="T17" fmla="*/ 49 h 205"/>
                <a:gd name="T18" fmla="*/ 63 w 71"/>
                <a:gd name="T19" fmla="*/ 24 h 205"/>
                <a:gd name="T20" fmla="*/ 47 w 71"/>
                <a:gd name="T21" fmla="*/ 0 h 205"/>
                <a:gd name="T22" fmla="*/ 52 w 71"/>
                <a:gd name="T23" fmla="*/ 48 h 205"/>
                <a:gd name="T24" fmla="*/ 46 w 71"/>
                <a:gd name="T25" fmla="*/ 48 h 205"/>
                <a:gd name="T26" fmla="*/ 41 w 71"/>
                <a:gd name="T27" fmla="*/ 0 h 205"/>
                <a:gd name="T28" fmla="*/ 35 w 71"/>
                <a:gd name="T29" fmla="*/ 0 h 205"/>
                <a:gd name="T30" fmla="*/ 30 w 71"/>
                <a:gd name="T31" fmla="*/ 0 h 205"/>
                <a:gd name="T32" fmla="*/ 25 w 71"/>
                <a:gd name="T33" fmla="*/ 48 h 205"/>
                <a:gd name="T34" fmla="*/ 19 w 71"/>
                <a:gd name="T35" fmla="*/ 48 h 205"/>
                <a:gd name="T36" fmla="*/ 24 w 71"/>
                <a:gd name="T37" fmla="*/ 0 h 205"/>
                <a:gd name="T38" fmla="*/ 8 w 71"/>
                <a:gd name="T39" fmla="*/ 2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205">
                  <a:moveTo>
                    <a:pt x="8" y="24"/>
                  </a:moveTo>
                  <a:cubicBezTo>
                    <a:pt x="5" y="32"/>
                    <a:pt x="2" y="40"/>
                    <a:pt x="1" y="49"/>
                  </a:cubicBezTo>
                  <a:cubicBezTo>
                    <a:pt x="0" y="57"/>
                    <a:pt x="2" y="63"/>
                    <a:pt x="6" y="71"/>
                  </a:cubicBezTo>
                  <a:cubicBezTo>
                    <a:pt x="10" y="78"/>
                    <a:pt x="17" y="88"/>
                    <a:pt x="26" y="93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5" y="205"/>
                    <a:pt x="45" y="205"/>
                    <a:pt x="45" y="205"/>
                  </a:cubicBezTo>
                  <a:cubicBezTo>
                    <a:pt x="45" y="93"/>
                    <a:pt x="45" y="93"/>
                    <a:pt x="45" y="93"/>
                  </a:cubicBezTo>
                  <a:cubicBezTo>
                    <a:pt x="54" y="88"/>
                    <a:pt x="61" y="78"/>
                    <a:pt x="65" y="71"/>
                  </a:cubicBezTo>
                  <a:cubicBezTo>
                    <a:pt x="69" y="63"/>
                    <a:pt x="71" y="57"/>
                    <a:pt x="70" y="49"/>
                  </a:cubicBezTo>
                  <a:cubicBezTo>
                    <a:pt x="69" y="40"/>
                    <a:pt x="66" y="32"/>
                    <a:pt x="63" y="24"/>
                  </a:cubicBezTo>
                  <a:cubicBezTo>
                    <a:pt x="60" y="17"/>
                    <a:pt x="56" y="1"/>
                    <a:pt x="47" y="0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5" y="1"/>
                    <a:pt x="11" y="17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0" name="isľiḑé">
              <a:extLst>
                <a:ext uri="{FF2B5EF4-FFF2-40B4-BE49-F238E27FC236}">
                  <a16:creationId xmlns:a16="http://schemas.microsoft.com/office/drawing/2014/main" id="{D81714E6-9CEC-4D4C-AD10-45D43160174F}"/>
                </a:ext>
              </a:extLst>
            </p:cNvPr>
            <p:cNvSpPr/>
            <p:nvPr/>
          </p:nvSpPr>
          <p:spPr bwMode="auto">
            <a:xfrm flipH="1">
              <a:off x="2414225" y="4134572"/>
              <a:ext cx="99383" cy="416934"/>
            </a:xfrm>
            <a:custGeom>
              <a:avLst/>
              <a:gdLst>
                <a:gd name="T0" fmla="*/ 0 w 46"/>
                <a:gd name="T1" fmla="*/ 57 h 205"/>
                <a:gd name="T2" fmla="*/ 26 w 46"/>
                <a:gd name="T3" fmla="*/ 114 h 205"/>
                <a:gd name="T4" fmla="*/ 26 w 46"/>
                <a:gd name="T5" fmla="*/ 205 h 205"/>
                <a:gd name="T6" fmla="*/ 46 w 46"/>
                <a:gd name="T7" fmla="*/ 205 h 205"/>
                <a:gd name="T8" fmla="*/ 46 w 46"/>
                <a:gd name="T9" fmla="*/ 0 h 205"/>
                <a:gd name="T10" fmla="*/ 26 w 46"/>
                <a:gd name="T11" fmla="*/ 0 h 205"/>
                <a:gd name="T12" fmla="*/ 0 w 46"/>
                <a:gd name="T13" fmla="*/ 5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05">
                  <a:moveTo>
                    <a:pt x="0" y="57"/>
                  </a:moveTo>
                  <a:cubicBezTo>
                    <a:pt x="0" y="108"/>
                    <a:pt x="21" y="114"/>
                    <a:pt x="26" y="114"/>
                  </a:cubicBezTo>
                  <a:cubicBezTo>
                    <a:pt x="26" y="205"/>
                    <a:pt x="26" y="205"/>
                    <a:pt x="26" y="205"/>
                  </a:cubicBezTo>
                  <a:cubicBezTo>
                    <a:pt x="46" y="205"/>
                    <a:pt x="46" y="205"/>
                    <a:pt x="46" y="205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0" y="0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1" name="iSliḍè">
              <a:extLst>
                <a:ext uri="{FF2B5EF4-FFF2-40B4-BE49-F238E27FC236}">
                  <a16:creationId xmlns:a16="http://schemas.microsoft.com/office/drawing/2014/main" id="{B2E978DC-38E4-480A-BCCB-F95F1DA8444C}"/>
                </a:ext>
              </a:extLst>
            </p:cNvPr>
            <p:cNvSpPr/>
            <p:nvPr/>
          </p:nvSpPr>
          <p:spPr bwMode="auto">
            <a:xfrm flipH="1">
              <a:off x="3087118" y="5419761"/>
              <a:ext cx="31912" cy="3266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2" name="i$ľíḑê">
              <a:extLst>
                <a:ext uri="{FF2B5EF4-FFF2-40B4-BE49-F238E27FC236}">
                  <a16:creationId xmlns:a16="http://schemas.microsoft.com/office/drawing/2014/main" id="{EF659EBB-674E-46CF-98B9-38E6E650E712}"/>
                </a:ext>
              </a:extLst>
            </p:cNvPr>
            <p:cNvSpPr/>
            <p:nvPr/>
          </p:nvSpPr>
          <p:spPr bwMode="auto">
            <a:xfrm flipH="1">
              <a:off x="3060676" y="5388813"/>
              <a:ext cx="26441" cy="223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3" name="íṣľïḋé">
              <a:extLst>
                <a:ext uri="{FF2B5EF4-FFF2-40B4-BE49-F238E27FC236}">
                  <a16:creationId xmlns:a16="http://schemas.microsoft.com/office/drawing/2014/main" id="{018B889F-5FFD-498C-93BF-060665645A25}"/>
                </a:ext>
              </a:extLst>
            </p:cNvPr>
            <p:cNvSpPr/>
            <p:nvPr/>
          </p:nvSpPr>
          <p:spPr bwMode="auto">
            <a:xfrm flipH="1">
              <a:off x="3093500" y="5346690"/>
              <a:ext cx="19147" cy="16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4" name="iṣlïde">
              <a:extLst>
                <a:ext uri="{FF2B5EF4-FFF2-40B4-BE49-F238E27FC236}">
                  <a16:creationId xmlns:a16="http://schemas.microsoft.com/office/drawing/2014/main" id="{699C9F3E-CACD-4A4E-9465-B99CF5E75434}"/>
                </a:ext>
              </a:extLst>
            </p:cNvPr>
            <p:cNvSpPr/>
            <p:nvPr/>
          </p:nvSpPr>
          <p:spPr bwMode="auto">
            <a:xfrm flipH="1">
              <a:off x="3087118" y="5277057"/>
              <a:ext cx="31912" cy="3266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5" name="ïsļîdé">
              <a:extLst>
                <a:ext uri="{FF2B5EF4-FFF2-40B4-BE49-F238E27FC236}">
                  <a16:creationId xmlns:a16="http://schemas.microsoft.com/office/drawing/2014/main" id="{EFC1F0A4-44B6-4768-A51C-79E74BA97807}"/>
                </a:ext>
              </a:extLst>
            </p:cNvPr>
            <p:cNvSpPr/>
            <p:nvPr/>
          </p:nvSpPr>
          <p:spPr bwMode="auto">
            <a:xfrm flipH="1">
              <a:off x="3000498" y="5139512"/>
              <a:ext cx="164120" cy="347302"/>
            </a:xfrm>
            <a:custGeom>
              <a:avLst/>
              <a:gdLst>
                <a:gd name="T0" fmla="*/ 41 w 76"/>
                <a:gd name="T1" fmla="*/ 9 h 171"/>
                <a:gd name="T2" fmla="*/ 40 w 76"/>
                <a:gd name="T3" fmla="*/ 15 h 171"/>
                <a:gd name="T4" fmla="*/ 40 w 76"/>
                <a:gd name="T5" fmla="*/ 26 h 171"/>
                <a:gd name="T6" fmla="*/ 36 w 76"/>
                <a:gd name="T7" fmla="*/ 26 h 171"/>
                <a:gd name="T8" fmla="*/ 36 w 76"/>
                <a:gd name="T9" fmla="*/ 56 h 171"/>
                <a:gd name="T10" fmla="*/ 40 w 76"/>
                <a:gd name="T11" fmla="*/ 56 h 171"/>
                <a:gd name="T12" fmla="*/ 40 w 76"/>
                <a:gd name="T13" fmla="*/ 79 h 171"/>
                <a:gd name="T14" fmla="*/ 40 w 76"/>
                <a:gd name="T15" fmla="*/ 89 h 171"/>
                <a:gd name="T16" fmla="*/ 46 w 76"/>
                <a:gd name="T17" fmla="*/ 96 h 171"/>
                <a:gd name="T18" fmla="*/ 48 w 76"/>
                <a:gd name="T19" fmla="*/ 96 h 171"/>
                <a:gd name="T20" fmla="*/ 53 w 76"/>
                <a:gd name="T21" fmla="*/ 89 h 171"/>
                <a:gd name="T22" fmla="*/ 53 w 76"/>
                <a:gd name="T23" fmla="*/ 56 h 171"/>
                <a:gd name="T24" fmla="*/ 58 w 76"/>
                <a:gd name="T25" fmla="*/ 56 h 171"/>
                <a:gd name="T26" fmla="*/ 58 w 76"/>
                <a:gd name="T27" fmla="*/ 56 h 171"/>
                <a:gd name="T28" fmla="*/ 58 w 76"/>
                <a:gd name="T29" fmla="*/ 156 h 171"/>
                <a:gd name="T30" fmla="*/ 36 w 76"/>
                <a:gd name="T31" fmla="*/ 156 h 171"/>
                <a:gd name="T32" fmla="*/ 36 w 76"/>
                <a:gd name="T33" fmla="*/ 171 h 171"/>
                <a:gd name="T34" fmla="*/ 72 w 76"/>
                <a:gd name="T35" fmla="*/ 171 h 171"/>
                <a:gd name="T36" fmla="*/ 72 w 76"/>
                <a:gd name="T37" fmla="*/ 26 h 171"/>
                <a:gd name="T38" fmla="*/ 53 w 76"/>
                <a:gd name="T39" fmla="*/ 26 h 171"/>
                <a:gd name="T40" fmla="*/ 53 w 76"/>
                <a:gd name="T41" fmla="*/ 18 h 171"/>
                <a:gd name="T42" fmla="*/ 70 w 76"/>
                <a:gd name="T43" fmla="*/ 14 h 171"/>
                <a:gd name="T44" fmla="*/ 75 w 76"/>
                <a:gd name="T45" fmla="*/ 6 h 171"/>
                <a:gd name="T46" fmla="*/ 67 w 76"/>
                <a:gd name="T47" fmla="*/ 1 h 171"/>
                <a:gd name="T48" fmla="*/ 46 w 76"/>
                <a:gd name="T49" fmla="*/ 6 h 171"/>
                <a:gd name="T50" fmla="*/ 41 w 76"/>
                <a:gd name="T51" fmla="*/ 9 h 171"/>
                <a:gd name="T52" fmla="*/ 36 w 76"/>
                <a:gd name="T53" fmla="*/ 26 h 171"/>
                <a:gd name="T54" fmla="*/ 0 w 76"/>
                <a:gd name="T55" fmla="*/ 26 h 171"/>
                <a:gd name="T56" fmla="*/ 0 w 76"/>
                <a:gd name="T57" fmla="*/ 171 h 171"/>
                <a:gd name="T58" fmla="*/ 36 w 76"/>
                <a:gd name="T59" fmla="*/ 171 h 171"/>
                <a:gd name="T60" fmla="*/ 36 w 76"/>
                <a:gd name="T61" fmla="*/ 156 h 171"/>
                <a:gd name="T62" fmla="*/ 15 w 76"/>
                <a:gd name="T63" fmla="*/ 156 h 171"/>
                <a:gd name="T64" fmla="*/ 15 w 76"/>
                <a:gd name="T65" fmla="*/ 56 h 171"/>
                <a:gd name="T66" fmla="*/ 36 w 76"/>
                <a:gd name="T67" fmla="*/ 56 h 171"/>
                <a:gd name="T68" fmla="*/ 36 w 76"/>
                <a:gd name="T69" fmla="*/ 2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171">
                  <a:moveTo>
                    <a:pt x="41" y="9"/>
                  </a:move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0" y="19"/>
                    <a:pt x="40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68"/>
                    <a:pt x="40" y="78"/>
                    <a:pt x="40" y="79"/>
                  </a:cubicBezTo>
                  <a:cubicBezTo>
                    <a:pt x="40" y="81"/>
                    <a:pt x="40" y="89"/>
                    <a:pt x="40" y="89"/>
                  </a:cubicBezTo>
                  <a:cubicBezTo>
                    <a:pt x="40" y="93"/>
                    <a:pt x="42" y="96"/>
                    <a:pt x="46" y="96"/>
                  </a:cubicBezTo>
                  <a:cubicBezTo>
                    <a:pt x="47" y="96"/>
                    <a:pt x="47" y="96"/>
                    <a:pt x="48" y="96"/>
                  </a:cubicBezTo>
                  <a:cubicBezTo>
                    <a:pt x="51" y="95"/>
                    <a:pt x="53" y="92"/>
                    <a:pt x="53" y="89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4" y="13"/>
                    <a:pt x="76" y="10"/>
                    <a:pt x="75" y="6"/>
                  </a:cubicBezTo>
                  <a:cubicBezTo>
                    <a:pt x="75" y="3"/>
                    <a:pt x="71" y="0"/>
                    <a:pt x="67" y="1"/>
                  </a:cubicBezTo>
                  <a:cubicBezTo>
                    <a:pt x="66" y="1"/>
                    <a:pt x="48" y="5"/>
                    <a:pt x="46" y="6"/>
                  </a:cubicBezTo>
                  <a:cubicBezTo>
                    <a:pt x="44" y="6"/>
                    <a:pt x="42" y="7"/>
                    <a:pt x="41" y="9"/>
                  </a:cubicBezTo>
                  <a:close/>
                  <a:moveTo>
                    <a:pt x="36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36" y="171"/>
                    <a:pt x="36" y="171"/>
                    <a:pt x="36" y="171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6" name="i$liďè">
              <a:extLst>
                <a:ext uri="{FF2B5EF4-FFF2-40B4-BE49-F238E27FC236}">
                  <a16:creationId xmlns:a16="http://schemas.microsoft.com/office/drawing/2014/main" id="{51C74F3A-D82E-4271-B80D-16394F3D287F}"/>
                </a:ext>
              </a:extLst>
            </p:cNvPr>
            <p:cNvSpPr/>
            <p:nvPr/>
          </p:nvSpPr>
          <p:spPr bwMode="auto">
            <a:xfrm flipH="1">
              <a:off x="1708507" y="3644568"/>
              <a:ext cx="178709" cy="101440"/>
            </a:xfrm>
            <a:custGeom>
              <a:avLst/>
              <a:gdLst>
                <a:gd name="T0" fmla="*/ 196 w 196"/>
                <a:gd name="T1" fmla="*/ 0 h 118"/>
                <a:gd name="T2" fmla="*/ 14 w 196"/>
                <a:gd name="T3" fmla="*/ 0 h 118"/>
                <a:gd name="T4" fmla="*/ 14 w 196"/>
                <a:gd name="T5" fmla="*/ 36 h 118"/>
                <a:gd name="T6" fmla="*/ 0 w 196"/>
                <a:gd name="T7" fmla="*/ 36 h 118"/>
                <a:gd name="T8" fmla="*/ 0 w 196"/>
                <a:gd name="T9" fmla="*/ 85 h 118"/>
                <a:gd name="T10" fmla="*/ 14 w 196"/>
                <a:gd name="T11" fmla="*/ 85 h 118"/>
                <a:gd name="T12" fmla="*/ 14 w 196"/>
                <a:gd name="T13" fmla="*/ 118 h 118"/>
                <a:gd name="T14" fmla="*/ 196 w 196"/>
                <a:gd name="T15" fmla="*/ 118 h 118"/>
                <a:gd name="T16" fmla="*/ 196 w 196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118">
                  <a:moveTo>
                    <a:pt x="196" y="0"/>
                  </a:moveTo>
                  <a:lnTo>
                    <a:pt x="14" y="0"/>
                  </a:lnTo>
                  <a:lnTo>
                    <a:pt x="14" y="36"/>
                  </a:lnTo>
                  <a:lnTo>
                    <a:pt x="0" y="36"/>
                  </a:lnTo>
                  <a:lnTo>
                    <a:pt x="0" y="85"/>
                  </a:lnTo>
                  <a:lnTo>
                    <a:pt x="14" y="85"/>
                  </a:lnTo>
                  <a:lnTo>
                    <a:pt x="14" y="118"/>
                  </a:lnTo>
                  <a:lnTo>
                    <a:pt x="196" y="118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7" name="íṡļíḋe">
              <a:extLst>
                <a:ext uri="{FF2B5EF4-FFF2-40B4-BE49-F238E27FC236}">
                  <a16:creationId xmlns:a16="http://schemas.microsoft.com/office/drawing/2014/main" id="{4E2AFB20-285D-4C79-8043-C05560041716}"/>
                </a:ext>
              </a:extLst>
            </p:cNvPr>
            <p:cNvSpPr/>
            <p:nvPr/>
          </p:nvSpPr>
          <p:spPr bwMode="auto">
            <a:xfrm flipH="1">
              <a:off x="2003925" y="3599864"/>
              <a:ext cx="28265" cy="146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8" name="ïşľîḍè">
              <a:extLst>
                <a:ext uri="{FF2B5EF4-FFF2-40B4-BE49-F238E27FC236}">
                  <a16:creationId xmlns:a16="http://schemas.microsoft.com/office/drawing/2014/main" id="{528F7277-62BC-4270-A42A-84B1E98ECA3A}"/>
                </a:ext>
              </a:extLst>
            </p:cNvPr>
            <p:cNvSpPr/>
            <p:nvPr/>
          </p:nvSpPr>
          <p:spPr bwMode="auto">
            <a:xfrm flipH="1">
              <a:off x="1943748" y="3662619"/>
              <a:ext cx="55618" cy="550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99" name="ïśḻîďe">
              <a:extLst>
                <a:ext uri="{FF2B5EF4-FFF2-40B4-BE49-F238E27FC236}">
                  <a16:creationId xmlns:a16="http://schemas.microsoft.com/office/drawing/2014/main" id="{9DFBB0C4-4DF9-4B6B-9D24-7C60FEE83AD5}"/>
                </a:ext>
              </a:extLst>
            </p:cNvPr>
            <p:cNvSpPr/>
            <p:nvPr/>
          </p:nvSpPr>
          <p:spPr bwMode="auto">
            <a:xfrm flipH="1">
              <a:off x="1898158" y="3622215"/>
              <a:ext cx="151355" cy="274231"/>
            </a:xfrm>
            <a:custGeom>
              <a:avLst/>
              <a:gdLst>
                <a:gd name="T0" fmla="*/ 36 w 70"/>
                <a:gd name="T1" fmla="*/ 135 h 135"/>
                <a:gd name="T2" fmla="*/ 70 w 70"/>
                <a:gd name="T3" fmla="*/ 135 h 135"/>
                <a:gd name="T4" fmla="*/ 70 w 70"/>
                <a:gd name="T5" fmla="*/ 47 h 135"/>
                <a:gd name="T6" fmla="*/ 70 w 70"/>
                <a:gd name="T7" fmla="*/ 26 h 135"/>
                <a:gd name="T8" fmla="*/ 70 w 70"/>
                <a:gd name="T9" fmla="*/ 0 h 135"/>
                <a:gd name="T10" fmla="*/ 36 w 70"/>
                <a:gd name="T11" fmla="*/ 0 h 135"/>
                <a:gd name="T12" fmla="*/ 36 w 70"/>
                <a:gd name="T13" fmla="*/ 7 h 135"/>
                <a:gd name="T14" fmla="*/ 36 w 70"/>
                <a:gd name="T15" fmla="*/ 7 h 135"/>
                <a:gd name="T16" fmla="*/ 62 w 70"/>
                <a:gd name="T17" fmla="*/ 34 h 135"/>
                <a:gd name="T18" fmla="*/ 36 w 70"/>
                <a:gd name="T19" fmla="*/ 60 h 135"/>
                <a:gd name="T20" fmla="*/ 36 w 70"/>
                <a:gd name="T21" fmla="*/ 135 h 135"/>
                <a:gd name="T22" fmla="*/ 0 w 70"/>
                <a:gd name="T23" fmla="*/ 135 h 135"/>
                <a:gd name="T24" fmla="*/ 36 w 70"/>
                <a:gd name="T25" fmla="*/ 135 h 135"/>
                <a:gd name="T26" fmla="*/ 36 w 70"/>
                <a:gd name="T27" fmla="*/ 60 h 135"/>
                <a:gd name="T28" fmla="*/ 9 w 70"/>
                <a:gd name="T29" fmla="*/ 34 h 135"/>
                <a:gd name="T30" fmla="*/ 36 w 70"/>
                <a:gd name="T31" fmla="*/ 7 h 135"/>
                <a:gd name="T32" fmla="*/ 36 w 70"/>
                <a:gd name="T33" fmla="*/ 0 h 135"/>
                <a:gd name="T34" fmla="*/ 0 w 70"/>
                <a:gd name="T35" fmla="*/ 0 h 135"/>
                <a:gd name="T36" fmla="*/ 0 w 70"/>
                <a:gd name="T37" fmla="*/ 135 h 135"/>
                <a:gd name="T38" fmla="*/ 36 w 70"/>
                <a:gd name="T39" fmla="*/ 7 h 135"/>
                <a:gd name="T40" fmla="*/ 36 w 70"/>
                <a:gd name="T41" fmla="*/ 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" h="135">
                  <a:moveTo>
                    <a:pt x="36" y="135"/>
                  </a:moveTo>
                  <a:cubicBezTo>
                    <a:pt x="70" y="135"/>
                    <a:pt x="70" y="135"/>
                    <a:pt x="70" y="135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51" y="7"/>
                    <a:pt x="62" y="19"/>
                    <a:pt x="62" y="34"/>
                  </a:cubicBezTo>
                  <a:cubicBezTo>
                    <a:pt x="62" y="48"/>
                    <a:pt x="51" y="60"/>
                    <a:pt x="36" y="60"/>
                  </a:cubicBezTo>
                  <a:lnTo>
                    <a:pt x="36" y="135"/>
                  </a:lnTo>
                  <a:close/>
                  <a:moveTo>
                    <a:pt x="0" y="135"/>
                  </a:moveTo>
                  <a:cubicBezTo>
                    <a:pt x="36" y="135"/>
                    <a:pt x="36" y="135"/>
                    <a:pt x="36" y="135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21" y="60"/>
                    <a:pt x="9" y="48"/>
                    <a:pt x="9" y="34"/>
                  </a:cubicBezTo>
                  <a:cubicBezTo>
                    <a:pt x="9" y="19"/>
                    <a:pt x="21" y="7"/>
                    <a:pt x="36" y="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lose/>
                  <a:moveTo>
                    <a:pt x="36" y="7"/>
                  </a:moveTo>
                  <a:cubicBezTo>
                    <a:pt x="36" y="7"/>
                    <a:pt x="36" y="7"/>
                    <a:pt x="36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0" name="îśḻidè">
              <a:extLst>
                <a:ext uri="{FF2B5EF4-FFF2-40B4-BE49-F238E27FC236}">
                  <a16:creationId xmlns:a16="http://schemas.microsoft.com/office/drawing/2014/main" id="{56F503BC-550C-421D-9DF9-CB7AECDF0FDF}"/>
                </a:ext>
              </a:extLst>
            </p:cNvPr>
            <p:cNvSpPr/>
            <p:nvPr/>
          </p:nvSpPr>
          <p:spPr bwMode="auto">
            <a:xfrm flipH="1">
              <a:off x="2942144" y="5588254"/>
              <a:ext cx="293593" cy="276811"/>
            </a:xfrm>
            <a:custGeom>
              <a:avLst/>
              <a:gdLst>
                <a:gd name="T0" fmla="*/ 68 w 136"/>
                <a:gd name="T1" fmla="*/ 136 h 136"/>
                <a:gd name="T2" fmla="*/ 136 w 136"/>
                <a:gd name="T3" fmla="*/ 68 h 136"/>
                <a:gd name="T4" fmla="*/ 68 w 136"/>
                <a:gd name="T5" fmla="*/ 0 h 136"/>
                <a:gd name="T6" fmla="*/ 68 w 136"/>
                <a:gd name="T7" fmla="*/ 0 h 136"/>
                <a:gd name="T8" fmla="*/ 68 w 136"/>
                <a:gd name="T9" fmla="*/ 48 h 136"/>
                <a:gd name="T10" fmla="*/ 102 w 136"/>
                <a:gd name="T11" fmla="*/ 33 h 136"/>
                <a:gd name="T12" fmla="*/ 81 w 136"/>
                <a:gd name="T13" fmla="*/ 81 h 136"/>
                <a:gd name="T14" fmla="*/ 68 w 136"/>
                <a:gd name="T15" fmla="*/ 87 h 136"/>
                <a:gd name="T16" fmla="*/ 68 w 136"/>
                <a:gd name="T17" fmla="*/ 136 h 136"/>
                <a:gd name="T18" fmla="*/ 68 w 136"/>
                <a:gd name="T19" fmla="*/ 0 h 136"/>
                <a:gd name="T20" fmla="*/ 0 w 136"/>
                <a:gd name="T21" fmla="*/ 68 h 136"/>
                <a:gd name="T22" fmla="*/ 68 w 136"/>
                <a:gd name="T23" fmla="*/ 136 h 136"/>
                <a:gd name="T24" fmla="*/ 68 w 136"/>
                <a:gd name="T25" fmla="*/ 87 h 136"/>
                <a:gd name="T26" fmla="*/ 33 w 136"/>
                <a:gd name="T27" fmla="*/ 103 h 136"/>
                <a:gd name="T28" fmla="*/ 54 w 136"/>
                <a:gd name="T29" fmla="*/ 54 h 136"/>
                <a:gd name="T30" fmla="*/ 54 w 136"/>
                <a:gd name="T31" fmla="*/ 54 h 136"/>
                <a:gd name="T32" fmla="*/ 68 w 136"/>
                <a:gd name="T33" fmla="*/ 48 h 136"/>
                <a:gd name="T34" fmla="*/ 68 w 136"/>
                <a:gd name="T3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36">
                  <a:moveTo>
                    <a:pt x="68" y="136"/>
                  </a:moveTo>
                  <a:cubicBezTo>
                    <a:pt x="105" y="136"/>
                    <a:pt x="136" y="105"/>
                    <a:pt x="136" y="68"/>
                  </a:cubicBezTo>
                  <a:cubicBezTo>
                    <a:pt x="136" y="30"/>
                    <a:pt x="105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30" y="0"/>
                    <a:pt x="0" y="30"/>
                    <a:pt x="0" y="68"/>
                  </a:cubicBezTo>
                  <a:cubicBezTo>
                    <a:pt x="0" y="105"/>
                    <a:pt x="30" y="136"/>
                    <a:pt x="68" y="136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68" y="48"/>
                    <a:pt x="68" y="48"/>
                    <a:pt x="68" y="48"/>
                  </a:cubicBezTo>
                  <a:lnTo>
                    <a:pt x="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1" name="ïṩlïḍè">
              <a:extLst>
                <a:ext uri="{FF2B5EF4-FFF2-40B4-BE49-F238E27FC236}">
                  <a16:creationId xmlns:a16="http://schemas.microsoft.com/office/drawing/2014/main" id="{A84C7262-23AC-4384-8DA8-1997D5E8D78C}"/>
                </a:ext>
              </a:extLst>
            </p:cNvPr>
            <p:cNvSpPr/>
            <p:nvPr/>
          </p:nvSpPr>
          <p:spPr bwMode="auto">
            <a:xfrm flipH="1">
              <a:off x="3071617" y="5708606"/>
              <a:ext cx="34648" cy="3266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2" name="îsḷiḍê">
              <a:extLst>
                <a:ext uri="{FF2B5EF4-FFF2-40B4-BE49-F238E27FC236}">
                  <a16:creationId xmlns:a16="http://schemas.microsoft.com/office/drawing/2014/main" id="{8B491B7E-EE8F-467B-AF70-282450524F89}"/>
                </a:ext>
              </a:extLst>
            </p:cNvPr>
            <p:cNvSpPr/>
            <p:nvPr/>
          </p:nvSpPr>
          <p:spPr bwMode="auto">
            <a:xfrm flipH="1">
              <a:off x="3406240" y="2856260"/>
              <a:ext cx="194209" cy="357618"/>
            </a:xfrm>
            <a:custGeom>
              <a:avLst/>
              <a:gdLst>
                <a:gd name="T0" fmla="*/ 45 w 90"/>
                <a:gd name="T1" fmla="*/ 176 h 176"/>
                <a:gd name="T2" fmla="*/ 90 w 90"/>
                <a:gd name="T3" fmla="*/ 176 h 176"/>
                <a:gd name="T4" fmla="*/ 90 w 90"/>
                <a:gd name="T5" fmla="*/ 0 h 176"/>
                <a:gd name="T6" fmla="*/ 45 w 90"/>
                <a:gd name="T7" fmla="*/ 0 h 176"/>
                <a:gd name="T8" fmla="*/ 45 w 90"/>
                <a:gd name="T9" fmla="*/ 10 h 176"/>
                <a:gd name="T10" fmla="*/ 82 w 90"/>
                <a:gd name="T11" fmla="*/ 10 h 176"/>
                <a:gd name="T12" fmla="*/ 82 w 90"/>
                <a:gd name="T13" fmla="*/ 44 h 176"/>
                <a:gd name="T14" fmla="*/ 45 w 90"/>
                <a:gd name="T15" fmla="*/ 44 h 176"/>
                <a:gd name="T16" fmla="*/ 45 w 90"/>
                <a:gd name="T17" fmla="*/ 51 h 176"/>
                <a:gd name="T18" fmla="*/ 82 w 90"/>
                <a:gd name="T19" fmla="*/ 51 h 176"/>
                <a:gd name="T20" fmla="*/ 82 w 90"/>
                <a:gd name="T21" fmla="*/ 85 h 176"/>
                <a:gd name="T22" fmla="*/ 45 w 90"/>
                <a:gd name="T23" fmla="*/ 85 h 176"/>
                <a:gd name="T24" fmla="*/ 45 w 90"/>
                <a:gd name="T25" fmla="*/ 99 h 176"/>
                <a:gd name="T26" fmla="*/ 56 w 90"/>
                <a:gd name="T27" fmla="*/ 110 h 176"/>
                <a:gd name="T28" fmla="*/ 45 w 90"/>
                <a:gd name="T29" fmla="*/ 121 h 176"/>
                <a:gd name="T30" fmla="*/ 45 w 90"/>
                <a:gd name="T31" fmla="*/ 138 h 176"/>
                <a:gd name="T32" fmla="*/ 56 w 90"/>
                <a:gd name="T33" fmla="*/ 149 h 176"/>
                <a:gd name="T34" fmla="*/ 45 w 90"/>
                <a:gd name="T35" fmla="*/ 160 h 176"/>
                <a:gd name="T36" fmla="*/ 45 w 90"/>
                <a:gd name="T37" fmla="*/ 176 h 176"/>
                <a:gd name="T38" fmla="*/ 0 w 90"/>
                <a:gd name="T39" fmla="*/ 176 h 176"/>
                <a:gd name="T40" fmla="*/ 45 w 90"/>
                <a:gd name="T41" fmla="*/ 176 h 176"/>
                <a:gd name="T42" fmla="*/ 45 w 90"/>
                <a:gd name="T43" fmla="*/ 160 h 176"/>
                <a:gd name="T44" fmla="*/ 45 w 90"/>
                <a:gd name="T45" fmla="*/ 160 h 176"/>
                <a:gd name="T46" fmla="*/ 45 w 90"/>
                <a:gd name="T47" fmla="*/ 160 h 176"/>
                <a:gd name="T48" fmla="*/ 34 w 90"/>
                <a:gd name="T49" fmla="*/ 149 h 176"/>
                <a:gd name="T50" fmla="*/ 45 w 90"/>
                <a:gd name="T51" fmla="*/ 138 h 176"/>
                <a:gd name="T52" fmla="*/ 45 w 90"/>
                <a:gd name="T53" fmla="*/ 138 h 176"/>
                <a:gd name="T54" fmla="*/ 45 w 90"/>
                <a:gd name="T55" fmla="*/ 121 h 176"/>
                <a:gd name="T56" fmla="*/ 45 w 90"/>
                <a:gd name="T57" fmla="*/ 121 h 176"/>
                <a:gd name="T58" fmla="*/ 45 w 90"/>
                <a:gd name="T59" fmla="*/ 121 h 176"/>
                <a:gd name="T60" fmla="*/ 34 w 90"/>
                <a:gd name="T61" fmla="*/ 110 h 176"/>
                <a:gd name="T62" fmla="*/ 45 w 90"/>
                <a:gd name="T63" fmla="*/ 99 h 176"/>
                <a:gd name="T64" fmla="*/ 45 w 90"/>
                <a:gd name="T65" fmla="*/ 99 h 176"/>
                <a:gd name="T66" fmla="*/ 45 w 90"/>
                <a:gd name="T67" fmla="*/ 85 h 176"/>
                <a:gd name="T68" fmla="*/ 9 w 90"/>
                <a:gd name="T69" fmla="*/ 85 h 176"/>
                <a:gd name="T70" fmla="*/ 9 w 90"/>
                <a:gd name="T71" fmla="*/ 51 h 176"/>
                <a:gd name="T72" fmla="*/ 9 w 90"/>
                <a:gd name="T73" fmla="*/ 51 h 176"/>
                <a:gd name="T74" fmla="*/ 45 w 90"/>
                <a:gd name="T75" fmla="*/ 51 h 176"/>
                <a:gd name="T76" fmla="*/ 45 w 90"/>
                <a:gd name="T77" fmla="*/ 44 h 176"/>
                <a:gd name="T78" fmla="*/ 9 w 90"/>
                <a:gd name="T79" fmla="*/ 44 h 176"/>
                <a:gd name="T80" fmla="*/ 9 w 90"/>
                <a:gd name="T81" fmla="*/ 10 h 176"/>
                <a:gd name="T82" fmla="*/ 9 w 90"/>
                <a:gd name="T83" fmla="*/ 10 h 176"/>
                <a:gd name="T84" fmla="*/ 45 w 90"/>
                <a:gd name="T85" fmla="*/ 10 h 176"/>
                <a:gd name="T86" fmla="*/ 45 w 90"/>
                <a:gd name="T87" fmla="*/ 0 h 176"/>
                <a:gd name="T88" fmla="*/ 0 w 90"/>
                <a:gd name="T89" fmla="*/ 0 h 176"/>
                <a:gd name="T90" fmla="*/ 0 w 90"/>
                <a:gd name="T9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76">
                  <a:moveTo>
                    <a:pt x="45" y="176"/>
                  </a:moveTo>
                  <a:cubicBezTo>
                    <a:pt x="90" y="176"/>
                    <a:pt x="90" y="176"/>
                    <a:pt x="90" y="176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85"/>
                    <a:pt x="82" y="85"/>
                    <a:pt x="82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51" y="99"/>
                    <a:pt x="56" y="104"/>
                    <a:pt x="56" y="110"/>
                  </a:cubicBezTo>
                  <a:cubicBezTo>
                    <a:pt x="56" y="116"/>
                    <a:pt x="51" y="121"/>
                    <a:pt x="45" y="121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51" y="138"/>
                    <a:pt x="56" y="143"/>
                    <a:pt x="56" y="149"/>
                  </a:cubicBezTo>
                  <a:cubicBezTo>
                    <a:pt x="56" y="155"/>
                    <a:pt x="51" y="160"/>
                    <a:pt x="45" y="160"/>
                  </a:cubicBezTo>
                  <a:lnTo>
                    <a:pt x="45" y="176"/>
                  </a:lnTo>
                  <a:close/>
                  <a:moveTo>
                    <a:pt x="0" y="176"/>
                  </a:moveTo>
                  <a:cubicBezTo>
                    <a:pt x="45" y="176"/>
                    <a:pt x="45" y="176"/>
                    <a:pt x="45" y="176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39" y="160"/>
                    <a:pt x="34" y="155"/>
                    <a:pt x="34" y="149"/>
                  </a:cubicBezTo>
                  <a:cubicBezTo>
                    <a:pt x="34" y="143"/>
                    <a:pt x="39" y="138"/>
                    <a:pt x="4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39" y="121"/>
                    <a:pt x="34" y="116"/>
                    <a:pt x="34" y="110"/>
                  </a:cubicBezTo>
                  <a:cubicBezTo>
                    <a:pt x="34" y="104"/>
                    <a:pt x="39" y="99"/>
                    <a:pt x="45" y="99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3" name="işliḓe">
              <a:extLst>
                <a:ext uri="{FF2B5EF4-FFF2-40B4-BE49-F238E27FC236}">
                  <a16:creationId xmlns:a16="http://schemas.microsoft.com/office/drawing/2014/main" id="{0202E9C2-CB39-45E5-832C-9B0CB7925A05}"/>
                </a:ext>
              </a:extLst>
            </p:cNvPr>
            <p:cNvSpPr/>
            <p:nvPr/>
          </p:nvSpPr>
          <p:spPr bwMode="auto">
            <a:xfrm flipH="1">
              <a:off x="3309592" y="2856260"/>
              <a:ext cx="81149" cy="357618"/>
            </a:xfrm>
            <a:custGeom>
              <a:avLst/>
              <a:gdLst>
                <a:gd name="T0" fmla="*/ 89 w 89"/>
                <a:gd name="T1" fmla="*/ 392 h 416"/>
                <a:gd name="T2" fmla="*/ 89 w 89"/>
                <a:gd name="T3" fmla="*/ 70 h 416"/>
                <a:gd name="T4" fmla="*/ 0 w 89"/>
                <a:gd name="T5" fmla="*/ 0 h 416"/>
                <a:gd name="T6" fmla="*/ 0 w 89"/>
                <a:gd name="T7" fmla="*/ 416 h 416"/>
                <a:gd name="T8" fmla="*/ 89 w 89"/>
                <a:gd name="T9" fmla="*/ 392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416">
                  <a:moveTo>
                    <a:pt x="89" y="392"/>
                  </a:moveTo>
                  <a:lnTo>
                    <a:pt x="89" y="70"/>
                  </a:lnTo>
                  <a:lnTo>
                    <a:pt x="0" y="0"/>
                  </a:lnTo>
                  <a:lnTo>
                    <a:pt x="0" y="416"/>
                  </a:lnTo>
                  <a:lnTo>
                    <a:pt x="89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4" name="îṡḷiḑé">
              <a:extLst>
                <a:ext uri="{FF2B5EF4-FFF2-40B4-BE49-F238E27FC236}">
                  <a16:creationId xmlns:a16="http://schemas.microsoft.com/office/drawing/2014/main" id="{C07DD6DF-B3D8-4FDB-A5AD-EF1105DAF871}"/>
                </a:ext>
              </a:extLst>
            </p:cNvPr>
            <p:cNvSpPr/>
            <p:nvPr/>
          </p:nvSpPr>
          <p:spPr bwMode="auto">
            <a:xfrm flipH="1">
              <a:off x="3434506" y="2886348"/>
              <a:ext cx="135855" cy="4900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5" name="îṡliḑé">
              <a:extLst>
                <a:ext uri="{FF2B5EF4-FFF2-40B4-BE49-F238E27FC236}">
                  <a16:creationId xmlns:a16="http://schemas.microsoft.com/office/drawing/2014/main" id="{CC8C0889-D03C-4CC7-B9BD-E1989BDC5AEB}"/>
                </a:ext>
              </a:extLst>
            </p:cNvPr>
            <p:cNvSpPr/>
            <p:nvPr/>
          </p:nvSpPr>
          <p:spPr bwMode="auto">
            <a:xfrm flipH="1">
              <a:off x="3434506" y="2969736"/>
              <a:ext cx="135855" cy="4900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6" name="íṡliḍê">
              <a:extLst>
                <a:ext uri="{FF2B5EF4-FFF2-40B4-BE49-F238E27FC236}">
                  <a16:creationId xmlns:a16="http://schemas.microsoft.com/office/drawing/2014/main" id="{CB29A477-D916-407D-82F5-6C8AABD9C0FD}"/>
                </a:ext>
              </a:extLst>
            </p:cNvPr>
            <p:cNvSpPr/>
            <p:nvPr/>
          </p:nvSpPr>
          <p:spPr bwMode="auto">
            <a:xfrm flipH="1">
              <a:off x="2118808" y="1498000"/>
              <a:ext cx="360152" cy="336986"/>
            </a:xfrm>
            <a:custGeom>
              <a:avLst/>
              <a:gdLst>
                <a:gd name="T0" fmla="*/ 167 w 167"/>
                <a:gd name="T1" fmla="*/ 0 h 166"/>
                <a:gd name="T2" fmla="*/ 84 w 167"/>
                <a:gd name="T3" fmla="*/ 0 h 166"/>
                <a:gd name="T4" fmla="*/ 84 w 167"/>
                <a:gd name="T5" fmla="*/ 13 h 166"/>
                <a:gd name="T6" fmla="*/ 84 w 167"/>
                <a:gd name="T7" fmla="*/ 13 h 166"/>
                <a:gd name="T8" fmla="*/ 84 w 167"/>
                <a:gd name="T9" fmla="*/ 13 h 166"/>
                <a:gd name="T10" fmla="*/ 97 w 167"/>
                <a:gd name="T11" fmla="*/ 26 h 166"/>
                <a:gd name="T12" fmla="*/ 84 w 167"/>
                <a:gd name="T13" fmla="*/ 39 h 166"/>
                <a:gd name="T14" fmla="*/ 84 w 167"/>
                <a:gd name="T15" fmla="*/ 39 h 166"/>
                <a:gd name="T16" fmla="*/ 84 w 167"/>
                <a:gd name="T17" fmla="*/ 51 h 166"/>
                <a:gd name="T18" fmla="*/ 106 w 167"/>
                <a:gd name="T19" fmla="*/ 51 h 166"/>
                <a:gd name="T20" fmla="*/ 106 w 167"/>
                <a:gd name="T21" fmla="*/ 63 h 166"/>
                <a:gd name="T22" fmla="*/ 106 w 167"/>
                <a:gd name="T23" fmla="*/ 63 h 166"/>
                <a:gd name="T24" fmla="*/ 91 w 167"/>
                <a:gd name="T25" fmla="*/ 63 h 166"/>
                <a:gd name="T26" fmla="*/ 91 w 167"/>
                <a:gd name="T27" fmla="*/ 140 h 166"/>
                <a:gd name="T28" fmla="*/ 106 w 167"/>
                <a:gd name="T29" fmla="*/ 140 h 166"/>
                <a:gd name="T30" fmla="*/ 106 w 167"/>
                <a:gd name="T31" fmla="*/ 152 h 166"/>
                <a:gd name="T32" fmla="*/ 84 w 167"/>
                <a:gd name="T33" fmla="*/ 152 h 166"/>
                <a:gd name="T34" fmla="*/ 84 w 167"/>
                <a:gd name="T35" fmla="*/ 166 h 166"/>
                <a:gd name="T36" fmla="*/ 167 w 167"/>
                <a:gd name="T37" fmla="*/ 166 h 166"/>
                <a:gd name="T38" fmla="*/ 167 w 167"/>
                <a:gd name="T39" fmla="*/ 0 h 166"/>
                <a:gd name="T40" fmla="*/ 84 w 167"/>
                <a:gd name="T41" fmla="*/ 0 h 166"/>
                <a:gd name="T42" fmla="*/ 0 w 167"/>
                <a:gd name="T43" fmla="*/ 0 h 166"/>
                <a:gd name="T44" fmla="*/ 0 w 167"/>
                <a:gd name="T45" fmla="*/ 166 h 166"/>
                <a:gd name="T46" fmla="*/ 84 w 167"/>
                <a:gd name="T47" fmla="*/ 166 h 166"/>
                <a:gd name="T48" fmla="*/ 84 w 167"/>
                <a:gd name="T49" fmla="*/ 152 h 166"/>
                <a:gd name="T50" fmla="*/ 62 w 167"/>
                <a:gd name="T51" fmla="*/ 152 h 166"/>
                <a:gd name="T52" fmla="*/ 62 w 167"/>
                <a:gd name="T53" fmla="*/ 140 h 166"/>
                <a:gd name="T54" fmla="*/ 77 w 167"/>
                <a:gd name="T55" fmla="*/ 140 h 166"/>
                <a:gd name="T56" fmla="*/ 77 w 167"/>
                <a:gd name="T57" fmla="*/ 63 h 166"/>
                <a:gd name="T58" fmla="*/ 62 w 167"/>
                <a:gd name="T59" fmla="*/ 63 h 166"/>
                <a:gd name="T60" fmla="*/ 62 w 167"/>
                <a:gd name="T61" fmla="*/ 51 h 166"/>
                <a:gd name="T62" fmla="*/ 84 w 167"/>
                <a:gd name="T63" fmla="*/ 51 h 166"/>
                <a:gd name="T64" fmla="*/ 84 w 167"/>
                <a:gd name="T65" fmla="*/ 39 h 166"/>
                <a:gd name="T66" fmla="*/ 71 w 167"/>
                <a:gd name="T67" fmla="*/ 26 h 166"/>
                <a:gd name="T68" fmla="*/ 84 w 167"/>
                <a:gd name="T69" fmla="*/ 13 h 166"/>
                <a:gd name="T70" fmla="*/ 84 w 167"/>
                <a:gd name="T7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7" h="166">
                  <a:moveTo>
                    <a:pt x="167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92" y="13"/>
                    <a:pt x="97" y="19"/>
                    <a:pt x="97" y="26"/>
                  </a:cubicBezTo>
                  <a:cubicBezTo>
                    <a:pt x="97" y="33"/>
                    <a:pt x="92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63"/>
                    <a:pt x="106" y="63"/>
                    <a:pt x="106" y="63"/>
                  </a:cubicBezTo>
                  <a:cubicBezTo>
                    <a:pt x="106" y="63"/>
                    <a:pt x="106" y="63"/>
                    <a:pt x="106" y="63"/>
                  </a:cubicBezTo>
                  <a:cubicBezTo>
                    <a:pt x="91" y="63"/>
                    <a:pt x="91" y="63"/>
                    <a:pt x="91" y="63"/>
                  </a:cubicBezTo>
                  <a:cubicBezTo>
                    <a:pt x="91" y="140"/>
                    <a:pt x="91" y="140"/>
                    <a:pt x="91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167" y="166"/>
                    <a:pt x="167" y="166"/>
                    <a:pt x="167" y="166"/>
                  </a:cubicBezTo>
                  <a:lnTo>
                    <a:pt x="167" y="0"/>
                  </a:lnTo>
                  <a:close/>
                  <a:moveTo>
                    <a:pt x="8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84" y="166"/>
                    <a:pt x="84" y="166"/>
                    <a:pt x="84" y="166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62" y="152"/>
                    <a:pt x="62" y="152"/>
                    <a:pt x="62" y="152"/>
                  </a:cubicBezTo>
                  <a:cubicBezTo>
                    <a:pt x="62" y="140"/>
                    <a:pt x="62" y="140"/>
                    <a:pt x="62" y="140"/>
                  </a:cubicBezTo>
                  <a:cubicBezTo>
                    <a:pt x="77" y="140"/>
                    <a:pt x="77" y="140"/>
                    <a:pt x="77" y="140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77" y="39"/>
                    <a:pt x="71" y="33"/>
                    <a:pt x="71" y="26"/>
                  </a:cubicBezTo>
                  <a:cubicBezTo>
                    <a:pt x="71" y="19"/>
                    <a:pt x="77" y="13"/>
                    <a:pt x="84" y="13"/>
                  </a:cubicBezTo>
                  <a:lnTo>
                    <a:pt x="8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7" name="ïsļiďè">
              <a:extLst>
                <a:ext uri="{FF2B5EF4-FFF2-40B4-BE49-F238E27FC236}">
                  <a16:creationId xmlns:a16="http://schemas.microsoft.com/office/drawing/2014/main" id="{7FDE98A7-0422-4BAD-8B8A-3D2E8D71A5F4}"/>
                </a:ext>
              </a:extLst>
            </p:cNvPr>
            <p:cNvSpPr/>
            <p:nvPr/>
          </p:nvSpPr>
          <p:spPr bwMode="auto">
            <a:xfrm flipH="1">
              <a:off x="3036969" y="4950387"/>
              <a:ext cx="291768" cy="64475"/>
            </a:xfrm>
            <a:custGeom>
              <a:avLst/>
              <a:gdLst>
                <a:gd name="T0" fmla="*/ 291 w 320"/>
                <a:gd name="T1" fmla="*/ 47 h 75"/>
                <a:gd name="T2" fmla="*/ 29 w 320"/>
                <a:gd name="T3" fmla="*/ 47 h 75"/>
                <a:gd name="T4" fmla="*/ 29 w 320"/>
                <a:gd name="T5" fmla="*/ 0 h 75"/>
                <a:gd name="T6" fmla="*/ 0 w 320"/>
                <a:gd name="T7" fmla="*/ 0 h 75"/>
                <a:gd name="T8" fmla="*/ 0 w 320"/>
                <a:gd name="T9" fmla="*/ 75 h 75"/>
                <a:gd name="T10" fmla="*/ 320 w 320"/>
                <a:gd name="T11" fmla="*/ 75 h 75"/>
                <a:gd name="T12" fmla="*/ 320 w 320"/>
                <a:gd name="T13" fmla="*/ 0 h 75"/>
                <a:gd name="T14" fmla="*/ 291 w 320"/>
                <a:gd name="T15" fmla="*/ 0 h 75"/>
                <a:gd name="T16" fmla="*/ 291 w 320"/>
                <a:gd name="T17" fmla="*/ 4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0" h="75">
                  <a:moveTo>
                    <a:pt x="291" y="47"/>
                  </a:moveTo>
                  <a:lnTo>
                    <a:pt x="29" y="47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75"/>
                  </a:lnTo>
                  <a:lnTo>
                    <a:pt x="320" y="75"/>
                  </a:lnTo>
                  <a:lnTo>
                    <a:pt x="320" y="0"/>
                  </a:lnTo>
                  <a:lnTo>
                    <a:pt x="291" y="0"/>
                  </a:lnTo>
                  <a:lnTo>
                    <a:pt x="291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8" name="ïŝḻïḑê">
              <a:extLst>
                <a:ext uri="{FF2B5EF4-FFF2-40B4-BE49-F238E27FC236}">
                  <a16:creationId xmlns:a16="http://schemas.microsoft.com/office/drawing/2014/main" id="{19C82959-F7E0-41BF-915F-22E4C6B43761}"/>
                </a:ext>
              </a:extLst>
            </p:cNvPr>
            <p:cNvSpPr/>
            <p:nvPr/>
          </p:nvSpPr>
          <p:spPr bwMode="auto">
            <a:xfrm flipH="1">
              <a:off x="3071618" y="4755245"/>
              <a:ext cx="216091" cy="217494"/>
            </a:xfrm>
            <a:custGeom>
              <a:avLst/>
              <a:gdLst>
                <a:gd name="T0" fmla="*/ 40 w 237"/>
                <a:gd name="T1" fmla="*/ 146 h 253"/>
                <a:gd name="T2" fmla="*/ 40 w 237"/>
                <a:gd name="T3" fmla="*/ 253 h 253"/>
                <a:gd name="T4" fmla="*/ 194 w 237"/>
                <a:gd name="T5" fmla="*/ 253 h 253"/>
                <a:gd name="T6" fmla="*/ 194 w 237"/>
                <a:gd name="T7" fmla="*/ 146 h 253"/>
                <a:gd name="T8" fmla="*/ 237 w 237"/>
                <a:gd name="T9" fmla="*/ 146 h 253"/>
                <a:gd name="T10" fmla="*/ 118 w 237"/>
                <a:gd name="T11" fmla="*/ 0 h 253"/>
                <a:gd name="T12" fmla="*/ 0 w 237"/>
                <a:gd name="T13" fmla="*/ 146 h 253"/>
                <a:gd name="T14" fmla="*/ 40 w 237"/>
                <a:gd name="T15" fmla="*/ 14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7" h="253">
                  <a:moveTo>
                    <a:pt x="40" y="146"/>
                  </a:moveTo>
                  <a:lnTo>
                    <a:pt x="40" y="253"/>
                  </a:lnTo>
                  <a:lnTo>
                    <a:pt x="194" y="253"/>
                  </a:lnTo>
                  <a:lnTo>
                    <a:pt x="194" y="146"/>
                  </a:lnTo>
                  <a:lnTo>
                    <a:pt x="237" y="146"/>
                  </a:lnTo>
                  <a:lnTo>
                    <a:pt x="118" y="0"/>
                  </a:lnTo>
                  <a:lnTo>
                    <a:pt x="0" y="146"/>
                  </a:lnTo>
                  <a:lnTo>
                    <a:pt x="4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09" name="îṡľïḍé">
              <a:extLst>
                <a:ext uri="{FF2B5EF4-FFF2-40B4-BE49-F238E27FC236}">
                  <a16:creationId xmlns:a16="http://schemas.microsoft.com/office/drawing/2014/main" id="{4A9F8040-2345-4438-AF67-76BC92BE3D5B}"/>
                </a:ext>
              </a:extLst>
            </p:cNvPr>
            <p:cNvSpPr/>
            <p:nvPr/>
          </p:nvSpPr>
          <p:spPr bwMode="auto">
            <a:xfrm flipH="1">
              <a:off x="1251706" y="2916436"/>
              <a:ext cx="310004" cy="232108"/>
            </a:xfrm>
            <a:custGeom>
              <a:avLst/>
              <a:gdLst>
                <a:gd name="T0" fmla="*/ 129 w 144"/>
                <a:gd name="T1" fmla="*/ 25 h 114"/>
                <a:gd name="T2" fmla="*/ 116 w 144"/>
                <a:gd name="T3" fmla="*/ 26 h 114"/>
                <a:gd name="T4" fmla="*/ 116 w 144"/>
                <a:gd name="T5" fmla="*/ 32 h 114"/>
                <a:gd name="T6" fmla="*/ 131 w 144"/>
                <a:gd name="T7" fmla="*/ 64 h 114"/>
                <a:gd name="T8" fmla="*/ 131 w 144"/>
                <a:gd name="T9" fmla="*/ 79 h 114"/>
                <a:gd name="T10" fmla="*/ 116 w 144"/>
                <a:gd name="T11" fmla="*/ 114 h 114"/>
                <a:gd name="T12" fmla="*/ 144 w 144"/>
                <a:gd name="T13" fmla="*/ 107 h 114"/>
                <a:gd name="T14" fmla="*/ 144 w 144"/>
                <a:gd name="T15" fmla="*/ 41 h 114"/>
                <a:gd name="T16" fmla="*/ 116 w 144"/>
                <a:gd name="T17" fmla="*/ 0 h 114"/>
                <a:gd name="T18" fmla="*/ 72 w 144"/>
                <a:gd name="T19" fmla="*/ 9 h 114"/>
                <a:gd name="T20" fmla="*/ 116 w 144"/>
                <a:gd name="T21" fmla="*/ 26 h 114"/>
                <a:gd name="T22" fmla="*/ 72 w 144"/>
                <a:gd name="T23" fmla="*/ 91 h 114"/>
                <a:gd name="T24" fmla="*/ 110 w 144"/>
                <a:gd name="T25" fmla="*/ 107 h 114"/>
                <a:gd name="T26" fmla="*/ 116 w 144"/>
                <a:gd name="T27" fmla="*/ 114 h 114"/>
                <a:gd name="T28" fmla="*/ 102 w 144"/>
                <a:gd name="T29" fmla="*/ 79 h 114"/>
                <a:gd name="T30" fmla="*/ 116 w 144"/>
                <a:gd name="T31" fmla="*/ 64 h 114"/>
                <a:gd name="T32" fmla="*/ 72 w 144"/>
                <a:gd name="T33" fmla="*/ 32 h 114"/>
                <a:gd name="T34" fmla="*/ 72 w 144"/>
                <a:gd name="T35" fmla="*/ 0 h 114"/>
                <a:gd name="T36" fmla="*/ 27 w 144"/>
                <a:gd name="T37" fmla="*/ 1 h 114"/>
                <a:gd name="T38" fmla="*/ 36 w 144"/>
                <a:gd name="T39" fmla="*/ 9 h 114"/>
                <a:gd name="T40" fmla="*/ 72 w 144"/>
                <a:gd name="T41" fmla="*/ 9 h 114"/>
                <a:gd name="T42" fmla="*/ 27 w 144"/>
                <a:gd name="T43" fmla="*/ 114 h 114"/>
                <a:gd name="T44" fmla="*/ 34 w 144"/>
                <a:gd name="T45" fmla="*/ 107 h 114"/>
                <a:gd name="T46" fmla="*/ 72 w 144"/>
                <a:gd name="T47" fmla="*/ 91 h 114"/>
                <a:gd name="T48" fmla="*/ 27 w 144"/>
                <a:gd name="T49" fmla="*/ 32 h 114"/>
                <a:gd name="T50" fmla="*/ 42 w 144"/>
                <a:gd name="T51" fmla="*/ 64 h 114"/>
                <a:gd name="T52" fmla="*/ 42 w 144"/>
                <a:gd name="T53" fmla="*/ 79 h 114"/>
                <a:gd name="T54" fmla="*/ 27 w 144"/>
                <a:gd name="T55" fmla="*/ 114 h 114"/>
                <a:gd name="T56" fmla="*/ 14 w 144"/>
                <a:gd name="T57" fmla="*/ 25 h 114"/>
                <a:gd name="T58" fmla="*/ 0 w 144"/>
                <a:gd name="T59" fmla="*/ 87 h 114"/>
                <a:gd name="T60" fmla="*/ 0 w 144"/>
                <a:gd name="T61" fmla="*/ 107 h 114"/>
                <a:gd name="T62" fmla="*/ 27 w 144"/>
                <a:gd name="T63" fmla="*/ 114 h 114"/>
                <a:gd name="T64" fmla="*/ 13 w 144"/>
                <a:gd name="T65" fmla="*/ 79 h 114"/>
                <a:gd name="T66" fmla="*/ 27 w 144"/>
                <a:gd name="T67" fmla="*/ 64 h 114"/>
                <a:gd name="T68" fmla="*/ 24 w 144"/>
                <a:gd name="T69" fmla="*/ 32 h 114"/>
                <a:gd name="T70" fmla="*/ 27 w 144"/>
                <a:gd name="T71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4" h="114">
                  <a:moveTo>
                    <a:pt x="144" y="41"/>
                  </a:moveTo>
                  <a:cubicBezTo>
                    <a:pt x="129" y="25"/>
                    <a:pt x="129" y="25"/>
                    <a:pt x="129" y="25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31" y="79"/>
                    <a:pt x="131" y="79"/>
                    <a:pt x="131" y="79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16" y="114"/>
                    <a:pt x="116" y="114"/>
                    <a:pt x="116" y="114"/>
                  </a:cubicBezTo>
                  <a:cubicBezTo>
                    <a:pt x="137" y="114"/>
                    <a:pt x="137" y="114"/>
                    <a:pt x="137" y="114"/>
                  </a:cubicBezTo>
                  <a:cubicBezTo>
                    <a:pt x="141" y="114"/>
                    <a:pt x="144" y="111"/>
                    <a:pt x="144" y="107"/>
                  </a:cubicBezTo>
                  <a:cubicBezTo>
                    <a:pt x="144" y="91"/>
                    <a:pt x="144" y="91"/>
                    <a:pt x="144" y="91"/>
                  </a:cubicBezTo>
                  <a:lnTo>
                    <a:pt x="144" y="41"/>
                  </a:lnTo>
                  <a:close/>
                  <a:moveTo>
                    <a:pt x="116" y="1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16" y="1"/>
                    <a:pt x="116" y="1"/>
                    <a:pt x="116" y="1"/>
                  </a:cubicBezTo>
                  <a:close/>
                  <a:moveTo>
                    <a:pt x="72" y="91"/>
                  </a:moveTo>
                  <a:cubicBezTo>
                    <a:pt x="110" y="91"/>
                    <a:pt x="110" y="91"/>
                    <a:pt x="110" y="91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11"/>
                    <a:pt x="112" y="114"/>
                    <a:pt x="116" y="114"/>
                  </a:cubicBezTo>
                  <a:cubicBezTo>
                    <a:pt x="116" y="114"/>
                    <a:pt x="116" y="114"/>
                    <a:pt x="116" y="114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72" y="32"/>
                    <a:pt x="72" y="32"/>
                    <a:pt x="72" y="32"/>
                  </a:cubicBezTo>
                  <a:lnTo>
                    <a:pt x="72" y="91"/>
                  </a:lnTo>
                  <a:close/>
                  <a:moveTo>
                    <a:pt x="72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2" y="0"/>
                    <a:pt x="72" y="0"/>
                    <a:pt x="72" y="0"/>
                  </a:cubicBezTo>
                  <a:close/>
                  <a:moveTo>
                    <a:pt x="27" y="114"/>
                  </a:moveTo>
                  <a:cubicBezTo>
                    <a:pt x="28" y="114"/>
                    <a:pt x="28" y="114"/>
                    <a:pt x="28" y="114"/>
                  </a:cubicBezTo>
                  <a:cubicBezTo>
                    <a:pt x="31" y="114"/>
                    <a:pt x="34" y="111"/>
                    <a:pt x="34" y="107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27" y="79"/>
                    <a:pt x="27" y="79"/>
                    <a:pt x="27" y="79"/>
                  </a:cubicBezTo>
                  <a:lnTo>
                    <a:pt x="27" y="114"/>
                  </a:lnTo>
                  <a:close/>
                  <a:moveTo>
                    <a:pt x="27" y="1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1"/>
                    <a:pt x="3" y="114"/>
                    <a:pt x="7" y="114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7" y="26"/>
                    <a:pt x="27" y="26"/>
                    <a:pt x="27" y="26"/>
                  </a:cubicBezTo>
                  <a:lnTo>
                    <a:pt x="2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0" name="îṧḻíḋe">
              <a:extLst>
                <a:ext uri="{FF2B5EF4-FFF2-40B4-BE49-F238E27FC236}">
                  <a16:creationId xmlns:a16="http://schemas.microsoft.com/office/drawing/2014/main" id="{C5BB5823-5A3F-410C-B822-80F814D6C67D}"/>
                </a:ext>
              </a:extLst>
            </p:cNvPr>
            <p:cNvSpPr/>
            <p:nvPr/>
          </p:nvSpPr>
          <p:spPr bwMode="auto">
            <a:xfrm flipH="1">
              <a:off x="1465063" y="2040444"/>
              <a:ext cx="77501" cy="7307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1" name="iṩľiḓe">
              <a:extLst>
                <a:ext uri="{FF2B5EF4-FFF2-40B4-BE49-F238E27FC236}">
                  <a16:creationId xmlns:a16="http://schemas.microsoft.com/office/drawing/2014/main" id="{E9430B6E-D15B-4624-AE30-D0E33A598ECA}"/>
                </a:ext>
              </a:extLst>
            </p:cNvPr>
            <p:cNvSpPr/>
            <p:nvPr/>
          </p:nvSpPr>
          <p:spPr bwMode="auto">
            <a:xfrm flipH="1">
              <a:off x="1413092" y="2125551"/>
              <a:ext cx="183266" cy="270792"/>
            </a:xfrm>
            <a:custGeom>
              <a:avLst/>
              <a:gdLst>
                <a:gd name="T0" fmla="*/ 33 w 201"/>
                <a:gd name="T1" fmla="*/ 60 h 315"/>
                <a:gd name="T2" fmla="*/ 45 w 201"/>
                <a:gd name="T3" fmla="*/ 60 h 315"/>
                <a:gd name="T4" fmla="*/ 45 w 201"/>
                <a:gd name="T5" fmla="*/ 161 h 315"/>
                <a:gd name="T6" fmla="*/ 45 w 201"/>
                <a:gd name="T7" fmla="*/ 161 h 315"/>
                <a:gd name="T8" fmla="*/ 45 w 201"/>
                <a:gd name="T9" fmla="*/ 315 h 315"/>
                <a:gd name="T10" fmla="*/ 95 w 201"/>
                <a:gd name="T11" fmla="*/ 315 h 315"/>
                <a:gd name="T12" fmla="*/ 95 w 201"/>
                <a:gd name="T13" fmla="*/ 149 h 315"/>
                <a:gd name="T14" fmla="*/ 109 w 201"/>
                <a:gd name="T15" fmla="*/ 149 h 315"/>
                <a:gd name="T16" fmla="*/ 109 w 201"/>
                <a:gd name="T17" fmla="*/ 315 h 315"/>
                <a:gd name="T18" fmla="*/ 158 w 201"/>
                <a:gd name="T19" fmla="*/ 315 h 315"/>
                <a:gd name="T20" fmla="*/ 158 w 201"/>
                <a:gd name="T21" fmla="*/ 149 h 315"/>
                <a:gd name="T22" fmla="*/ 158 w 201"/>
                <a:gd name="T23" fmla="*/ 149 h 315"/>
                <a:gd name="T24" fmla="*/ 158 w 201"/>
                <a:gd name="T25" fmla="*/ 60 h 315"/>
                <a:gd name="T26" fmla="*/ 170 w 201"/>
                <a:gd name="T27" fmla="*/ 60 h 315"/>
                <a:gd name="T28" fmla="*/ 170 w 201"/>
                <a:gd name="T29" fmla="*/ 149 h 315"/>
                <a:gd name="T30" fmla="*/ 201 w 201"/>
                <a:gd name="T31" fmla="*/ 149 h 315"/>
                <a:gd name="T32" fmla="*/ 201 w 201"/>
                <a:gd name="T33" fmla="*/ 0 h 315"/>
                <a:gd name="T34" fmla="*/ 0 w 201"/>
                <a:gd name="T35" fmla="*/ 0 h 315"/>
                <a:gd name="T36" fmla="*/ 0 w 201"/>
                <a:gd name="T37" fmla="*/ 149 h 315"/>
                <a:gd name="T38" fmla="*/ 33 w 201"/>
                <a:gd name="T39" fmla="*/ 149 h 315"/>
                <a:gd name="T40" fmla="*/ 33 w 201"/>
                <a:gd name="T41" fmla="*/ 6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1" h="315">
                  <a:moveTo>
                    <a:pt x="33" y="60"/>
                  </a:moveTo>
                  <a:lnTo>
                    <a:pt x="45" y="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315"/>
                  </a:lnTo>
                  <a:lnTo>
                    <a:pt x="95" y="315"/>
                  </a:lnTo>
                  <a:lnTo>
                    <a:pt x="95" y="149"/>
                  </a:lnTo>
                  <a:lnTo>
                    <a:pt x="109" y="149"/>
                  </a:lnTo>
                  <a:lnTo>
                    <a:pt x="109" y="315"/>
                  </a:lnTo>
                  <a:lnTo>
                    <a:pt x="158" y="315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60"/>
                  </a:lnTo>
                  <a:lnTo>
                    <a:pt x="170" y="60"/>
                  </a:lnTo>
                  <a:lnTo>
                    <a:pt x="170" y="149"/>
                  </a:lnTo>
                  <a:lnTo>
                    <a:pt x="201" y="149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149"/>
                  </a:lnTo>
                  <a:lnTo>
                    <a:pt x="33" y="149"/>
                  </a:lnTo>
                  <a:lnTo>
                    <a:pt x="33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2" name="îšļîḍé">
              <a:extLst>
                <a:ext uri="{FF2B5EF4-FFF2-40B4-BE49-F238E27FC236}">
                  <a16:creationId xmlns:a16="http://schemas.microsoft.com/office/drawing/2014/main" id="{ADA72A54-53E5-42E3-8A24-D7978A869E22}"/>
                </a:ext>
              </a:extLst>
            </p:cNvPr>
            <p:cNvSpPr/>
            <p:nvPr/>
          </p:nvSpPr>
          <p:spPr bwMode="auto">
            <a:xfrm flipH="1">
              <a:off x="1255354" y="2040444"/>
              <a:ext cx="77501" cy="7307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3" name="îṣľíḋê">
              <a:extLst>
                <a:ext uri="{FF2B5EF4-FFF2-40B4-BE49-F238E27FC236}">
                  <a16:creationId xmlns:a16="http://schemas.microsoft.com/office/drawing/2014/main" id="{815854D9-12B0-4935-8CB3-442203EEA568}"/>
                </a:ext>
              </a:extLst>
            </p:cNvPr>
            <p:cNvSpPr/>
            <p:nvPr/>
          </p:nvSpPr>
          <p:spPr bwMode="auto">
            <a:xfrm flipH="1">
              <a:off x="1188794" y="2125551"/>
              <a:ext cx="211533" cy="270792"/>
            </a:xfrm>
            <a:custGeom>
              <a:avLst/>
              <a:gdLst>
                <a:gd name="T0" fmla="*/ 199 w 232"/>
                <a:gd name="T1" fmla="*/ 149 h 315"/>
                <a:gd name="T2" fmla="*/ 232 w 232"/>
                <a:gd name="T3" fmla="*/ 149 h 315"/>
                <a:gd name="T4" fmla="*/ 192 w 232"/>
                <a:gd name="T5" fmla="*/ 0 h 315"/>
                <a:gd name="T6" fmla="*/ 43 w 232"/>
                <a:gd name="T7" fmla="*/ 0 h 315"/>
                <a:gd name="T8" fmla="*/ 0 w 232"/>
                <a:gd name="T9" fmla="*/ 149 h 315"/>
                <a:gd name="T10" fmla="*/ 31 w 232"/>
                <a:gd name="T11" fmla="*/ 149 h 315"/>
                <a:gd name="T12" fmla="*/ 57 w 232"/>
                <a:gd name="T13" fmla="*/ 60 h 315"/>
                <a:gd name="T14" fmla="*/ 66 w 232"/>
                <a:gd name="T15" fmla="*/ 60 h 315"/>
                <a:gd name="T16" fmla="*/ 24 w 232"/>
                <a:gd name="T17" fmla="*/ 225 h 315"/>
                <a:gd name="T18" fmla="*/ 59 w 232"/>
                <a:gd name="T19" fmla="*/ 225 h 315"/>
                <a:gd name="T20" fmla="*/ 59 w 232"/>
                <a:gd name="T21" fmla="*/ 315 h 315"/>
                <a:gd name="T22" fmla="*/ 109 w 232"/>
                <a:gd name="T23" fmla="*/ 315 h 315"/>
                <a:gd name="T24" fmla="*/ 109 w 232"/>
                <a:gd name="T25" fmla="*/ 225 h 315"/>
                <a:gd name="T26" fmla="*/ 123 w 232"/>
                <a:gd name="T27" fmla="*/ 225 h 315"/>
                <a:gd name="T28" fmla="*/ 123 w 232"/>
                <a:gd name="T29" fmla="*/ 315 h 315"/>
                <a:gd name="T30" fmla="*/ 173 w 232"/>
                <a:gd name="T31" fmla="*/ 315 h 315"/>
                <a:gd name="T32" fmla="*/ 173 w 232"/>
                <a:gd name="T33" fmla="*/ 225 h 315"/>
                <a:gd name="T34" fmla="*/ 208 w 232"/>
                <a:gd name="T35" fmla="*/ 225 h 315"/>
                <a:gd name="T36" fmla="*/ 163 w 232"/>
                <a:gd name="T37" fmla="*/ 60 h 315"/>
                <a:gd name="T38" fmla="*/ 175 w 232"/>
                <a:gd name="T39" fmla="*/ 60 h 315"/>
                <a:gd name="T40" fmla="*/ 199 w 232"/>
                <a:gd name="T41" fmla="*/ 149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2" h="315">
                  <a:moveTo>
                    <a:pt x="199" y="149"/>
                  </a:moveTo>
                  <a:lnTo>
                    <a:pt x="232" y="149"/>
                  </a:lnTo>
                  <a:lnTo>
                    <a:pt x="192" y="0"/>
                  </a:lnTo>
                  <a:lnTo>
                    <a:pt x="43" y="0"/>
                  </a:lnTo>
                  <a:lnTo>
                    <a:pt x="0" y="149"/>
                  </a:lnTo>
                  <a:lnTo>
                    <a:pt x="31" y="149"/>
                  </a:lnTo>
                  <a:lnTo>
                    <a:pt x="57" y="60"/>
                  </a:lnTo>
                  <a:lnTo>
                    <a:pt x="66" y="60"/>
                  </a:lnTo>
                  <a:lnTo>
                    <a:pt x="24" y="225"/>
                  </a:lnTo>
                  <a:lnTo>
                    <a:pt x="59" y="225"/>
                  </a:lnTo>
                  <a:lnTo>
                    <a:pt x="59" y="315"/>
                  </a:lnTo>
                  <a:lnTo>
                    <a:pt x="109" y="315"/>
                  </a:lnTo>
                  <a:lnTo>
                    <a:pt x="109" y="225"/>
                  </a:lnTo>
                  <a:lnTo>
                    <a:pt x="123" y="225"/>
                  </a:lnTo>
                  <a:lnTo>
                    <a:pt x="123" y="315"/>
                  </a:lnTo>
                  <a:lnTo>
                    <a:pt x="173" y="315"/>
                  </a:lnTo>
                  <a:lnTo>
                    <a:pt x="173" y="225"/>
                  </a:lnTo>
                  <a:lnTo>
                    <a:pt x="208" y="225"/>
                  </a:lnTo>
                  <a:lnTo>
                    <a:pt x="163" y="60"/>
                  </a:lnTo>
                  <a:lnTo>
                    <a:pt x="175" y="60"/>
                  </a:lnTo>
                  <a:lnTo>
                    <a:pt x="199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4" name="ïŝḷíḑè">
              <a:extLst>
                <a:ext uri="{FF2B5EF4-FFF2-40B4-BE49-F238E27FC236}">
                  <a16:creationId xmlns:a16="http://schemas.microsoft.com/office/drawing/2014/main" id="{84D361A5-D4E7-4622-86A1-4CE2FC1C39E6}"/>
                </a:ext>
              </a:extLst>
            </p:cNvPr>
            <p:cNvSpPr/>
            <p:nvPr/>
          </p:nvSpPr>
          <p:spPr bwMode="auto">
            <a:xfrm flipH="1">
              <a:off x="1432239" y="1690564"/>
              <a:ext cx="330064" cy="288845"/>
            </a:xfrm>
            <a:custGeom>
              <a:avLst/>
              <a:gdLst>
                <a:gd name="T0" fmla="*/ 91 w 153"/>
                <a:gd name="T1" fmla="*/ 71 h 142"/>
                <a:gd name="T2" fmla="*/ 117 w 153"/>
                <a:gd name="T3" fmla="*/ 50 h 142"/>
                <a:gd name="T4" fmla="*/ 123 w 153"/>
                <a:gd name="T5" fmla="*/ 50 h 142"/>
                <a:gd name="T6" fmla="*/ 140 w 153"/>
                <a:gd name="T7" fmla="*/ 63 h 142"/>
                <a:gd name="T8" fmla="*/ 151 w 153"/>
                <a:gd name="T9" fmla="*/ 58 h 142"/>
                <a:gd name="T10" fmla="*/ 150 w 153"/>
                <a:gd name="T11" fmla="*/ 35 h 142"/>
                <a:gd name="T12" fmla="*/ 103 w 153"/>
                <a:gd name="T13" fmla="*/ 5 h 142"/>
                <a:gd name="T14" fmla="*/ 73 w 153"/>
                <a:gd name="T15" fmla="*/ 32 h 142"/>
                <a:gd name="T16" fmla="*/ 35 w 153"/>
                <a:gd name="T17" fmla="*/ 20 h 142"/>
                <a:gd name="T18" fmla="*/ 4 w 153"/>
                <a:gd name="T19" fmla="*/ 67 h 142"/>
                <a:gd name="T20" fmla="*/ 97 w 153"/>
                <a:gd name="T21" fmla="*/ 142 h 142"/>
                <a:gd name="T22" fmla="*/ 113 w 153"/>
                <a:gd name="T23" fmla="*/ 128 h 142"/>
                <a:gd name="T24" fmla="*/ 91 w 153"/>
                <a:gd name="T25" fmla="*/ 7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42">
                  <a:moveTo>
                    <a:pt x="91" y="71"/>
                  </a:moveTo>
                  <a:cubicBezTo>
                    <a:pt x="93" y="58"/>
                    <a:pt x="104" y="50"/>
                    <a:pt x="117" y="50"/>
                  </a:cubicBezTo>
                  <a:cubicBezTo>
                    <a:pt x="119" y="50"/>
                    <a:pt x="121" y="50"/>
                    <a:pt x="123" y="50"/>
                  </a:cubicBezTo>
                  <a:cubicBezTo>
                    <a:pt x="130" y="52"/>
                    <a:pt x="136" y="57"/>
                    <a:pt x="140" y="63"/>
                  </a:cubicBezTo>
                  <a:cubicBezTo>
                    <a:pt x="143" y="60"/>
                    <a:pt x="147" y="59"/>
                    <a:pt x="151" y="58"/>
                  </a:cubicBezTo>
                  <a:cubicBezTo>
                    <a:pt x="153" y="44"/>
                    <a:pt x="150" y="35"/>
                    <a:pt x="150" y="35"/>
                  </a:cubicBezTo>
                  <a:cubicBezTo>
                    <a:pt x="145" y="13"/>
                    <a:pt x="124" y="0"/>
                    <a:pt x="103" y="5"/>
                  </a:cubicBezTo>
                  <a:cubicBezTo>
                    <a:pt x="88" y="8"/>
                    <a:pt x="77" y="18"/>
                    <a:pt x="73" y="32"/>
                  </a:cubicBezTo>
                  <a:cubicBezTo>
                    <a:pt x="64" y="21"/>
                    <a:pt x="49" y="16"/>
                    <a:pt x="35" y="20"/>
                  </a:cubicBezTo>
                  <a:cubicBezTo>
                    <a:pt x="13" y="24"/>
                    <a:pt x="0" y="46"/>
                    <a:pt x="4" y="67"/>
                  </a:cubicBezTo>
                  <a:cubicBezTo>
                    <a:pt x="4" y="67"/>
                    <a:pt x="13" y="120"/>
                    <a:pt x="97" y="142"/>
                  </a:cubicBezTo>
                  <a:cubicBezTo>
                    <a:pt x="103" y="138"/>
                    <a:pt x="109" y="133"/>
                    <a:pt x="113" y="128"/>
                  </a:cubicBezTo>
                  <a:cubicBezTo>
                    <a:pt x="84" y="99"/>
                    <a:pt x="90" y="73"/>
                    <a:pt x="9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5" name="iṩḻîḑé">
              <a:extLst>
                <a:ext uri="{FF2B5EF4-FFF2-40B4-BE49-F238E27FC236}">
                  <a16:creationId xmlns:a16="http://schemas.microsoft.com/office/drawing/2014/main" id="{BC2FCFAF-ABC5-4655-853D-8509FB3776E7}"/>
                </a:ext>
              </a:extLst>
            </p:cNvPr>
            <p:cNvSpPr/>
            <p:nvPr/>
          </p:nvSpPr>
          <p:spPr bwMode="auto">
            <a:xfrm flipH="1">
              <a:off x="1376620" y="1800600"/>
              <a:ext cx="196032" cy="156458"/>
            </a:xfrm>
            <a:custGeom>
              <a:avLst/>
              <a:gdLst>
                <a:gd name="T0" fmla="*/ 71 w 91"/>
                <a:gd name="T1" fmla="*/ 9 h 77"/>
                <a:gd name="T2" fmla="*/ 66 w 91"/>
                <a:gd name="T3" fmla="*/ 9 h 77"/>
                <a:gd name="T4" fmla="*/ 62 w 91"/>
                <a:gd name="T5" fmla="*/ 9 h 77"/>
                <a:gd name="T6" fmla="*/ 50 w 91"/>
                <a:gd name="T7" fmla="*/ 16 h 77"/>
                <a:gd name="T8" fmla="*/ 34 w 91"/>
                <a:gd name="T9" fmla="*/ 1 h 77"/>
                <a:gd name="T10" fmla="*/ 29 w 91"/>
                <a:gd name="T11" fmla="*/ 0 h 77"/>
                <a:gd name="T12" fmla="*/ 7 w 91"/>
                <a:gd name="T13" fmla="*/ 18 h 77"/>
                <a:gd name="T14" fmla="*/ 29 w 91"/>
                <a:gd name="T15" fmla="*/ 71 h 77"/>
                <a:gd name="T16" fmla="*/ 36 w 91"/>
                <a:gd name="T17" fmla="*/ 77 h 77"/>
                <a:gd name="T18" fmla="*/ 88 w 91"/>
                <a:gd name="T19" fmla="*/ 36 h 77"/>
                <a:gd name="T20" fmla="*/ 71 w 91"/>
                <a:gd name="T21" fmla="*/ 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77">
                  <a:moveTo>
                    <a:pt x="71" y="9"/>
                  </a:moveTo>
                  <a:cubicBezTo>
                    <a:pt x="69" y="9"/>
                    <a:pt x="68" y="9"/>
                    <a:pt x="66" y="9"/>
                  </a:cubicBezTo>
                  <a:cubicBezTo>
                    <a:pt x="65" y="9"/>
                    <a:pt x="63" y="9"/>
                    <a:pt x="62" y="9"/>
                  </a:cubicBezTo>
                  <a:cubicBezTo>
                    <a:pt x="57" y="10"/>
                    <a:pt x="53" y="13"/>
                    <a:pt x="50" y="16"/>
                  </a:cubicBezTo>
                  <a:cubicBezTo>
                    <a:pt x="48" y="9"/>
                    <a:pt x="42" y="3"/>
                    <a:pt x="34" y="1"/>
                  </a:cubicBezTo>
                  <a:cubicBezTo>
                    <a:pt x="32" y="0"/>
                    <a:pt x="30" y="0"/>
                    <a:pt x="29" y="0"/>
                  </a:cubicBezTo>
                  <a:cubicBezTo>
                    <a:pt x="19" y="0"/>
                    <a:pt x="9" y="7"/>
                    <a:pt x="7" y="18"/>
                  </a:cubicBezTo>
                  <a:cubicBezTo>
                    <a:pt x="7" y="18"/>
                    <a:pt x="0" y="42"/>
                    <a:pt x="29" y="71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83" y="65"/>
                    <a:pt x="88" y="36"/>
                    <a:pt x="88" y="36"/>
                  </a:cubicBezTo>
                  <a:cubicBezTo>
                    <a:pt x="91" y="24"/>
                    <a:pt x="83" y="12"/>
                    <a:pt x="7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6" name="ïśḻîdè">
              <a:extLst>
                <a:ext uri="{FF2B5EF4-FFF2-40B4-BE49-F238E27FC236}">
                  <a16:creationId xmlns:a16="http://schemas.microsoft.com/office/drawing/2014/main" id="{7ADB092E-F82D-4B34-BDAE-BE755B6133DD}"/>
                </a:ext>
              </a:extLst>
            </p:cNvPr>
            <p:cNvSpPr/>
            <p:nvPr/>
          </p:nvSpPr>
          <p:spPr bwMode="auto">
            <a:xfrm flipH="1">
              <a:off x="3020557" y="4596208"/>
              <a:ext cx="25530" cy="627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7" name="ïŝḻïḋé">
              <a:extLst>
                <a:ext uri="{FF2B5EF4-FFF2-40B4-BE49-F238E27FC236}">
                  <a16:creationId xmlns:a16="http://schemas.microsoft.com/office/drawing/2014/main" id="{5C5E2C8F-A1A4-41A2-AE04-A11D0C59D44C}"/>
                </a:ext>
              </a:extLst>
            </p:cNvPr>
            <p:cNvSpPr/>
            <p:nvPr/>
          </p:nvSpPr>
          <p:spPr bwMode="auto">
            <a:xfrm flipH="1">
              <a:off x="2823614" y="4596208"/>
              <a:ext cx="110325" cy="62755"/>
            </a:xfrm>
            <a:custGeom>
              <a:avLst/>
              <a:gdLst>
                <a:gd name="T0" fmla="*/ 121 w 121"/>
                <a:gd name="T1" fmla="*/ 73 h 73"/>
                <a:gd name="T2" fmla="*/ 121 w 121"/>
                <a:gd name="T3" fmla="*/ 0 h 73"/>
                <a:gd name="T4" fmla="*/ 73 w 121"/>
                <a:gd name="T5" fmla="*/ 0 h 73"/>
                <a:gd name="T6" fmla="*/ 0 w 121"/>
                <a:gd name="T7" fmla="*/ 73 h 73"/>
                <a:gd name="T8" fmla="*/ 121 w 121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73">
                  <a:moveTo>
                    <a:pt x="121" y="73"/>
                  </a:moveTo>
                  <a:lnTo>
                    <a:pt x="121" y="0"/>
                  </a:lnTo>
                  <a:lnTo>
                    <a:pt x="73" y="0"/>
                  </a:lnTo>
                  <a:lnTo>
                    <a:pt x="0" y="73"/>
                  </a:lnTo>
                  <a:lnTo>
                    <a:pt x="12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8" name="í$1ïḍê">
              <a:extLst>
                <a:ext uri="{FF2B5EF4-FFF2-40B4-BE49-F238E27FC236}">
                  <a16:creationId xmlns:a16="http://schemas.microsoft.com/office/drawing/2014/main" id="{8F7C08B8-1B4C-41B5-ABAC-7CDCE86840EA}"/>
                </a:ext>
              </a:extLst>
            </p:cNvPr>
            <p:cNvSpPr/>
            <p:nvPr/>
          </p:nvSpPr>
          <p:spPr bwMode="auto">
            <a:xfrm flipH="1">
              <a:off x="2935762" y="4596208"/>
              <a:ext cx="73854" cy="62755"/>
            </a:xfrm>
            <a:custGeom>
              <a:avLst/>
              <a:gdLst>
                <a:gd name="T0" fmla="*/ 81 w 81"/>
                <a:gd name="T1" fmla="*/ 0 h 73"/>
                <a:gd name="T2" fmla="*/ 0 w 81"/>
                <a:gd name="T3" fmla="*/ 0 h 73"/>
                <a:gd name="T4" fmla="*/ 0 w 81"/>
                <a:gd name="T5" fmla="*/ 73 h 73"/>
                <a:gd name="T6" fmla="*/ 7 w 81"/>
                <a:gd name="T7" fmla="*/ 73 h 73"/>
                <a:gd name="T8" fmla="*/ 81 w 81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3">
                  <a:moveTo>
                    <a:pt x="81" y="0"/>
                  </a:moveTo>
                  <a:lnTo>
                    <a:pt x="0" y="0"/>
                  </a:lnTo>
                  <a:lnTo>
                    <a:pt x="0" y="73"/>
                  </a:lnTo>
                  <a:lnTo>
                    <a:pt x="7" y="73"/>
                  </a:lnTo>
                  <a:lnTo>
                    <a:pt x="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19" name="iśľïḓè">
              <a:extLst>
                <a:ext uri="{FF2B5EF4-FFF2-40B4-BE49-F238E27FC236}">
                  <a16:creationId xmlns:a16="http://schemas.microsoft.com/office/drawing/2014/main" id="{7CC8E1DD-C320-476C-AA74-B36E9F93D5C5}"/>
                </a:ext>
              </a:extLst>
            </p:cNvPr>
            <p:cNvSpPr/>
            <p:nvPr/>
          </p:nvSpPr>
          <p:spPr bwMode="auto">
            <a:xfrm flipH="1">
              <a:off x="2758877" y="4460382"/>
              <a:ext cx="351947" cy="332688"/>
            </a:xfrm>
            <a:custGeom>
              <a:avLst/>
              <a:gdLst>
                <a:gd name="T0" fmla="*/ 94 w 163"/>
                <a:gd name="T1" fmla="*/ 163 h 164"/>
                <a:gd name="T2" fmla="*/ 163 w 163"/>
                <a:gd name="T3" fmla="*/ 82 h 164"/>
                <a:gd name="T4" fmla="*/ 94 w 163"/>
                <a:gd name="T5" fmla="*/ 1 h 164"/>
                <a:gd name="T6" fmla="*/ 94 w 163"/>
                <a:gd name="T7" fmla="*/ 15 h 164"/>
                <a:gd name="T8" fmla="*/ 125 w 163"/>
                <a:gd name="T9" fmla="*/ 29 h 164"/>
                <a:gd name="T10" fmla="*/ 94 w 163"/>
                <a:gd name="T11" fmla="*/ 60 h 164"/>
                <a:gd name="T12" fmla="*/ 94 w 163"/>
                <a:gd name="T13" fmla="*/ 79 h 164"/>
                <a:gd name="T14" fmla="*/ 107 w 163"/>
                <a:gd name="T15" fmla="*/ 67 h 164"/>
                <a:gd name="T16" fmla="*/ 109 w 163"/>
                <a:gd name="T17" fmla="*/ 64 h 164"/>
                <a:gd name="T18" fmla="*/ 111 w 163"/>
                <a:gd name="T19" fmla="*/ 62 h 164"/>
                <a:gd name="T20" fmla="*/ 134 w 163"/>
                <a:gd name="T21" fmla="*/ 39 h 164"/>
                <a:gd name="T22" fmla="*/ 150 w 163"/>
                <a:gd name="T23" fmla="*/ 82 h 164"/>
                <a:gd name="T24" fmla="*/ 150 w 163"/>
                <a:gd name="T25" fmla="*/ 82 h 164"/>
                <a:gd name="T26" fmla="*/ 94 w 163"/>
                <a:gd name="T27" fmla="*/ 149 h 164"/>
                <a:gd name="T28" fmla="*/ 94 w 163"/>
                <a:gd name="T29" fmla="*/ 163 h 164"/>
                <a:gd name="T30" fmla="*/ 81 w 163"/>
                <a:gd name="T31" fmla="*/ 164 h 164"/>
                <a:gd name="T32" fmla="*/ 94 w 163"/>
                <a:gd name="T33" fmla="*/ 163 h 164"/>
                <a:gd name="T34" fmla="*/ 94 w 163"/>
                <a:gd name="T35" fmla="*/ 149 h 164"/>
                <a:gd name="T36" fmla="*/ 81 w 163"/>
                <a:gd name="T37" fmla="*/ 151 h 164"/>
                <a:gd name="T38" fmla="*/ 38 w 163"/>
                <a:gd name="T39" fmla="*/ 135 h 164"/>
                <a:gd name="T40" fmla="*/ 71 w 163"/>
                <a:gd name="T41" fmla="*/ 102 h 164"/>
                <a:gd name="T42" fmla="*/ 73 w 163"/>
                <a:gd name="T43" fmla="*/ 100 h 164"/>
                <a:gd name="T44" fmla="*/ 76 w 163"/>
                <a:gd name="T45" fmla="*/ 98 h 164"/>
                <a:gd name="T46" fmla="*/ 94 w 163"/>
                <a:gd name="T47" fmla="*/ 79 h 164"/>
                <a:gd name="T48" fmla="*/ 94 w 163"/>
                <a:gd name="T49" fmla="*/ 60 h 164"/>
                <a:gd name="T50" fmla="*/ 92 w 163"/>
                <a:gd name="T51" fmla="*/ 62 h 164"/>
                <a:gd name="T52" fmla="*/ 90 w 163"/>
                <a:gd name="T53" fmla="*/ 64 h 164"/>
                <a:gd name="T54" fmla="*/ 87 w 163"/>
                <a:gd name="T55" fmla="*/ 67 h 164"/>
                <a:gd name="T56" fmla="*/ 56 w 163"/>
                <a:gd name="T57" fmla="*/ 98 h 164"/>
                <a:gd name="T58" fmla="*/ 54 w 163"/>
                <a:gd name="T59" fmla="*/ 100 h 164"/>
                <a:gd name="T60" fmla="*/ 52 w 163"/>
                <a:gd name="T61" fmla="*/ 102 h 164"/>
                <a:gd name="T62" fmla="*/ 29 w 163"/>
                <a:gd name="T63" fmla="*/ 125 h 164"/>
                <a:gd name="T64" fmla="*/ 13 w 163"/>
                <a:gd name="T65" fmla="*/ 82 h 164"/>
                <a:gd name="T66" fmla="*/ 81 w 163"/>
                <a:gd name="T67" fmla="*/ 14 h 164"/>
                <a:gd name="T68" fmla="*/ 81 w 163"/>
                <a:gd name="T69" fmla="*/ 14 h 164"/>
                <a:gd name="T70" fmla="*/ 94 w 163"/>
                <a:gd name="T71" fmla="*/ 15 h 164"/>
                <a:gd name="T72" fmla="*/ 94 w 163"/>
                <a:gd name="T73" fmla="*/ 1 h 164"/>
                <a:gd name="T74" fmla="*/ 81 w 163"/>
                <a:gd name="T75" fmla="*/ 0 h 164"/>
                <a:gd name="T76" fmla="*/ 0 w 163"/>
                <a:gd name="T77" fmla="*/ 82 h 164"/>
                <a:gd name="T78" fmla="*/ 81 w 163"/>
                <a:gd name="T7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164">
                  <a:moveTo>
                    <a:pt x="94" y="163"/>
                  </a:moveTo>
                  <a:cubicBezTo>
                    <a:pt x="133" y="157"/>
                    <a:pt x="163" y="123"/>
                    <a:pt x="163" y="82"/>
                  </a:cubicBezTo>
                  <a:cubicBezTo>
                    <a:pt x="163" y="41"/>
                    <a:pt x="133" y="7"/>
                    <a:pt x="94" y="1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106" y="17"/>
                    <a:pt x="116" y="22"/>
                    <a:pt x="125" y="29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34" y="39"/>
                    <a:pt x="134" y="39"/>
                    <a:pt x="134" y="39"/>
                  </a:cubicBezTo>
                  <a:cubicBezTo>
                    <a:pt x="144" y="51"/>
                    <a:pt x="150" y="66"/>
                    <a:pt x="150" y="82"/>
                  </a:cubicBezTo>
                  <a:cubicBezTo>
                    <a:pt x="150" y="82"/>
                    <a:pt x="150" y="82"/>
                    <a:pt x="150" y="82"/>
                  </a:cubicBezTo>
                  <a:cubicBezTo>
                    <a:pt x="150" y="116"/>
                    <a:pt x="126" y="143"/>
                    <a:pt x="94" y="149"/>
                  </a:cubicBezTo>
                  <a:lnTo>
                    <a:pt x="94" y="163"/>
                  </a:lnTo>
                  <a:close/>
                  <a:moveTo>
                    <a:pt x="81" y="164"/>
                  </a:moveTo>
                  <a:cubicBezTo>
                    <a:pt x="86" y="164"/>
                    <a:pt x="90" y="164"/>
                    <a:pt x="94" y="163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90" y="150"/>
                    <a:pt x="86" y="151"/>
                    <a:pt x="81" y="151"/>
                  </a:cubicBezTo>
                  <a:cubicBezTo>
                    <a:pt x="65" y="151"/>
                    <a:pt x="50" y="145"/>
                    <a:pt x="38" y="135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19" y="114"/>
                    <a:pt x="13" y="99"/>
                    <a:pt x="13" y="82"/>
                  </a:cubicBezTo>
                  <a:cubicBezTo>
                    <a:pt x="13" y="45"/>
                    <a:pt x="44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6" y="14"/>
                    <a:pt x="90" y="14"/>
                    <a:pt x="94" y="15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0" y="1"/>
                    <a:pt x="86" y="0"/>
                    <a:pt x="81" y="0"/>
                  </a:cubicBezTo>
                  <a:cubicBezTo>
                    <a:pt x="36" y="0"/>
                    <a:pt x="0" y="37"/>
                    <a:pt x="0" y="82"/>
                  </a:cubicBezTo>
                  <a:cubicBezTo>
                    <a:pt x="0" y="128"/>
                    <a:pt x="36" y="164"/>
                    <a:pt x="8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0" name="íŝḻiďè">
              <a:extLst>
                <a:ext uri="{FF2B5EF4-FFF2-40B4-BE49-F238E27FC236}">
                  <a16:creationId xmlns:a16="http://schemas.microsoft.com/office/drawing/2014/main" id="{ED08849E-87D1-4835-B143-7D3F414D0466}"/>
                </a:ext>
              </a:extLst>
            </p:cNvPr>
            <p:cNvSpPr/>
            <p:nvPr/>
          </p:nvSpPr>
          <p:spPr bwMode="auto">
            <a:xfrm flipH="1">
              <a:off x="1762303" y="5984556"/>
              <a:ext cx="73854" cy="65334"/>
            </a:xfrm>
            <a:custGeom>
              <a:avLst/>
              <a:gdLst>
                <a:gd name="T0" fmla="*/ 24 w 34"/>
                <a:gd name="T1" fmla="*/ 0 h 32"/>
                <a:gd name="T2" fmla="*/ 0 w 34"/>
                <a:gd name="T3" fmla="*/ 32 h 32"/>
                <a:gd name="T4" fmla="*/ 16 w 34"/>
                <a:gd name="T5" fmla="*/ 32 h 32"/>
                <a:gd name="T6" fmla="*/ 34 w 34"/>
                <a:gd name="T7" fmla="*/ 8 h 32"/>
                <a:gd name="T8" fmla="*/ 24 w 3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24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0" y="7"/>
                    <a:pt x="26" y="4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1" name="islïḑe">
              <a:extLst>
                <a:ext uri="{FF2B5EF4-FFF2-40B4-BE49-F238E27FC236}">
                  <a16:creationId xmlns:a16="http://schemas.microsoft.com/office/drawing/2014/main" id="{70713F0F-E9A2-496D-B15B-916120319DBA}"/>
                </a:ext>
              </a:extLst>
            </p:cNvPr>
            <p:cNvSpPr/>
            <p:nvPr/>
          </p:nvSpPr>
          <p:spPr bwMode="auto">
            <a:xfrm flipH="1">
              <a:off x="1738597" y="5956187"/>
              <a:ext cx="39206" cy="36966"/>
            </a:xfrm>
            <a:custGeom>
              <a:avLst/>
              <a:gdLst>
                <a:gd name="T0" fmla="*/ 9 w 18"/>
                <a:gd name="T1" fmla="*/ 18 h 18"/>
                <a:gd name="T2" fmla="*/ 10 w 18"/>
                <a:gd name="T3" fmla="*/ 18 h 18"/>
                <a:gd name="T4" fmla="*/ 11 w 18"/>
                <a:gd name="T5" fmla="*/ 18 h 18"/>
                <a:gd name="T6" fmla="*/ 18 w 18"/>
                <a:gd name="T7" fmla="*/ 9 h 18"/>
                <a:gd name="T8" fmla="*/ 18 w 18"/>
                <a:gd name="T9" fmla="*/ 9 h 18"/>
                <a:gd name="T10" fmla="*/ 18 w 18"/>
                <a:gd name="T11" fmla="*/ 7 h 18"/>
                <a:gd name="T12" fmla="*/ 9 w 18"/>
                <a:gd name="T13" fmla="*/ 0 h 18"/>
                <a:gd name="T14" fmla="*/ 7 w 18"/>
                <a:gd name="T15" fmla="*/ 0 h 18"/>
                <a:gd name="T16" fmla="*/ 0 w 18"/>
                <a:gd name="T17" fmla="*/ 10 h 18"/>
                <a:gd name="T18" fmla="*/ 0 w 18"/>
                <a:gd name="T19" fmla="*/ 11 h 18"/>
                <a:gd name="T20" fmla="*/ 9 w 18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5" y="17"/>
                    <a:pt x="18" y="13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7"/>
                  </a:cubicBezTo>
                  <a:cubicBezTo>
                    <a:pt x="17" y="3"/>
                    <a:pt x="13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3" y="1"/>
                    <a:pt x="0" y="6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5"/>
                    <a:pt x="5" y="18"/>
                    <a:pt x="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2" name="ïşļiḍé">
              <a:extLst>
                <a:ext uri="{FF2B5EF4-FFF2-40B4-BE49-F238E27FC236}">
                  <a16:creationId xmlns:a16="http://schemas.microsoft.com/office/drawing/2014/main" id="{E81BB26B-8C66-4D74-B378-85692CF09FA1}"/>
                </a:ext>
              </a:extLst>
            </p:cNvPr>
            <p:cNvSpPr/>
            <p:nvPr/>
          </p:nvSpPr>
          <p:spPr bwMode="auto">
            <a:xfrm flipH="1">
              <a:off x="1632831" y="5984556"/>
              <a:ext cx="73854" cy="65334"/>
            </a:xfrm>
            <a:custGeom>
              <a:avLst/>
              <a:gdLst>
                <a:gd name="T0" fmla="*/ 18 w 34"/>
                <a:gd name="T1" fmla="*/ 32 h 32"/>
                <a:gd name="T2" fmla="*/ 34 w 34"/>
                <a:gd name="T3" fmla="*/ 32 h 32"/>
                <a:gd name="T4" fmla="*/ 10 w 34"/>
                <a:gd name="T5" fmla="*/ 0 h 32"/>
                <a:gd name="T6" fmla="*/ 0 w 34"/>
                <a:gd name="T7" fmla="*/ 8 h 32"/>
                <a:gd name="T8" fmla="*/ 18 w 34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18" y="32"/>
                  </a:moveTo>
                  <a:cubicBezTo>
                    <a:pt x="34" y="32"/>
                    <a:pt x="34" y="32"/>
                    <a:pt x="34" y="3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4"/>
                    <a:pt x="4" y="7"/>
                    <a:pt x="0" y="8"/>
                  </a:cubicBez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3" name="ïşľiďè">
              <a:extLst>
                <a:ext uri="{FF2B5EF4-FFF2-40B4-BE49-F238E27FC236}">
                  <a16:creationId xmlns:a16="http://schemas.microsoft.com/office/drawing/2014/main" id="{D7070467-7622-4575-9589-B080505800C8}"/>
                </a:ext>
              </a:extLst>
            </p:cNvPr>
            <p:cNvSpPr/>
            <p:nvPr/>
          </p:nvSpPr>
          <p:spPr bwMode="auto">
            <a:xfrm flipH="1">
              <a:off x="1691184" y="5956187"/>
              <a:ext cx="39206" cy="36966"/>
            </a:xfrm>
            <a:custGeom>
              <a:avLst/>
              <a:gdLst>
                <a:gd name="T0" fmla="*/ 11 w 18"/>
                <a:gd name="T1" fmla="*/ 0 h 18"/>
                <a:gd name="T2" fmla="*/ 9 w 18"/>
                <a:gd name="T3" fmla="*/ 0 h 18"/>
                <a:gd name="T4" fmla="*/ 0 w 18"/>
                <a:gd name="T5" fmla="*/ 7 h 18"/>
                <a:gd name="T6" fmla="*/ 0 w 18"/>
                <a:gd name="T7" fmla="*/ 9 h 18"/>
                <a:gd name="T8" fmla="*/ 0 w 18"/>
                <a:gd name="T9" fmla="*/ 9 h 18"/>
                <a:gd name="T10" fmla="*/ 7 w 18"/>
                <a:gd name="T11" fmla="*/ 18 h 18"/>
                <a:gd name="T12" fmla="*/ 8 w 18"/>
                <a:gd name="T13" fmla="*/ 18 h 18"/>
                <a:gd name="T14" fmla="*/ 9 w 18"/>
                <a:gd name="T15" fmla="*/ 18 h 18"/>
                <a:gd name="T16" fmla="*/ 17 w 18"/>
                <a:gd name="T17" fmla="*/ 11 h 18"/>
                <a:gd name="T18" fmla="*/ 18 w 18"/>
                <a:gd name="T19" fmla="*/ 10 h 18"/>
                <a:gd name="T20" fmla="*/ 11 w 18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cubicBezTo>
                    <a:pt x="10" y="0"/>
                    <a:pt x="10" y="0"/>
                    <a:pt x="9" y="0"/>
                  </a:cubicBezTo>
                  <a:cubicBezTo>
                    <a:pt x="5" y="0"/>
                    <a:pt x="1" y="3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7"/>
                    <a:pt x="7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8" y="18"/>
                    <a:pt x="9" y="18"/>
                    <a:pt x="9" y="18"/>
                  </a:cubicBezTo>
                  <a:cubicBezTo>
                    <a:pt x="13" y="18"/>
                    <a:pt x="17" y="15"/>
                    <a:pt x="17" y="11"/>
                  </a:cubicBezTo>
                  <a:cubicBezTo>
                    <a:pt x="18" y="11"/>
                    <a:pt x="18" y="11"/>
                    <a:pt x="18" y="10"/>
                  </a:cubicBezTo>
                  <a:cubicBezTo>
                    <a:pt x="18" y="6"/>
                    <a:pt x="15" y="1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4" name="iṩ1iḋè">
              <a:extLst>
                <a:ext uri="{FF2B5EF4-FFF2-40B4-BE49-F238E27FC236}">
                  <a16:creationId xmlns:a16="http://schemas.microsoft.com/office/drawing/2014/main" id="{0A16187D-11D0-48B5-AFD2-DB1AE3B88E30}"/>
                </a:ext>
              </a:extLst>
            </p:cNvPr>
            <p:cNvSpPr/>
            <p:nvPr/>
          </p:nvSpPr>
          <p:spPr bwMode="auto">
            <a:xfrm flipH="1">
              <a:off x="1600918" y="6058487"/>
              <a:ext cx="267151" cy="125511"/>
            </a:xfrm>
            <a:custGeom>
              <a:avLst/>
              <a:gdLst>
                <a:gd name="T0" fmla="*/ 0 w 293"/>
                <a:gd name="T1" fmla="*/ 0 h 146"/>
                <a:gd name="T2" fmla="*/ 38 w 293"/>
                <a:gd name="T3" fmla="*/ 146 h 146"/>
                <a:gd name="T4" fmla="*/ 255 w 293"/>
                <a:gd name="T5" fmla="*/ 146 h 146"/>
                <a:gd name="T6" fmla="*/ 293 w 293"/>
                <a:gd name="T7" fmla="*/ 0 h 146"/>
                <a:gd name="T8" fmla="*/ 262 w 293"/>
                <a:gd name="T9" fmla="*/ 0 h 146"/>
                <a:gd name="T10" fmla="*/ 227 w 293"/>
                <a:gd name="T11" fmla="*/ 0 h 146"/>
                <a:gd name="T12" fmla="*/ 66 w 293"/>
                <a:gd name="T13" fmla="*/ 0 h 146"/>
                <a:gd name="T14" fmla="*/ 31 w 293"/>
                <a:gd name="T15" fmla="*/ 0 h 146"/>
                <a:gd name="T16" fmla="*/ 0 w 293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" h="146">
                  <a:moveTo>
                    <a:pt x="0" y="0"/>
                  </a:moveTo>
                  <a:lnTo>
                    <a:pt x="38" y="146"/>
                  </a:lnTo>
                  <a:lnTo>
                    <a:pt x="255" y="146"/>
                  </a:lnTo>
                  <a:lnTo>
                    <a:pt x="293" y="0"/>
                  </a:lnTo>
                  <a:lnTo>
                    <a:pt x="262" y="0"/>
                  </a:lnTo>
                  <a:lnTo>
                    <a:pt x="227" y="0"/>
                  </a:lnTo>
                  <a:lnTo>
                    <a:pt x="66" y="0"/>
                  </a:lnTo>
                  <a:lnTo>
                    <a:pt x="3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5" name="işļíḋè">
              <a:extLst>
                <a:ext uri="{FF2B5EF4-FFF2-40B4-BE49-F238E27FC236}">
                  <a16:creationId xmlns:a16="http://schemas.microsoft.com/office/drawing/2014/main" id="{D7891F96-6A19-4424-A558-B766FBCA419E}"/>
                </a:ext>
              </a:extLst>
            </p:cNvPr>
            <p:cNvSpPr/>
            <p:nvPr/>
          </p:nvSpPr>
          <p:spPr bwMode="auto">
            <a:xfrm flipH="1">
              <a:off x="4318930" y="3394406"/>
              <a:ext cx="71119" cy="6705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6" name="îṧḻîḓe">
              <a:extLst>
                <a:ext uri="{FF2B5EF4-FFF2-40B4-BE49-F238E27FC236}">
                  <a16:creationId xmlns:a16="http://schemas.microsoft.com/office/drawing/2014/main" id="{12EB0E83-CF2D-42CF-97F3-D7BDAE2CA3EC}"/>
                </a:ext>
              </a:extLst>
            </p:cNvPr>
            <p:cNvSpPr/>
            <p:nvPr/>
          </p:nvSpPr>
          <p:spPr bwMode="auto">
            <a:xfrm flipH="1">
              <a:off x="4508580" y="3592127"/>
              <a:ext cx="155002" cy="146142"/>
            </a:xfrm>
            <a:custGeom>
              <a:avLst/>
              <a:gdLst>
                <a:gd name="T0" fmla="*/ 36 w 72"/>
                <a:gd name="T1" fmla="*/ 72 h 72"/>
                <a:gd name="T2" fmla="*/ 72 w 72"/>
                <a:gd name="T3" fmla="*/ 36 h 72"/>
                <a:gd name="T4" fmla="*/ 36 w 72"/>
                <a:gd name="T5" fmla="*/ 0 h 72"/>
                <a:gd name="T6" fmla="*/ 36 w 72"/>
                <a:gd name="T7" fmla="*/ 16 h 72"/>
                <a:gd name="T8" fmla="*/ 56 w 72"/>
                <a:gd name="T9" fmla="*/ 36 h 72"/>
                <a:gd name="T10" fmla="*/ 36 w 72"/>
                <a:gd name="T11" fmla="*/ 55 h 72"/>
                <a:gd name="T12" fmla="*/ 36 w 72"/>
                <a:gd name="T13" fmla="*/ 72 h 72"/>
                <a:gd name="T14" fmla="*/ 36 w 72"/>
                <a:gd name="T15" fmla="*/ 0 h 72"/>
                <a:gd name="T16" fmla="*/ 0 w 72"/>
                <a:gd name="T17" fmla="*/ 36 h 72"/>
                <a:gd name="T18" fmla="*/ 36 w 72"/>
                <a:gd name="T19" fmla="*/ 72 h 72"/>
                <a:gd name="T20" fmla="*/ 36 w 72"/>
                <a:gd name="T21" fmla="*/ 72 h 72"/>
                <a:gd name="T22" fmla="*/ 36 w 72"/>
                <a:gd name="T23" fmla="*/ 55 h 72"/>
                <a:gd name="T24" fmla="*/ 36 w 72"/>
                <a:gd name="T25" fmla="*/ 55 h 72"/>
                <a:gd name="T26" fmla="*/ 36 w 72"/>
                <a:gd name="T27" fmla="*/ 55 h 72"/>
                <a:gd name="T28" fmla="*/ 17 w 72"/>
                <a:gd name="T29" fmla="*/ 36 h 72"/>
                <a:gd name="T30" fmla="*/ 36 w 72"/>
                <a:gd name="T31" fmla="*/ 16 h 72"/>
                <a:gd name="T32" fmla="*/ 36 w 72"/>
                <a:gd name="T33" fmla="*/ 16 h 72"/>
                <a:gd name="T34" fmla="*/ 36 w 72"/>
                <a:gd name="T3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47" y="16"/>
                    <a:pt x="56" y="25"/>
                    <a:pt x="56" y="36"/>
                  </a:cubicBezTo>
                  <a:cubicBezTo>
                    <a:pt x="56" y="46"/>
                    <a:pt x="47" y="55"/>
                    <a:pt x="36" y="55"/>
                  </a:cubicBezTo>
                  <a:lnTo>
                    <a:pt x="36" y="72"/>
                  </a:ln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5" y="55"/>
                    <a:pt x="17" y="46"/>
                    <a:pt x="17" y="36"/>
                  </a:cubicBezTo>
                  <a:cubicBezTo>
                    <a:pt x="17" y="25"/>
                    <a:pt x="25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0"/>
                    <a:pt x="36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7" name="íṣļidè">
              <a:extLst>
                <a:ext uri="{FF2B5EF4-FFF2-40B4-BE49-F238E27FC236}">
                  <a16:creationId xmlns:a16="http://schemas.microsoft.com/office/drawing/2014/main" id="{BA122E0A-1F71-4BDF-979D-4D32E659E153}"/>
                </a:ext>
              </a:extLst>
            </p:cNvPr>
            <p:cNvSpPr/>
            <p:nvPr/>
          </p:nvSpPr>
          <p:spPr bwMode="auto">
            <a:xfrm flipH="1">
              <a:off x="4493081" y="3556881"/>
              <a:ext cx="183266" cy="63615"/>
            </a:xfrm>
            <a:custGeom>
              <a:avLst/>
              <a:gdLst>
                <a:gd name="T0" fmla="*/ 6 w 85"/>
                <a:gd name="T1" fmla="*/ 30 h 31"/>
                <a:gd name="T2" fmla="*/ 11 w 85"/>
                <a:gd name="T3" fmla="*/ 28 h 31"/>
                <a:gd name="T4" fmla="*/ 42 w 85"/>
                <a:gd name="T5" fmla="*/ 11 h 31"/>
                <a:gd name="T6" fmla="*/ 74 w 85"/>
                <a:gd name="T7" fmla="*/ 28 h 31"/>
                <a:gd name="T8" fmla="*/ 82 w 85"/>
                <a:gd name="T9" fmla="*/ 29 h 31"/>
                <a:gd name="T10" fmla="*/ 83 w 85"/>
                <a:gd name="T11" fmla="*/ 22 h 31"/>
                <a:gd name="T12" fmla="*/ 42 w 85"/>
                <a:gd name="T13" fmla="*/ 0 h 31"/>
                <a:gd name="T14" fmla="*/ 1 w 85"/>
                <a:gd name="T15" fmla="*/ 22 h 31"/>
                <a:gd name="T16" fmla="*/ 3 w 85"/>
                <a:gd name="T17" fmla="*/ 29 h 31"/>
                <a:gd name="T18" fmla="*/ 6 w 85"/>
                <a:gd name="T1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31">
                  <a:moveTo>
                    <a:pt x="6" y="30"/>
                  </a:moveTo>
                  <a:cubicBezTo>
                    <a:pt x="8" y="30"/>
                    <a:pt x="9" y="30"/>
                    <a:pt x="11" y="28"/>
                  </a:cubicBezTo>
                  <a:cubicBezTo>
                    <a:pt x="18" y="17"/>
                    <a:pt x="29" y="11"/>
                    <a:pt x="42" y="11"/>
                  </a:cubicBezTo>
                  <a:cubicBezTo>
                    <a:pt x="55" y="11"/>
                    <a:pt x="67" y="17"/>
                    <a:pt x="74" y="28"/>
                  </a:cubicBezTo>
                  <a:cubicBezTo>
                    <a:pt x="76" y="30"/>
                    <a:pt x="79" y="31"/>
                    <a:pt x="82" y="29"/>
                  </a:cubicBezTo>
                  <a:cubicBezTo>
                    <a:pt x="84" y="28"/>
                    <a:pt x="85" y="24"/>
                    <a:pt x="83" y="22"/>
                  </a:cubicBezTo>
                  <a:cubicBezTo>
                    <a:pt x="74" y="8"/>
                    <a:pt x="59" y="0"/>
                    <a:pt x="42" y="0"/>
                  </a:cubicBezTo>
                  <a:cubicBezTo>
                    <a:pt x="26" y="0"/>
                    <a:pt x="11" y="8"/>
                    <a:pt x="1" y="22"/>
                  </a:cubicBezTo>
                  <a:cubicBezTo>
                    <a:pt x="0" y="24"/>
                    <a:pt x="0" y="28"/>
                    <a:pt x="3" y="29"/>
                  </a:cubicBezTo>
                  <a:cubicBezTo>
                    <a:pt x="4" y="30"/>
                    <a:pt x="5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8" name="i$ḻïdé">
              <a:extLst>
                <a:ext uri="{FF2B5EF4-FFF2-40B4-BE49-F238E27FC236}">
                  <a16:creationId xmlns:a16="http://schemas.microsoft.com/office/drawing/2014/main" id="{398D5E4F-09AE-4B8A-B121-17C9951D0150}"/>
                </a:ext>
              </a:extLst>
            </p:cNvPr>
            <p:cNvSpPr/>
            <p:nvPr/>
          </p:nvSpPr>
          <p:spPr bwMode="auto">
            <a:xfrm flipH="1">
              <a:off x="4227753" y="3592127"/>
              <a:ext cx="155914" cy="146142"/>
            </a:xfrm>
            <a:custGeom>
              <a:avLst/>
              <a:gdLst>
                <a:gd name="T0" fmla="*/ 36 w 72"/>
                <a:gd name="T1" fmla="*/ 0 h 72"/>
                <a:gd name="T2" fmla="*/ 36 w 72"/>
                <a:gd name="T3" fmla="*/ 0 h 72"/>
                <a:gd name="T4" fmla="*/ 36 w 72"/>
                <a:gd name="T5" fmla="*/ 16 h 72"/>
                <a:gd name="T6" fmla="*/ 36 w 72"/>
                <a:gd name="T7" fmla="*/ 16 h 72"/>
                <a:gd name="T8" fmla="*/ 55 w 72"/>
                <a:gd name="T9" fmla="*/ 36 h 72"/>
                <a:gd name="T10" fmla="*/ 36 w 72"/>
                <a:gd name="T11" fmla="*/ 55 h 72"/>
                <a:gd name="T12" fmla="*/ 36 w 72"/>
                <a:gd name="T13" fmla="*/ 55 h 72"/>
                <a:gd name="T14" fmla="*/ 36 w 72"/>
                <a:gd name="T15" fmla="*/ 55 h 72"/>
                <a:gd name="T16" fmla="*/ 36 w 72"/>
                <a:gd name="T17" fmla="*/ 72 h 72"/>
                <a:gd name="T18" fmla="*/ 36 w 72"/>
                <a:gd name="T19" fmla="*/ 72 h 72"/>
                <a:gd name="T20" fmla="*/ 72 w 72"/>
                <a:gd name="T21" fmla="*/ 36 h 72"/>
                <a:gd name="T22" fmla="*/ 36 w 72"/>
                <a:gd name="T23" fmla="*/ 0 h 72"/>
                <a:gd name="T24" fmla="*/ 36 w 72"/>
                <a:gd name="T25" fmla="*/ 0 h 72"/>
                <a:gd name="T26" fmla="*/ 0 w 72"/>
                <a:gd name="T27" fmla="*/ 36 h 72"/>
                <a:gd name="T28" fmla="*/ 36 w 72"/>
                <a:gd name="T29" fmla="*/ 72 h 72"/>
                <a:gd name="T30" fmla="*/ 36 w 72"/>
                <a:gd name="T31" fmla="*/ 55 h 72"/>
                <a:gd name="T32" fmla="*/ 16 w 72"/>
                <a:gd name="T33" fmla="*/ 36 h 72"/>
                <a:gd name="T34" fmla="*/ 36 w 72"/>
                <a:gd name="T35" fmla="*/ 16 h 72"/>
                <a:gd name="T36" fmla="*/ 36 w 72"/>
                <a:gd name="T3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46" y="16"/>
                    <a:pt x="55" y="25"/>
                    <a:pt x="55" y="36"/>
                  </a:cubicBezTo>
                  <a:cubicBezTo>
                    <a:pt x="55" y="46"/>
                    <a:pt x="4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5" y="55"/>
                    <a:pt x="16" y="46"/>
                    <a:pt x="16" y="36"/>
                  </a:cubicBezTo>
                  <a:cubicBezTo>
                    <a:pt x="16" y="25"/>
                    <a:pt x="25" y="16"/>
                    <a:pt x="36" y="16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9" name="isḷîďè">
              <a:extLst>
                <a:ext uri="{FF2B5EF4-FFF2-40B4-BE49-F238E27FC236}">
                  <a16:creationId xmlns:a16="http://schemas.microsoft.com/office/drawing/2014/main" id="{F9674463-8A7D-40DE-8217-95B1081BD434}"/>
                </a:ext>
              </a:extLst>
            </p:cNvPr>
            <p:cNvSpPr/>
            <p:nvPr/>
          </p:nvSpPr>
          <p:spPr bwMode="auto">
            <a:xfrm flipH="1">
              <a:off x="4214988" y="3556881"/>
              <a:ext cx="183266" cy="63615"/>
            </a:xfrm>
            <a:custGeom>
              <a:avLst/>
              <a:gdLst>
                <a:gd name="T0" fmla="*/ 43 w 85"/>
                <a:gd name="T1" fmla="*/ 0 h 31"/>
                <a:gd name="T2" fmla="*/ 2 w 85"/>
                <a:gd name="T3" fmla="*/ 22 h 31"/>
                <a:gd name="T4" fmla="*/ 3 w 85"/>
                <a:gd name="T5" fmla="*/ 29 h 31"/>
                <a:gd name="T6" fmla="*/ 6 w 85"/>
                <a:gd name="T7" fmla="*/ 30 h 31"/>
                <a:gd name="T8" fmla="*/ 11 w 85"/>
                <a:gd name="T9" fmla="*/ 28 h 31"/>
                <a:gd name="T10" fmla="*/ 43 w 85"/>
                <a:gd name="T11" fmla="*/ 11 h 31"/>
                <a:gd name="T12" fmla="*/ 74 w 85"/>
                <a:gd name="T13" fmla="*/ 28 h 31"/>
                <a:gd name="T14" fmla="*/ 82 w 85"/>
                <a:gd name="T15" fmla="*/ 29 h 31"/>
                <a:gd name="T16" fmla="*/ 84 w 85"/>
                <a:gd name="T17" fmla="*/ 22 h 31"/>
                <a:gd name="T18" fmla="*/ 43 w 85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31">
                  <a:moveTo>
                    <a:pt x="43" y="0"/>
                  </a:moveTo>
                  <a:cubicBezTo>
                    <a:pt x="26" y="0"/>
                    <a:pt x="11" y="8"/>
                    <a:pt x="2" y="22"/>
                  </a:cubicBezTo>
                  <a:cubicBezTo>
                    <a:pt x="0" y="24"/>
                    <a:pt x="1" y="28"/>
                    <a:pt x="3" y="29"/>
                  </a:cubicBezTo>
                  <a:cubicBezTo>
                    <a:pt x="4" y="30"/>
                    <a:pt x="5" y="30"/>
                    <a:pt x="6" y="30"/>
                  </a:cubicBezTo>
                  <a:cubicBezTo>
                    <a:pt x="8" y="30"/>
                    <a:pt x="10" y="30"/>
                    <a:pt x="11" y="28"/>
                  </a:cubicBezTo>
                  <a:cubicBezTo>
                    <a:pt x="18" y="17"/>
                    <a:pt x="30" y="11"/>
                    <a:pt x="43" y="11"/>
                  </a:cubicBezTo>
                  <a:cubicBezTo>
                    <a:pt x="55" y="11"/>
                    <a:pt x="67" y="17"/>
                    <a:pt x="74" y="28"/>
                  </a:cubicBezTo>
                  <a:cubicBezTo>
                    <a:pt x="76" y="30"/>
                    <a:pt x="80" y="31"/>
                    <a:pt x="82" y="29"/>
                  </a:cubicBezTo>
                  <a:cubicBezTo>
                    <a:pt x="85" y="28"/>
                    <a:pt x="85" y="24"/>
                    <a:pt x="84" y="22"/>
                  </a:cubicBezTo>
                  <a:cubicBezTo>
                    <a:pt x="74" y="8"/>
                    <a:pt x="59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0" name="išḻiḓé">
              <a:extLst>
                <a:ext uri="{FF2B5EF4-FFF2-40B4-BE49-F238E27FC236}">
                  <a16:creationId xmlns:a16="http://schemas.microsoft.com/office/drawing/2014/main" id="{9043D378-A7C2-4E2D-8A20-991357F140EF}"/>
                </a:ext>
              </a:extLst>
            </p:cNvPr>
            <p:cNvSpPr/>
            <p:nvPr/>
          </p:nvSpPr>
          <p:spPr bwMode="auto">
            <a:xfrm flipH="1">
              <a:off x="4262400" y="3433089"/>
              <a:ext cx="271710" cy="299161"/>
            </a:xfrm>
            <a:custGeom>
              <a:avLst/>
              <a:gdLst>
                <a:gd name="T0" fmla="*/ 84 w 126"/>
                <a:gd name="T1" fmla="*/ 54 h 147"/>
                <a:gd name="T2" fmla="*/ 88 w 126"/>
                <a:gd name="T3" fmla="*/ 54 h 147"/>
                <a:gd name="T4" fmla="*/ 120 w 126"/>
                <a:gd name="T5" fmla="*/ 40 h 147"/>
                <a:gd name="T6" fmla="*/ 124 w 126"/>
                <a:gd name="T7" fmla="*/ 30 h 147"/>
                <a:gd name="T8" fmla="*/ 113 w 126"/>
                <a:gd name="T9" fmla="*/ 26 h 147"/>
                <a:gd name="T10" fmla="*/ 92 w 126"/>
                <a:gd name="T11" fmla="*/ 36 h 147"/>
                <a:gd name="T12" fmla="*/ 89 w 126"/>
                <a:gd name="T13" fmla="*/ 36 h 147"/>
                <a:gd name="T14" fmla="*/ 53 w 126"/>
                <a:gd name="T15" fmla="*/ 1 h 147"/>
                <a:gd name="T16" fmla="*/ 50 w 126"/>
                <a:gd name="T17" fmla="*/ 1 h 147"/>
                <a:gd name="T18" fmla="*/ 1 w 126"/>
                <a:gd name="T19" fmla="*/ 50 h 147"/>
                <a:gd name="T20" fmla="*/ 1 w 126"/>
                <a:gd name="T21" fmla="*/ 53 h 147"/>
                <a:gd name="T22" fmla="*/ 34 w 126"/>
                <a:gd name="T23" fmla="*/ 82 h 147"/>
                <a:gd name="T24" fmla="*/ 35 w 126"/>
                <a:gd name="T25" fmla="*/ 86 h 147"/>
                <a:gd name="T26" fmla="*/ 18 w 126"/>
                <a:gd name="T27" fmla="*/ 123 h 147"/>
                <a:gd name="T28" fmla="*/ 19 w 126"/>
                <a:gd name="T29" fmla="*/ 127 h 147"/>
                <a:gd name="T30" fmla="*/ 30 w 126"/>
                <a:gd name="T31" fmla="*/ 143 h 147"/>
                <a:gd name="T32" fmla="*/ 38 w 126"/>
                <a:gd name="T33" fmla="*/ 147 h 147"/>
                <a:gd name="T34" fmla="*/ 45 w 126"/>
                <a:gd name="T35" fmla="*/ 145 h 147"/>
                <a:gd name="T36" fmla="*/ 47 w 126"/>
                <a:gd name="T37" fmla="*/ 130 h 147"/>
                <a:gd name="T38" fmla="*/ 43 w 126"/>
                <a:gd name="T39" fmla="*/ 125 h 147"/>
                <a:gd name="T40" fmla="*/ 42 w 126"/>
                <a:gd name="T41" fmla="*/ 120 h 147"/>
                <a:gd name="T42" fmla="*/ 59 w 126"/>
                <a:gd name="T43" fmla="*/ 81 h 147"/>
                <a:gd name="T44" fmla="*/ 59 w 126"/>
                <a:gd name="T45" fmla="*/ 77 h 147"/>
                <a:gd name="T46" fmla="*/ 40 w 126"/>
                <a:gd name="T47" fmla="*/ 59 h 147"/>
                <a:gd name="T48" fmla="*/ 40 w 126"/>
                <a:gd name="T49" fmla="*/ 55 h 147"/>
                <a:gd name="T50" fmla="*/ 61 w 126"/>
                <a:gd name="T51" fmla="*/ 35 h 147"/>
                <a:gd name="T52" fmla="*/ 65 w 126"/>
                <a:gd name="T53" fmla="*/ 35 h 147"/>
                <a:gd name="T54" fmla="*/ 84 w 126"/>
                <a:gd name="T55" fmla="*/ 5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147">
                  <a:moveTo>
                    <a:pt x="84" y="54"/>
                  </a:moveTo>
                  <a:cubicBezTo>
                    <a:pt x="85" y="55"/>
                    <a:pt x="87" y="55"/>
                    <a:pt x="88" y="54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4" y="38"/>
                    <a:pt x="126" y="34"/>
                    <a:pt x="124" y="30"/>
                  </a:cubicBezTo>
                  <a:cubicBezTo>
                    <a:pt x="122" y="26"/>
                    <a:pt x="117" y="24"/>
                    <a:pt x="113" y="26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7"/>
                    <a:pt x="89" y="37"/>
                    <a:pt x="89" y="36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0"/>
                    <a:pt x="51" y="0"/>
                    <a:pt x="50" y="1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51"/>
                    <a:pt x="0" y="52"/>
                    <a:pt x="1" y="53"/>
                  </a:cubicBezTo>
                  <a:cubicBezTo>
                    <a:pt x="7" y="59"/>
                    <a:pt x="27" y="76"/>
                    <a:pt x="34" y="82"/>
                  </a:cubicBezTo>
                  <a:cubicBezTo>
                    <a:pt x="35" y="83"/>
                    <a:pt x="36" y="85"/>
                    <a:pt x="35" y="86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4"/>
                    <a:pt x="18" y="126"/>
                    <a:pt x="19" y="127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2" y="145"/>
                    <a:pt x="35" y="147"/>
                    <a:pt x="38" y="147"/>
                  </a:cubicBezTo>
                  <a:cubicBezTo>
                    <a:pt x="40" y="147"/>
                    <a:pt x="42" y="146"/>
                    <a:pt x="45" y="145"/>
                  </a:cubicBezTo>
                  <a:cubicBezTo>
                    <a:pt x="49" y="141"/>
                    <a:pt x="50" y="135"/>
                    <a:pt x="47" y="130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2" y="124"/>
                    <a:pt x="42" y="122"/>
                    <a:pt x="42" y="120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60" y="79"/>
                    <a:pt x="60" y="78"/>
                    <a:pt x="59" y="77"/>
                  </a:cubicBezTo>
                  <a:cubicBezTo>
                    <a:pt x="55" y="73"/>
                    <a:pt x="45" y="63"/>
                    <a:pt x="40" y="59"/>
                  </a:cubicBezTo>
                  <a:cubicBezTo>
                    <a:pt x="39" y="58"/>
                    <a:pt x="39" y="56"/>
                    <a:pt x="40" y="5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4" y="34"/>
                    <a:pt x="65" y="35"/>
                  </a:cubicBez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1" name="íśḷíḍé">
              <a:extLst>
                <a:ext uri="{FF2B5EF4-FFF2-40B4-BE49-F238E27FC236}">
                  <a16:creationId xmlns:a16="http://schemas.microsoft.com/office/drawing/2014/main" id="{40124F56-1359-4F35-9AD4-F43C0DFBE8A0}"/>
                </a:ext>
              </a:extLst>
            </p:cNvPr>
            <p:cNvSpPr/>
            <p:nvPr/>
          </p:nvSpPr>
          <p:spPr bwMode="auto">
            <a:xfrm flipH="1">
              <a:off x="2207251" y="3573215"/>
              <a:ext cx="215180" cy="126370"/>
            </a:xfrm>
            <a:custGeom>
              <a:avLst/>
              <a:gdLst>
                <a:gd name="T0" fmla="*/ 100 w 100"/>
                <a:gd name="T1" fmla="*/ 62 h 62"/>
                <a:gd name="T2" fmla="*/ 100 w 100"/>
                <a:gd name="T3" fmla="*/ 19 h 62"/>
                <a:gd name="T4" fmla="*/ 81 w 100"/>
                <a:gd name="T5" fmla="*/ 0 h 62"/>
                <a:gd name="T6" fmla="*/ 19 w 100"/>
                <a:gd name="T7" fmla="*/ 0 h 62"/>
                <a:gd name="T8" fmla="*/ 0 w 100"/>
                <a:gd name="T9" fmla="*/ 19 h 62"/>
                <a:gd name="T10" fmla="*/ 0 w 100"/>
                <a:gd name="T11" fmla="*/ 43 h 62"/>
                <a:gd name="T12" fmla="*/ 15 w 100"/>
                <a:gd name="T13" fmla="*/ 43 h 62"/>
                <a:gd name="T14" fmla="*/ 15 w 100"/>
                <a:gd name="T15" fmla="*/ 19 h 62"/>
                <a:gd name="T16" fmla="*/ 19 w 100"/>
                <a:gd name="T17" fmla="*/ 15 h 62"/>
                <a:gd name="T18" fmla="*/ 81 w 100"/>
                <a:gd name="T19" fmla="*/ 15 h 62"/>
                <a:gd name="T20" fmla="*/ 85 w 100"/>
                <a:gd name="T21" fmla="*/ 19 h 62"/>
                <a:gd name="T22" fmla="*/ 85 w 100"/>
                <a:gd name="T23" fmla="*/ 62 h 62"/>
                <a:gd name="T24" fmla="*/ 100 w 100"/>
                <a:gd name="T2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62">
                  <a:moveTo>
                    <a:pt x="100" y="62"/>
                  </a:moveTo>
                  <a:cubicBezTo>
                    <a:pt x="100" y="19"/>
                    <a:pt x="100" y="19"/>
                    <a:pt x="100" y="19"/>
                  </a:cubicBezTo>
                  <a:cubicBezTo>
                    <a:pt x="100" y="9"/>
                    <a:pt x="92" y="0"/>
                    <a:pt x="8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7"/>
                    <a:pt x="16" y="15"/>
                    <a:pt x="19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4" y="15"/>
                    <a:pt x="85" y="17"/>
                    <a:pt x="85" y="19"/>
                  </a:cubicBezTo>
                  <a:cubicBezTo>
                    <a:pt x="85" y="62"/>
                    <a:pt x="85" y="62"/>
                    <a:pt x="85" y="62"/>
                  </a:cubicBezTo>
                  <a:lnTo>
                    <a:pt x="10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2" name="îśliḓe">
              <a:extLst>
                <a:ext uri="{FF2B5EF4-FFF2-40B4-BE49-F238E27FC236}">
                  <a16:creationId xmlns:a16="http://schemas.microsoft.com/office/drawing/2014/main" id="{34FA8E00-1149-41AE-91BB-9FA48EA73FED}"/>
                </a:ext>
              </a:extLst>
            </p:cNvPr>
            <p:cNvSpPr/>
            <p:nvPr/>
          </p:nvSpPr>
          <p:spPr bwMode="auto">
            <a:xfrm flipH="1">
              <a:off x="2178986" y="3707322"/>
              <a:ext cx="273534" cy="147002"/>
            </a:xfrm>
            <a:custGeom>
              <a:avLst/>
              <a:gdLst>
                <a:gd name="T0" fmla="*/ 99 w 127"/>
                <a:gd name="T1" fmla="*/ 0 h 72"/>
                <a:gd name="T2" fmla="*/ 64 w 127"/>
                <a:gd name="T3" fmla="*/ 0 h 72"/>
                <a:gd name="T4" fmla="*/ 64 w 127"/>
                <a:gd name="T5" fmla="*/ 20 h 72"/>
                <a:gd name="T6" fmla="*/ 75 w 127"/>
                <a:gd name="T7" fmla="*/ 31 h 72"/>
                <a:gd name="T8" fmla="*/ 68 w 127"/>
                <a:gd name="T9" fmla="*/ 41 h 72"/>
                <a:gd name="T10" fmla="*/ 68 w 127"/>
                <a:gd name="T11" fmla="*/ 41 h 72"/>
                <a:gd name="T12" fmla="*/ 68 w 127"/>
                <a:gd name="T13" fmla="*/ 59 h 72"/>
                <a:gd name="T14" fmla="*/ 64 w 127"/>
                <a:gd name="T15" fmla="*/ 59 h 72"/>
                <a:gd name="T16" fmla="*/ 64 w 127"/>
                <a:gd name="T17" fmla="*/ 72 h 72"/>
                <a:gd name="T18" fmla="*/ 127 w 127"/>
                <a:gd name="T19" fmla="*/ 72 h 72"/>
                <a:gd name="T20" fmla="*/ 127 w 127"/>
                <a:gd name="T21" fmla="*/ 0 h 72"/>
                <a:gd name="T22" fmla="*/ 114 w 127"/>
                <a:gd name="T23" fmla="*/ 0 h 72"/>
                <a:gd name="T24" fmla="*/ 99 w 127"/>
                <a:gd name="T25" fmla="*/ 0 h 72"/>
                <a:gd name="T26" fmla="*/ 64 w 127"/>
                <a:gd name="T27" fmla="*/ 0 h 72"/>
                <a:gd name="T28" fmla="*/ 0 w 127"/>
                <a:gd name="T29" fmla="*/ 0 h 72"/>
                <a:gd name="T30" fmla="*/ 0 w 127"/>
                <a:gd name="T31" fmla="*/ 72 h 72"/>
                <a:gd name="T32" fmla="*/ 64 w 127"/>
                <a:gd name="T33" fmla="*/ 72 h 72"/>
                <a:gd name="T34" fmla="*/ 64 w 127"/>
                <a:gd name="T35" fmla="*/ 59 h 72"/>
                <a:gd name="T36" fmla="*/ 59 w 127"/>
                <a:gd name="T37" fmla="*/ 59 h 72"/>
                <a:gd name="T38" fmla="*/ 59 w 127"/>
                <a:gd name="T39" fmla="*/ 41 h 72"/>
                <a:gd name="T40" fmla="*/ 52 w 127"/>
                <a:gd name="T41" fmla="*/ 31 h 72"/>
                <a:gd name="T42" fmla="*/ 64 w 127"/>
                <a:gd name="T43" fmla="*/ 20 h 72"/>
                <a:gd name="T44" fmla="*/ 64 w 127"/>
                <a:gd name="T45" fmla="*/ 20 h 72"/>
                <a:gd name="T46" fmla="*/ 64 w 127"/>
                <a:gd name="T4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7" h="72">
                  <a:moveTo>
                    <a:pt x="99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70" y="20"/>
                    <a:pt x="75" y="25"/>
                    <a:pt x="75" y="31"/>
                  </a:cubicBezTo>
                  <a:cubicBezTo>
                    <a:pt x="75" y="36"/>
                    <a:pt x="72" y="40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14" y="0"/>
                    <a:pt x="114" y="0"/>
                    <a:pt x="114" y="0"/>
                  </a:cubicBezTo>
                  <a:lnTo>
                    <a:pt x="99" y="0"/>
                  </a:lnTo>
                  <a:close/>
                  <a:moveTo>
                    <a:pt x="6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5" y="40"/>
                    <a:pt x="52" y="36"/>
                    <a:pt x="52" y="31"/>
                  </a:cubicBezTo>
                  <a:cubicBezTo>
                    <a:pt x="52" y="25"/>
                    <a:pt x="57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3" name="î$ľïde">
              <a:extLst>
                <a:ext uri="{FF2B5EF4-FFF2-40B4-BE49-F238E27FC236}">
                  <a16:creationId xmlns:a16="http://schemas.microsoft.com/office/drawing/2014/main" id="{C18AFED2-178A-4818-8DB5-AA2AA7F566CC}"/>
                </a:ext>
              </a:extLst>
            </p:cNvPr>
            <p:cNvSpPr/>
            <p:nvPr/>
          </p:nvSpPr>
          <p:spPr bwMode="auto">
            <a:xfrm flipH="1">
              <a:off x="4448403" y="3073753"/>
              <a:ext cx="394800" cy="349021"/>
            </a:xfrm>
            <a:custGeom>
              <a:avLst/>
              <a:gdLst>
                <a:gd name="T0" fmla="*/ 26 w 183"/>
                <a:gd name="T1" fmla="*/ 139 h 172"/>
                <a:gd name="T2" fmla="*/ 76 w 183"/>
                <a:gd name="T3" fmla="*/ 113 h 172"/>
                <a:gd name="T4" fmla="*/ 85 w 183"/>
                <a:gd name="T5" fmla="*/ 111 h 172"/>
                <a:gd name="T6" fmla="*/ 86 w 183"/>
                <a:gd name="T7" fmla="*/ 121 h 172"/>
                <a:gd name="T8" fmla="*/ 85 w 183"/>
                <a:gd name="T9" fmla="*/ 142 h 172"/>
                <a:gd name="T10" fmla="*/ 84 w 183"/>
                <a:gd name="T11" fmla="*/ 172 h 172"/>
                <a:gd name="T12" fmla="*/ 99 w 183"/>
                <a:gd name="T13" fmla="*/ 172 h 172"/>
                <a:gd name="T14" fmla="*/ 98 w 183"/>
                <a:gd name="T15" fmla="*/ 142 h 172"/>
                <a:gd name="T16" fmla="*/ 97 w 183"/>
                <a:gd name="T17" fmla="*/ 121 h 172"/>
                <a:gd name="T18" fmla="*/ 97 w 183"/>
                <a:gd name="T19" fmla="*/ 111 h 172"/>
                <a:gd name="T20" fmla="*/ 106 w 183"/>
                <a:gd name="T21" fmla="*/ 113 h 172"/>
                <a:gd name="T22" fmla="*/ 156 w 183"/>
                <a:gd name="T23" fmla="*/ 139 h 172"/>
                <a:gd name="T24" fmla="*/ 176 w 183"/>
                <a:gd name="T25" fmla="*/ 119 h 172"/>
                <a:gd name="T26" fmla="*/ 164 w 183"/>
                <a:gd name="T27" fmla="*/ 56 h 172"/>
                <a:gd name="T28" fmla="*/ 102 w 183"/>
                <a:gd name="T29" fmla="*/ 96 h 172"/>
                <a:gd name="T30" fmla="*/ 99 w 183"/>
                <a:gd name="T31" fmla="*/ 90 h 172"/>
                <a:gd name="T32" fmla="*/ 110 w 183"/>
                <a:gd name="T33" fmla="*/ 69 h 172"/>
                <a:gd name="T34" fmla="*/ 131 w 183"/>
                <a:gd name="T35" fmla="*/ 21 h 172"/>
                <a:gd name="T36" fmla="*/ 91 w 183"/>
                <a:gd name="T37" fmla="*/ 1 h 172"/>
                <a:gd name="T38" fmla="*/ 52 w 183"/>
                <a:gd name="T39" fmla="*/ 21 h 172"/>
                <a:gd name="T40" fmla="*/ 72 w 183"/>
                <a:gd name="T41" fmla="*/ 69 h 172"/>
                <a:gd name="T42" fmla="*/ 83 w 183"/>
                <a:gd name="T43" fmla="*/ 90 h 172"/>
                <a:gd name="T44" fmla="*/ 81 w 183"/>
                <a:gd name="T45" fmla="*/ 96 h 172"/>
                <a:gd name="T46" fmla="*/ 19 w 183"/>
                <a:gd name="T47" fmla="*/ 56 h 172"/>
                <a:gd name="T48" fmla="*/ 6 w 183"/>
                <a:gd name="T49" fmla="*/ 119 h 172"/>
                <a:gd name="T50" fmla="*/ 26 w 183"/>
                <a:gd name="T51" fmla="*/ 13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72">
                  <a:moveTo>
                    <a:pt x="26" y="139"/>
                  </a:moveTo>
                  <a:cubicBezTo>
                    <a:pt x="45" y="141"/>
                    <a:pt x="61" y="121"/>
                    <a:pt x="76" y="113"/>
                  </a:cubicBezTo>
                  <a:cubicBezTo>
                    <a:pt x="78" y="112"/>
                    <a:pt x="83" y="109"/>
                    <a:pt x="85" y="111"/>
                  </a:cubicBezTo>
                  <a:cubicBezTo>
                    <a:pt x="87" y="114"/>
                    <a:pt x="86" y="118"/>
                    <a:pt x="86" y="121"/>
                  </a:cubicBezTo>
                  <a:cubicBezTo>
                    <a:pt x="86" y="128"/>
                    <a:pt x="85" y="135"/>
                    <a:pt x="85" y="142"/>
                  </a:cubicBezTo>
                  <a:cubicBezTo>
                    <a:pt x="85" y="150"/>
                    <a:pt x="84" y="164"/>
                    <a:pt x="84" y="172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98" y="164"/>
                    <a:pt x="98" y="150"/>
                    <a:pt x="98" y="142"/>
                  </a:cubicBezTo>
                  <a:cubicBezTo>
                    <a:pt x="97" y="135"/>
                    <a:pt x="97" y="128"/>
                    <a:pt x="97" y="121"/>
                  </a:cubicBezTo>
                  <a:cubicBezTo>
                    <a:pt x="97" y="118"/>
                    <a:pt x="96" y="114"/>
                    <a:pt x="97" y="111"/>
                  </a:cubicBezTo>
                  <a:cubicBezTo>
                    <a:pt x="99" y="109"/>
                    <a:pt x="105" y="112"/>
                    <a:pt x="106" y="113"/>
                  </a:cubicBezTo>
                  <a:cubicBezTo>
                    <a:pt x="122" y="121"/>
                    <a:pt x="137" y="141"/>
                    <a:pt x="156" y="139"/>
                  </a:cubicBezTo>
                  <a:cubicBezTo>
                    <a:pt x="167" y="137"/>
                    <a:pt x="173" y="128"/>
                    <a:pt x="176" y="119"/>
                  </a:cubicBezTo>
                  <a:cubicBezTo>
                    <a:pt x="182" y="101"/>
                    <a:pt x="183" y="68"/>
                    <a:pt x="164" y="56"/>
                  </a:cubicBezTo>
                  <a:cubicBezTo>
                    <a:pt x="135" y="39"/>
                    <a:pt x="126" y="94"/>
                    <a:pt x="102" y="96"/>
                  </a:cubicBezTo>
                  <a:cubicBezTo>
                    <a:pt x="97" y="96"/>
                    <a:pt x="98" y="94"/>
                    <a:pt x="99" y="90"/>
                  </a:cubicBezTo>
                  <a:cubicBezTo>
                    <a:pt x="101" y="82"/>
                    <a:pt x="105" y="75"/>
                    <a:pt x="110" y="69"/>
                  </a:cubicBezTo>
                  <a:cubicBezTo>
                    <a:pt x="120" y="56"/>
                    <a:pt x="134" y="39"/>
                    <a:pt x="131" y="21"/>
                  </a:cubicBezTo>
                  <a:cubicBezTo>
                    <a:pt x="128" y="5"/>
                    <a:pt x="109" y="0"/>
                    <a:pt x="91" y="1"/>
                  </a:cubicBezTo>
                  <a:cubicBezTo>
                    <a:pt x="74" y="0"/>
                    <a:pt x="54" y="5"/>
                    <a:pt x="52" y="21"/>
                  </a:cubicBezTo>
                  <a:cubicBezTo>
                    <a:pt x="49" y="39"/>
                    <a:pt x="62" y="56"/>
                    <a:pt x="72" y="69"/>
                  </a:cubicBezTo>
                  <a:cubicBezTo>
                    <a:pt x="77" y="75"/>
                    <a:pt x="81" y="82"/>
                    <a:pt x="83" y="90"/>
                  </a:cubicBezTo>
                  <a:cubicBezTo>
                    <a:pt x="85" y="94"/>
                    <a:pt x="85" y="96"/>
                    <a:pt x="81" y="96"/>
                  </a:cubicBezTo>
                  <a:cubicBezTo>
                    <a:pt x="57" y="94"/>
                    <a:pt x="47" y="39"/>
                    <a:pt x="19" y="56"/>
                  </a:cubicBezTo>
                  <a:cubicBezTo>
                    <a:pt x="0" y="68"/>
                    <a:pt x="0" y="101"/>
                    <a:pt x="6" y="119"/>
                  </a:cubicBezTo>
                  <a:cubicBezTo>
                    <a:pt x="9" y="128"/>
                    <a:pt x="16" y="137"/>
                    <a:pt x="26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4" name="í$ḻïḍe">
              <a:extLst>
                <a:ext uri="{FF2B5EF4-FFF2-40B4-BE49-F238E27FC236}">
                  <a16:creationId xmlns:a16="http://schemas.microsoft.com/office/drawing/2014/main" id="{1B31A260-1660-4847-8A7C-CA14D0A0DE4B}"/>
                </a:ext>
              </a:extLst>
            </p:cNvPr>
            <p:cNvSpPr/>
            <p:nvPr/>
          </p:nvSpPr>
          <p:spPr bwMode="auto">
            <a:xfrm flipH="1">
              <a:off x="2916615" y="1082785"/>
              <a:ext cx="282651" cy="284547"/>
            </a:xfrm>
            <a:custGeom>
              <a:avLst/>
              <a:gdLst>
                <a:gd name="T0" fmla="*/ 108 w 131"/>
                <a:gd name="T1" fmla="*/ 96 h 140"/>
                <a:gd name="T2" fmla="*/ 118 w 131"/>
                <a:gd name="T3" fmla="*/ 91 h 140"/>
                <a:gd name="T4" fmla="*/ 129 w 131"/>
                <a:gd name="T5" fmla="*/ 87 h 140"/>
                <a:gd name="T6" fmla="*/ 130 w 131"/>
                <a:gd name="T7" fmla="*/ 70 h 140"/>
                <a:gd name="T8" fmla="*/ 127 w 131"/>
                <a:gd name="T9" fmla="*/ 41 h 140"/>
                <a:gd name="T10" fmla="*/ 98 w 131"/>
                <a:gd name="T11" fmla="*/ 66 h 140"/>
                <a:gd name="T12" fmla="*/ 88 w 131"/>
                <a:gd name="T13" fmla="*/ 76 h 140"/>
                <a:gd name="T14" fmla="*/ 88 w 131"/>
                <a:gd name="T15" fmla="*/ 65 h 140"/>
                <a:gd name="T16" fmla="*/ 98 w 131"/>
                <a:gd name="T17" fmla="*/ 46 h 140"/>
                <a:gd name="T18" fmla="*/ 89 w 131"/>
                <a:gd name="T19" fmla="*/ 28 h 140"/>
                <a:gd name="T20" fmla="*/ 66 w 131"/>
                <a:gd name="T21" fmla="*/ 1 h 140"/>
                <a:gd name="T22" fmla="*/ 66 w 131"/>
                <a:gd name="T23" fmla="*/ 0 h 140"/>
                <a:gd name="T24" fmla="*/ 65 w 131"/>
                <a:gd name="T25" fmla="*/ 0 h 140"/>
                <a:gd name="T26" fmla="*/ 65 w 131"/>
                <a:gd name="T27" fmla="*/ 0 h 140"/>
                <a:gd name="T28" fmla="*/ 65 w 131"/>
                <a:gd name="T29" fmla="*/ 1 h 140"/>
                <a:gd name="T30" fmla="*/ 42 w 131"/>
                <a:gd name="T31" fmla="*/ 28 h 140"/>
                <a:gd name="T32" fmla="*/ 33 w 131"/>
                <a:gd name="T33" fmla="*/ 46 h 140"/>
                <a:gd name="T34" fmla="*/ 43 w 131"/>
                <a:gd name="T35" fmla="*/ 65 h 140"/>
                <a:gd name="T36" fmla="*/ 43 w 131"/>
                <a:gd name="T37" fmla="*/ 76 h 140"/>
                <a:gd name="T38" fmla="*/ 33 w 131"/>
                <a:gd name="T39" fmla="*/ 66 h 140"/>
                <a:gd name="T40" fmla="*/ 4 w 131"/>
                <a:gd name="T41" fmla="*/ 41 h 140"/>
                <a:gd name="T42" fmla="*/ 1 w 131"/>
                <a:gd name="T43" fmla="*/ 70 h 140"/>
                <a:gd name="T44" fmla="*/ 2 w 131"/>
                <a:gd name="T45" fmla="*/ 87 h 140"/>
                <a:gd name="T46" fmla="*/ 13 w 131"/>
                <a:gd name="T47" fmla="*/ 91 h 140"/>
                <a:gd name="T48" fmla="*/ 23 w 131"/>
                <a:gd name="T49" fmla="*/ 96 h 140"/>
                <a:gd name="T50" fmla="*/ 21 w 131"/>
                <a:gd name="T51" fmla="*/ 103 h 140"/>
                <a:gd name="T52" fmla="*/ 1 w 131"/>
                <a:gd name="T53" fmla="*/ 96 h 140"/>
                <a:gd name="T54" fmla="*/ 30 w 131"/>
                <a:gd name="T55" fmla="*/ 137 h 140"/>
                <a:gd name="T56" fmla="*/ 44 w 131"/>
                <a:gd name="T57" fmla="*/ 135 h 140"/>
                <a:gd name="T58" fmla="*/ 58 w 131"/>
                <a:gd name="T59" fmla="*/ 126 h 140"/>
                <a:gd name="T60" fmla="*/ 62 w 131"/>
                <a:gd name="T61" fmla="*/ 124 h 140"/>
                <a:gd name="T62" fmla="*/ 62 w 131"/>
                <a:gd name="T63" fmla="*/ 118 h 140"/>
                <a:gd name="T64" fmla="*/ 65 w 131"/>
                <a:gd name="T65" fmla="*/ 62 h 140"/>
                <a:gd name="T66" fmla="*/ 69 w 131"/>
                <a:gd name="T67" fmla="*/ 118 h 140"/>
                <a:gd name="T68" fmla="*/ 69 w 131"/>
                <a:gd name="T69" fmla="*/ 124 h 140"/>
                <a:gd name="T70" fmla="*/ 73 w 131"/>
                <a:gd name="T71" fmla="*/ 126 h 140"/>
                <a:gd name="T72" fmla="*/ 87 w 131"/>
                <a:gd name="T73" fmla="*/ 135 h 140"/>
                <a:gd name="T74" fmla="*/ 101 w 131"/>
                <a:gd name="T75" fmla="*/ 137 h 140"/>
                <a:gd name="T76" fmla="*/ 130 w 131"/>
                <a:gd name="T77" fmla="*/ 96 h 140"/>
                <a:gd name="T78" fmla="*/ 110 w 131"/>
                <a:gd name="T79" fmla="*/ 103 h 140"/>
                <a:gd name="T80" fmla="*/ 108 w 131"/>
                <a:gd name="T81" fmla="*/ 9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1" h="140">
                  <a:moveTo>
                    <a:pt x="108" y="96"/>
                  </a:moveTo>
                  <a:cubicBezTo>
                    <a:pt x="111" y="94"/>
                    <a:pt x="114" y="93"/>
                    <a:pt x="118" y="91"/>
                  </a:cubicBezTo>
                  <a:cubicBezTo>
                    <a:pt x="121" y="90"/>
                    <a:pt x="125" y="89"/>
                    <a:pt x="129" y="87"/>
                  </a:cubicBezTo>
                  <a:cubicBezTo>
                    <a:pt x="130" y="81"/>
                    <a:pt x="131" y="76"/>
                    <a:pt x="130" y="70"/>
                  </a:cubicBezTo>
                  <a:cubicBezTo>
                    <a:pt x="129" y="60"/>
                    <a:pt x="127" y="51"/>
                    <a:pt x="127" y="41"/>
                  </a:cubicBezTo>
                  <a:cubicBezTo>
                    <a:pt x="115" y="48"/>
                    <a:pt x="101" y="52"/>
                    <a:pt x="98" y="66"/>
                  </a:cubicBezTo>
                  <a:cubicBezTo>
                    <a:pt x="97" y="69"/>
                    <a:pt x="93" y="79"/>
                    <a:pt x="88" y="76"/>
                  </a:cubicBezTo>
                  <a:cubicBezTo>
                    <a:pt x="84" y="73"/>
                    <a:pt x="86" y="68"/>
                    <a:pt x="88" y="65"/>
                  </a:cubicBezTo>
                  <a:cubicBezTo>
                    <a:pt x="92" y="59"/>
                    <a:pt x="98" y="54"/>
                    <a:pt x="98" y="46"/>
                  </a:cubicBezTo>
                  <a:cubicBezTo>
                    <a:pt x="98" y="39"/>
                    <a:pt x="93" y="33"/>
                    <a:pt x="89" y="28"/>
                  </a:cubicBezTo>
                  <a:cubicBezTo>
                    <a:pt x="82" y="19"/>
                    <a:pt x="73" y="11"/>
                    <a:pt x="66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58" y="11"/>
                    <a:pt x="49" y="19"/>
                    <a:pt x="42" y="28"/>
                  </a:cubicBezTo>
                  <a:cubicBezTo>
                    <a:pt x="38" y="33"/>
                    <a:pt x="33" y="39"/>
                    <a:pt x="33" y="46"/>
                  </a:cubicBezTo>
                  <a:cubicBezTo>
                    <a:pt x="33" y="54"/>
                    <a:pt x="39" y="59"/>
                    <a:pt x="43" y="65"/>
                  </a:cubicBezTo>
                  <a:cubicBezTo>
                    <a:pt x="45" y="68"/>
                    <a:pt x="47" y="73"/>
                    <a:pt x="43" y="76"/>
                  </a:cubicBezTo>
                  <a:cubicBezTo>
                    <a:pt x="38" y="79"/>
                    <a:pt x="34" y="69"/>
                    <a:pt x="33" y="66"/>
                  </a:cubicBezTo>
                  <a:cubicBezTo>
                    <a:pt x="30" y="52"/>
                    <a:pt x="16" y="48"/>
                    <a:pt x="4" y="41"/>
                  </a:cubicBezTo>
                  <a:cubicBezTo>
                    <a:pt x="4" y="51"/>
                    <a:pt x="2" y="60"/>
                    <a:pt x="1" y="70"/>
                  </a:cubicBezTo>
                  <a:cubicBezTo>
                    <a:pt x="0" y="76"/>
                    <a:pt x="1" y="81"/>
                    <a:pt x="2" y="87"/>
                  </a:cubicBezTo>
                  <a:cubicBezTo>
                    <a:pt x="6" y="89"/>
                    <a:pt x="10" y="90"/>
                    <a:pt x="13" y="91"/>
                  </a:cubicBezTo>
                  <a:cubicBezTo>
                    <a:pt x="17" y="93"/>
                    <a:pt x="20" y="94"/>
                    <a:pt x="23" y="96"/>
                  </a:cubicBezTo>
                  <a:cubicBezTo>
                    <a:pt x="26" y="98"/>
                    <a:pt x="26" y="104"/>
                    <a:pt x="21" y="103"/>
                  </a:cubicBezTo>
                  <a:cubicBezTo>
                    <a:pt x="14" y="102"/>
                    <a:pt x="8" y="95"/>
                    <a:pt x="1" y="96"/>
                  </a:cubicBezTo>
                  <a:cubicBezTo>
                    <a:pt x="4" y="114"/>
                    <a:pt x="13" y="130"/>
                    <a:pt x="30" y="137"/>
                  </a:cubicBezTo>
                  <a:cubicBezTo>
                    <a:pt x="36" y="140"/>
                    <a:pt x="39" y="139"/>
                    <a:pt x="44" y="135"/>
                  </a:cubicBezTo>
                  <a:cubicBezTo>
                    <a:pt x="49" y="131"/>
                    <a:pt x="52" y="127"/>
                    <a:pt x="58" y="126"/>
                  </a:cubicBezTo>
                  <a:cubicBezTo>
                    <a:pt x="60" y="126"/>
                    <a:pt x="62" y="127"/>
                    <a:pt x="62" y="124"/>
                  </a:cubicBezTo>
                  <a:cubicBezTo>
                    <a:pt x="62" y="122"/>
                    <a:pt x="62" y="120"/>
                    <a:pt x="62" y="118"/>
                  </a:cubicBezTo>
                  <a:cubicBezTo>
                    <a:pt x="63" y="97"/>
                    <a:pt x="65" y="84"/>
                    <a:pt x="65" y="62"/>
                  </a:cubicBezTo>
                  <a:cubicBezTo>
                    <a:pt x="66" y="84"/>
                    <a:pt x="68" y="97"/>
                    <a:pt x="69" y="118"/>
                  </a:cubicBezTo>
                  <a:cubicBezTo>
                    <a:pt x="69" y="120"/>
                    <a:pt x="69" y="122"/>
                    <a:pt x="69" y="124"/>
                  </a:cubicBezTo>
                  <a:cubicBezTo>
                    <a:pt x="69" y="127"/>
                    <a:pt x="71" y="126"/>
                    <a:pt x="73" y="126"/>
                  </a:cubicBezTo>
                  <a:cubicBezTo>
                    <a:pt x="79" y="127"/>
                    <a:pt x="82" y="131"/>
                    <a:pt x="87" y="135"/>
                  </a:cubicBezTo>
                  <a:cubicBezTo>
                    <a:pt x="92" y="139"/>
                    <a:pt x="95" y="140"/>
                    <a:pt x="101" y="137"/>
                  </a:cubicBezTo>
                  <a:cubicBezTo>
                    <a:pt x="118" y="130"/>
                    <a:pt x="127" y="114"/>
                    <a:pt x="130" y="96"/>
                  </a:cubicBezTo>
                  <a:cubicBezTo>
                    <a:pt x="123" y="95"/>
                    <a:pt x="117" y="102"/>
                    <a:pt x="110" y="103"/>
                  </a:cubicBezTo>
                  <a:cubicBezTo>
                    <a:pt x="105" y="104"/>
                    <a:pt x="105" y="98"/>
                    <a:pt x="10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5" name="îşḷíḍê">
              <a:extLst>
                <a:ext uri="{FF2B5EF4-FFF2-40B4-BE49-F238E27FC236}">
                  <a16:creationId xmlns:a16="http://schemas.microsoft.com/office/drawing/2014/main" id="{F97362ED-9DB9-4242-83B3-403FFE868B63}"/>
                </a:ext>
              </a:extLst>
            </p:cNvPr>
            <p:cNvSpPr/>
            <p:nvPr/>
          </p:nvSpPr>
          <p:spPr bwMode="auto">
            <a:xfrm flipH="1">
              <a:off x="3047911" y="1347559"/>
              <a:ext cx="20059" cy="851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6" name="íṡḻiḑé">
              <a:extLst>
                <a:ext uri="{FF2B5EF4-FFF2-40B4-BE49-F238E27FC236}">
                  <a16:creationId xmlns:a16="http://schemas.microsoft.com/office/drawing/2014/main" id="{03839477-A2C9-4C7C-A1EB-E1A174390065}"/>
                </a:ext>
              </a:extLst>
            </p:cNvPr>
            <p:cNvSpPr/>
            <p:nvPr/>
          </p:nvSpPr>
          <p:spPr bwMode="auto">
            <a:xfrm flipH="1">
              <a:off x="2662229" y="5966503"/>
              <a:ext cx="331887" cy="227810"/>
            </a:xfrm>
            <a:custGeom>
              <a:avLst/>
              <a:gdLst>
                <a:gd name="T0" fmla="*/ 103 w 154"/>
                <a:gd name="T1" fmla="*/ 112 h 112"/>
                <a:gd name="T2" fmla="*/ 154 w 154"/>
                <a:gd name="T3" fmla="*/ 112 h 112"/>
                <a:gd name="T4" fmla="*/ 154 w 154"/>
                <a:gd name="T5" fmla="*/ 0 h 112"/>
                <a:gd name="T6" fmla="*/ 103 w 154"/>
                <a:gd name="T7" fmla="*/ 0 h 112"/>
                <a:gd name="T8" fmla="*/ 103 w 154"/>
                <a:gd name="T9" fmla="*/ 47 h 112"/>
                <a:gd name="T10" fmla="*/ 140 w 154"/>
                <a:gd name="T11" fmla="*/ 99 h 112"/>
                <a:gd name="T12" fmla="*/ 103 w 154"/>
                <a:gd name="T13" fmla="*/ 99 h 112"/>
                <a:gd name="T14" fmla="*/ 103 w 154"/>
                <a:gd name="T15" fmla="*/ 112 h 112"/>
                <a:gd name="T16" fmla="*/ 70 w 154"/>
                <a:gd name="T17" fmla="*/ 112 h 112"/>
                <a:gd name="T18" fmla="*/ 103 w 154"/>
                <a:gd name="T19" fmla="*/ 112 h 112"/>
                <a:gd name="T20" fmla="*/ 103 w 154"/>
                <a:gd name="T21" fmla="*/ 99 h 112"/>
                <a:gd name="T22" fmla="*/ 80 w 154"/>
                <a:gd name="T23" fmla="*/ 99 h 112"/>
                <a:gd name="T24" fmla="*/ 78 w 154"/>
                <a:gd name="T25" fmla="*/ 96 h 112"/>
                <a:gd name="T26" fmla="*/ 70 w 154"/>
                <a:gd name="T27" fmla="*/ 85 h 112"/>
                <a:gd name="T28" fmla="*/ 70 w 154"/>
                <a:gd name="T29" fmla="*/ 92 h 112"/>
                <a:gd name="T30" fmla="*/ 75 w 154"/>
                <a:gd name="T31" fmla="*/ 99 h 112"/>
                <a:gd name="T32" fmla="*/ 70 w 154"/>
                <a:gd name="T33" fmla="*/ 99 h 112"/>
                <a:gd name="T34" fmla="*/ 70 w 154"/>
                <a:gd name="T35" fmla="*/ 112 h 112"/>
                <a:gd name="T36" fmla="*/ 103 w 154"/>
                <a:gd name="T37" fmla="*/ 0 h 112"/>
                <a:gd name="T38" fmla="*/ 70 w 154"/>
                <a:gd name="T39" fmla="*/ 0 h 112"/>
                <a:gd name="T40" fmla="*/ 70 w 154"/>
                <a:gd name="T41" fmla="*/ 72 h 112"/>
                <a:gd name="T42" fmla="*/ 95 w 154"/>
                <a:gd name="T43" fmla="*/ 37 h 112"/>
                <a:gd name="T44" fmla="*/ 95 w 154"/>
                <a:gd name="T45" fmla="*/ 37 h 112"/>
                <a:gd name="T46" fmla="*/ 103 w 154"/>
                <a:gd name="T47" fmla="*/ 47 h 112"/>
                <a:gd name="T48" fmla="*/ 103 w 154"/>
                <a:gd name="T49" fmla="*/ 0 h 112"/>
                <a:gd name="T50" fmla="*/ 44 w 154"/>
                <a:gd name="T51" fmla="*/ 112 h 112"/>
                <a:gd name="T52" fmla="*/ 70 w 154"/>
                <a:gd name="T53" fmla="*/ 112 h 112"/>
                <a:gd name="T54" fmla="*/ 70 w 154"/>
                <a:gd name="T55" fmla="*/ 99 h 112"/>
                <a:gd name="T56" fmla="*/ 51 w 154"/>
                <a:gd name="T57" fmla="*/ 99 h 112"/>
                <a:gd name="T58" fmla="*/ 44 w 154"/>
                <a:gd name="T59" fmla="*/ 99 h 112"/>
                <a:gd name="T60" fmla="*/ 44 w 154"/>
                <a:gd name="T61" fmla="*/ 112 h 112"/>
                <a:gd name="T62" fmla="*/ 70 w 154"/>
                <a:gd name="T63" fmla="*/ 0 h 112"/>
                <a:gd name="T64" fmla="*/ 44 w 154"/>
                <a:gd name="T65" fmla="*/ 0 h 112"/>
                <a:gd name="T66" fmla="*/ 44 w 154"/>
                <a:gd name="T67" fmla="*/ 19 h 112"/>
                <a:gd name="T68" fmla="*/ 47 w 154"/>
                <a:gd name="T69" fmla="*/ 27 h 112"/>
                <a:gd name="T70" fmla="*/ 44 w 154"/>
                <a:gd name="T71" fmla="*/ 35 h 112"/>
                <a:gd name="T72" fmla="*/ 44 w 154"/>
                <a:gd name="T73" fmla="*/ 56 h 112"/>
                <a:gd name="T74" fmla="*/ 44 w 154"/>
                <a:gd name="T75" fmla="*/ 56 h 112"/>
                <a:gd name="T76" fmla="*/ 63 w 154"/>
                <a:gd name="T77" fmla="*/ 82 h 112"/>
                <a:gd name="T78" fmla="*/ 70 w 154"/>
                <a:gd name="T79" fmla="*/ 92 h 112"/>
                <a:gd name="T80" fmla="*/ 70 w 154"/>
                <a:gd name="T81" fmla="*/ 85 h 112"/>
                <a:gd name="T82" fmla="*/ 66 w 154"/>
                <a:gd name="T83" fmla="*/ 78 h 112"/>
                <a:gd name="T84" fmla="*/ 70 w 154"/>
                <a:gd name="T85" fmla="*/ 72 h 112"/>
                <a:gd name="T86" fmla="*/ 70 w 154"/>
                <a:gd name="T87" fmla="*/ 0 h 112"/>
                <a:gd name="T88" fmla="*/ 0 w 154"/>
                <a:gd name="T89" fmla="*/ 112 h 112"/>
                <a:gd name="T90" fmla="*/ 44 w 154"/>
                <a:gd name="T91" fmla="*/ 112 h 112"/>
                <a:gd name="T92" fmla="*/ 44 w 154"/>
                <a:gd name="T93" fmla="*/ 99 h 112"/>
                <a:gd name="T94" fmla="*/ 13 w 154"/>
                <a:gd name="T95" fmla="*/ 99 h 112"/>
                <a:gd name="T96" fmla="*/ 13 w 154"/>
                <a:gd name="T97" fmla="*/ 99 h 112"/>
                <a:gd name="T98" fmla="*/ 44 w 154"/>
                <a:gd name="T99" fmla="*/ 56 h 112"/>
                <a:gd name="T100" fmla="*/ 44 w 154"/>
                <a:gd name="T101" fmla="*/ 35 h 112"/>
                <a:gd name="T102" fmla="*/ 35 w 154"/>
                <a:gd name="T103" fmla="*/ 39 h 112"/>
                <a:gd name="T104" fmla="*/ 22 w 154"/>
                <a:gd name="T105" fmla="*/ 27 h 112"/>
                <a:gd name="T106" fmla="*/ 35 w 154"/>
                <a:gd name="T107" fmla="*/ 15 h 112"/>
                <a:gd name="T108" fmla="*/ 35 w 154"/>
                <a:gd name="T109" fmla="*/ 15 h 112"/>
                <a:gd name="T110" fmla="*/ 44 w 154"/>
                <a:gd name="T111" fmla="*/ 19 h 112"/>
                <a:gd name="T112" fmla="*/ 44 w 154"/>
                <a:gd name="T113" fmla="*/ 0 h 112"/>
                <a:gd name="T114" fmla="*/ 0 w 154"/>
                <a:gd name="T115" fmla="*/ 0 h 112"/>
                <a:gd name="T116" fmla="*/ 0 w 154"/>
                <a:gd name="T1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4" h="112">
                  <a:moveTo>
                    <a:pt x="103" y="112"/>
                  </a:moveTo>
                  <a:cubicBezTo>
                    <a:pt x="154" y="112"/>
                    <a:pt x="154" y="112"/>
                    <a:pt x="154" y="11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40" y="99"/>
                    <a:pt x="140" y="99"/>
                    <a:pt x="140" y="99"/>
                  </a:cubicBezTo>
                  <a:cubicBezTo>
                    <a:pt x="103" y="99"/>
                    <a:pt x="103" y="99"/>
                    <a:pt x="103" y="99"/>
                  </a:cubicBezTo>
                  <a:lnTo>
                    <a:pt x="103" y="112"/>
                  </a:lnTo>
                  <a:close/>
                  <a:moveTo>
                    <a:pt x="70" y="112"/>
                  </a:moveTo>
                  <a:cubicBezTo>
                    <a:pt x="103" y="112"/>
                    <a:pt x="103" y="112"/>
                    <a:pt x="103" y="112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112"/>
                    <a:pt x="70" y="112"/>
                    <a:pt x="70" y="112"/>
                  </a:cubicBezTo>
                  <a:close/>
                  <a:moveTo>
                    <a:pt x="103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103" y="47"/>
                    <a:pt x="103" y="47"/>
                    <a:pt x="103" y="47"/>
                  </a:cubicBezTo>
                  <a:lnTo>
                    <a:pt x="103" y="0"/>
                  </a:lnTo>
                  <a:close/>
                  <a:moveTo>
                    <a:pt x="44" y="112"/>
                  </a:moveTo>
                  <a:cubicBezTo>
                    <a:pt x="70" y="112"/>
                    <a:pt x="70" y="112"/>
                    <a:pt x="70" y="112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7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21"/>
                    <a:pt x="47" y="24"/>
                    <a:pt x="47" y="27"/>
                  </a:cubicBezTo>
                  <a:cubicBezTo>
                    <a:pt x="47" y="30"/>
                    <a:pt x="46" y="32"/>
                    <a:pt x="44" y="3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70" y="72"/>
                    <a:pt x="70" y="72"/>
                    <a:pt x="70" y="72"/>
                  </a:cubicBezTo>
                  <a:lnTo>
                    <a:pt x="70" y="0"/>
                  </a:lnTo>
                  <a:close/>
                  <a:moveTo>
                    <a:pt x="0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2" y="37"/>
                    <a:pt x="38" y="39"/>
                    <a:pt x="35" y="39"/>
                  </a:cubicBezTo>
                  <a:cubicBezTo>
                    <a:pt x="28" y="39"/>
                    <a:pt x="22" y="34"/>
                    <a:pt x="22" y="27"/>
                  </a:cubicBezTo>
                  <a:cubicBezTo>
                    <a:pt x="22" y="20"/>
                    <a:pt x="28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8" y="15"/>
                    <a:pt x="42" y="17"/>
                    <a:pt x="44" y="1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7" name="îšḷíḋé">
              <a:extLst>
                <a:ext uri="{FF2B5EF4-FFF2-40B4-BE49-F238E27FC236}">
                  <a16:creationId xmlns:a16="http://schemas.microsoft.com/office/drawing/2014/main" id="{591B0AFC-A77C-4BEF-A195-82F7637CA16B}"/>
                </a:ext>
              </a:extLst>
            </p:cNvPr>
            <p:cNvSpPr/>
            <p:nvPr/>
          </p:nvSpPr>
          <p:spPr bwMode="auto">
            <a:xfrm flipH="1">
              <a:off x="3445447" y="3669497"/>
              <a:ext cx="336446" cy="304319"/>
            </a:xfrm>
            <a:custGeom>
              <a:avLst/>
              <a:gdLst>
                <a:gd name="T0" fmla="*/ 80 w 156"/>
                <a:gd name="T1" fmla="*/ 147 h 150"/>
                <a:gd name="T2" fmla="*/ 107 w 156"/>
                <a:gd name="T3" fmla="*/ 145 h 150"/>
                <a:gd name="T4" fmla="*/ 133 w 156"/>
                <a:gd name="T5" fmla="*/ 104 h 150"/>
                <a:gd name="T6" fmla="*/ 156 w 156"/>
                <a:gd name="T7" fmla="*/ 0 h 150"/>
                <a:gd name="T8" fmla="*/ 80 w 156"/>
                <a:gd name="T9" fmla="*/ 17 h 150"/>
                <a:gd name="T10" fmla="*/ 80 w 156"/>
                <a:gd name="T11" fmla="*/ 32 h 150"/>
                <a:gd name="T12" fmla="*/ 136 w 156"/>
                <a:gd name="T13" fmla="*/ 20 h 150"/>
                <a:gd name="T14" fmla="*/ 119 w 156"/>
                <a:gd name="T15" fmla="*/ 97 h 150"/>
                <a:gd name="T16" fmla="*/ 105 w 156"/>
                <a:gd name="T17" fmla="*/ 127 h 150"/>
                <a:gd name="T18" fmla="*/ 80 w 156"/>
                <a:gd name="T19" fmla="*/ 130 h 150"/>
                <a:gd name="T20" fmla="*/ 80 w 156"/>
                <a:gd name="T21" fmla="*/ 147 h 150"/>
                <a:gd name="T22" fmla="*/ 80 w 156"/>
                <a:gd name="T23" fmla="*/ 111 h 150"/>
                <a:gd name="T24" fmla="*/ 80 w 156"/>
                <a:gd name="T25" fmla="*/ 96 h 150"/>
                <a:gd name="T26" fmla="*/ 107 w 156"/>
                <a:gd name="T27" fmla="*/ 96 h 150"/>
                <a:gd name="T28" fmla="*/ 103 w 156"/>
                <a:gd name="T29" fmla="*/ 109 h 150"/>
                <a:gd name="T30" fmla="*/ 96 w 156"/>
                <a:gd name="T31" fmla="*/ 111 h 150"/>
                <a:gd name="T32" fmla="*/ 80 w 156"/>
                <a:gd name="T33" fmla="*/ 111 h 150"/>
                <a:gd name="T34" fmla="*/ 80 w 156"/>
                <a:gd name="T35" fmla="*/ 86 h 150"/>
                <a:gd name="T36" fmla="*/ 80 w 156"/>
                <a:gd name="T37" fmla="*/ 45 h 150"/>
                <a:gd name="T38" fmla="*/ 88 w 156"/>
                <a:gd name="T39" fmla="*/ 43 h 150"/>
                <a:gd name="T40" fmla="*/ 88 w 156"/>
                <a:gd name="T41" fmla="*/ 58 h 150"/>
                <a:gd name="T42" fmla="*/ 105 w 156"/>
                <a:gd name="T43" fmla="*/ 41 h 150"/>
                <a:gd name="T44" fmla="*/ 121 w 156"/>
                <a:gd name="T45" fmla="*/ 35 h 150"/>
                <a:gd name="T46" fmla="*/ 115 w 156"/>
                <a:gd name="T47" fmla="*/ 51 h 150"/>
                <a:gd name="T48" fmla="*/ 98 w 156"/>
                <a:gd name="T49" fmla="*/ 68 h 150"/>
                <a:gd name="T50" fmla="*/ 113 w 156"/>
                <a:gd name="T51" fmla="*/ 68 h 150"/>
                <a:gd name="T52" fmla="*/ 109 w 156"/>
                <a:gd name="T53" fmla="*/ 83 h 150"/>
                <a:gd name="T54" fmla="*/ 96 w 156"/>
                <a:gd name="T55" fmla="*/ 84 h 150"/>
                <a:gd name="T56" fmla="*/ 82 w 156"/>
                <a:gd name="T57" fmla="*/ 84 h 150"/>
                <a:gd name="T58" fmla="*/ 80 w 156"/>
                <a:gd name="T59" fmla="*/ 86 h 150"/>
                <a:gd name="T60" fmla="*/ 19 w 156"/>
                <a:gd name="T61" fmla="*/ 137 h 150"/>
                <a:gd name="T62" fmla="*/ 24 w 156"/>
                <a:gd name="T63" fmla="*/ 142 h 150"/>
                <a:gd name="T64" fmla="*/ 50 w 156"/>
                <a:gd name="T65" fmla="*/ 116 h 150"/>
                <a:gd name="T66" fmla="*/ 80 w 156"/>
                <a:gd name="T67" fmla="*/ 147 h 150"/>
                <a:gd name="T68" fmla="*/ 80 w 156"/>
                <a:gd name="T69" fmla="*/ 130 h 150"/>
                <a:gd name="T70" fmla="*/ 67 w 156"/>
                <a:gd name="T71" fmla="*/ 111 h 150"/>
                <a:gd name="T72" fmla="*/ 80 w 156"/>
                <a:gd name="T73" fmla="*/ 111 h 150"/>
                <a:gd name="T74" fmla="*/ 80 w 156"/>
                <a:gd name="T75" fmla="*/ 96 h 150"/>
                <a:gd name="T76" fmla="*/ 70 w 156"/>
                <a:gd name="T77" fmla="*/ 96 h 150"/>
                <a:gd name="T78" fmla="*/ 80 w 156"/>
                <a:gd name="T79" fmla="*/ 86 h 150"/>
                <a:gd name="T80" fmla="*/ 80 w 156"/>
                <a:gd name="T81" fmla="*/ 45 h 150"/>
                <a:gd name="T82" fmla="*/ 73 w 156"/>
                <a:gd name="T83" fmla="*/ 47 h 150"/>
                <a:gd name="T84" fmla="*/ 72 w 156"/>
                <a:gd name="T85" fmla="*/ 61 h 150"/>
                <a:gd name="T86" fmla="*/ 72 w 156"/>
                <a:gd name="T87" fmla="*/ 74 h 150"/>
                <a:gd name="T88" fmla="*/ 60 w 156"/>
                <a:gd name="T89" fmla="*/ 86 h 150"/>
                <a:gd name="T90" fmla="*/ 60 w 156"/>
                <a:gd name="T91" fmla="*/ 49 h 150"/>
                <a:gd name="T92" fmla="*/ 47 w 156"/>
                <a:gd name="T93" fmla="*/ 53 h 150"/>
                <a:gd name="T94" fmla="*/ 45 w 156"/>
                <a:gd name="T95" fmla="*/ 60 h 150"/>
                <a:gd name="T96" fmla="*/ 45 w 156"/>
                <a:gd name="T97" fmla="*/ 89 h 150"/>
                <a:gd name="T98" fmla="*/ 29 w 156"/>
                <a:gd name="T99" fmla="*/ 51 h 150"/>
                <a:gd name="T100" fmla="*/ 29 w 156"/>
                <a:gd name="T101" fmla="*/ 51 h 150"/>
                <a:gd name="T102" fmla="*/ 59 w 156"/>
                <a:gd name="T103" fmla="*/ 38 h 150"/>
                <a:gd name="T104" fmla="*/ 80 w 156"/>
                <a:gd name="T105" fmla="*/ 32 h 150"/>
                <a:gd name="T106" fmla="*/ 80 w 156"/>
                <a:gd name="T107" fmla="*/ 17 h 150"/>
                <a:gd name="T108" fmla="*/ 52 w 156"/>
                <a:gd name="T109" fmla="*/ 24 h 150"/>
                <a:gd name="T110" fmla="*/ 11 w 156"/>
                <a:gd name="T111" fmla="*/ 49 h 150"/>
                <a:gd name="T112" fmla="*/ 40 w 156"/>
                <a:gd name="T113" fmla="*/ 106 h 150"/>
                <a:gd name="T114" fmla="*/ 14 w 156"/>
                <a:gd name="T115" fmla="*/ 132 h 150"/>
                <a:gd name="T116" fmla="*/ 19 w 156"/>
                <a:gd name="T117" fmla="*/ 13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150">
                  <a:moveTo>
                    <a:pt x="80" y="147"/>
                  </a:moveTo>
                  <a:cubicBezTo>
                    <a:pt x="88" y="150"/>
                    <a:pt x="98" y="149"/>
                    <a:pt x="107" y="145"/>
                  </a:cubicBezTo>
                  <a:cubicBezTo>
                    <a:pt x="124" y="137"/>
                    <a:pt x="128" y="121"/>
                    <a:pt x="133" y="104"/>
                  </a:cubicBezTo>
                  <a:cubicBezTo>
                    <a:pt x="141" y="70"/>
                    <a:pt x="149" y="35"/>
                    <a:pt x="156" y="0"/>
                  </a:cubicBezTo>
                  <a:cubicBezTo>
                    <a:pt x="130" y="5"/>
                    <a:pt x="105" y="11"/>
                    <a:pt x="80" y="17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99" y="27"/>
                    <a:pt x="118" y="23"/>
                    <a:pt x="136" y="20"/>
                  </a:cubicBezTo>
                  <a:cubicBezTo>
                    <a:pt x="132" y="46"/>
                    <a:pt x="125" y="72"/>
                    <a:pt x="119" y="97"/>
                  </a:cubicBezTo>
                  <a:cubicBezTo>
                    <a:pt x="116" y="108"/>
                    <a:pt x="114" y="120"/>
                    <a:pt x="105" y="127"/>
                  </a:cubicBezTo>
                  <a:cubicBezTo>
                    <a:pt x="97" y="133"/>
                    <a:pt x="88" y="134"/>
                    <a:pt x="80" y="130"/>
                  </a:cubicBezTo>
                  <a:cubicBezTo>
                    <a:pt x="80" y="147"/>
                    <a:pt x="80" y="147"/>
                    <a:pt x="80" y="147"/>
                  </a:cubicBezTo>
                  <a:close/>
                  <a:moveTo>
                    <a:pt x="80" y="111"/>
                  </a:moveTo>
                  <a:cubicBezTo>
                    <a:pt x="80" y="96"/>
                    <a:pt x="80" y="96"/>
                    <a:pt x="80" y="9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6" y="100"/>
                    <a:pt x="104" y="105"/>
                    <a:pt x="103" y="109"/>
                  </a:cubicBezTo>
                  <a:cubicBezTo>
                    <a:pt x="102" y="112"/>
                    <a:pt x="99" y="111"/>
                    <a:pt x="96" y="111"/>
                  </a:cubicBezTo>
                  <a:cubicBezTo>
                    <a:pt x="80" y="111"/>
                    <a:pt x="80" y="111"/>
                    <a:pt x="80" y="111"/>
                  </a:cubicBezTo>
                  <a:close/>
                  <a:moveTo>
                    <a:pt x="80" y="86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94" y="52"/>
                    <a:pt x="100" y="46"/>
                    <a:pt x="105" y="41"/>
                  </a:cubicBezTo>
                  <a:cubicBezTo>
                    <a:pt x="110" y="36"/>
                    <a:pt x="115" y="36"/>
                    <a:pt x="121" y="35"/>
                  </a:cubicBezTo>
                  <a:cubicBezTo>
                    <a:pt x="120" y="41"/>
                    <a:pt x="120" y="47"/>
                    <a:pt x="115" y="51"/>
                  </a:cubicBezTo>
                  <a:cubicBezTo>
                    <a:pt x="110" y="57"/>
                    <a:pt x="104" y="62"/>
                    <a:pt x="98" y="68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2" y="73"/>
                    <a:pt x="111" y="78"/>
                    <a:pt x="109" y="83"/>
                  </a:cubicBezTo>
                  <a:cubicBezTo>
                    <a:pt x="108" y="85"/>
                    <a:pt x="98" y="84"/>
                    <a:pt x="96" y="84"/>
                  </a:cubicBezTo>
                  <a:cubicBezTo>
                    <a:pt x="93" y="84"/>
                    <a:pt x="84" y="83"/>
                    <a:pt x="82" y="84"/>
                  </a:cubicBezTo>
                  <a:lnTo>
                    <a:pt x="80" y="86"/>
                  </a:lnTo>
                  <a:close/>
                  <a:moveTo>
                    <a:pt x="19" y="137"/>
                  </a:moveTo>
                  <a:cubicBezTo>
                    <a:pt x="24" y="142"/>
                    <a:pt x="24" y="142"/>
                    <a:pt x="24" y="142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4" y="131"/>
                    <a:pt x="66" y="143"/>
                    <a:pt x="80" y="147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73" y="127"/>
                    <a:pt x="67" y="120"/>
                    <a:pt x="67" y="111"/>
                  </a:cubicBezTo>
                  <a:cubicBezTo>
                    <a:pt x="80" y="111"/>
                    <a:pt x="80" y="111"/>
                    <a:pt x="80" y="111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1" y="48"/>
                    <a:pt x="72" y="59"/>
                    <a:pt x="72" y="61"/>
                  </a:cubicBezTo>
                  <a:cubicBezTo>
                    <a:pt x="72" y="63"/>
                    <a:pt x="74" y="72"/>
                    <a:pt x="72" y="74"/>
                  </a:cubicBezTo>
                  <a:cubicBezTo>
                    <a:pt x="68" y="78"/>
                    <a:pt x="64" y="82"/>
                    <a:pt x="60" y="86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6" y="50"/>
                    <a:pt x="51" y="52"/>
                    <a:pt x="47" y="53"/>
                  </a:cubicBezTo>
                  <a:cubicBezTo>
                    <a:pt x="44" y="54"/>
                    <a:pt x="45" y="57"/>
                    <a:pt x="45" y="60"/>
                  </a:cubicBezTo>
                  <a:cubicBezTo>
                    <a:pt x="45" y="70"/>
                    <a:pt x="45" y="80"/>
                    <a:pt x="45" y="89"/>
                  </a:cubicBezTo>
                  <a:cubicBezTo>
                    <a:pt x="26" y="88"/>
                    <a:pt x="17" y="66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36" y="42"/>
                    <a:pt x="48" y="40"/>
                    <a:pt x="59" y="38"/>
                  </a:cubicBezTo>
                  <a:cubicBezTo>
                    <a:pt x="66" y="36"/>
                    <a:pt x="73" y="34"/>
                    <a:pt x="80" y="32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1" y="19"/>
                    <a:pt x="62" y="21"/>
                    <a:pt x="52" y="24"/>
                  </a:cubicBezTo>
                  <a:cubicBezTo>
                    <a:pt x="36" y="28"/>
                    <a:pt x="19" y="32"/>
                    <a:pt x="11" y="49"/>
                  </a:cubicBezTo>
                  <a:cubicBezTo>
                    <a:pt x="0" y="73"/>
                    <a:pt x="16" y="100"/>
                    <a:pt x="40" y="106"/>
                  </a:cubicBezTo>
                  <a:cubicBezTo>
                    <a:pt x="14" y="132"/>
                    <a:pt x="14" y="132"/>
                    <a:pt x="14" y="132"/>
                  </a:cubicBezTo>
                  <a:lnTo>
                    <a:pt x="19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8" name="íṧľîďé">
              <a:extLst>
                <a:ext uri="{FF2B5EF4-FFF2-40B4-BE49-F238E27FC236}">
                  <a16:creationId xmlns:a16="http://schemas.microsoft.com/office/drawing/2014/main" id="{3D3C1127-B308-454C-96CF-3C9AC2CDD591}"/>
                </a:ext>
              </a:extLst>
            </p:cNvPr>
            <p:cNvSpPr/>
            <p:nvPr/>
          </p:nvSpPr>
          <p:spPr bwMode="auto">
            <a:xfrm flipH="1">
              <a:off x="2275634" y="4846369"/>
              <a:ext cx="34648" cy="104019"/>
            </a:xfrm>
            <a:custGeom>
              <a:avLst/>
              <a:gdLst>
                <a:gd name="T0" fmla="*/ 16 w 16"/>
                <a:gd name="T1" fmla="*/ 51 h 51"/>
                <a:gd name="T2" fmla="*/ 16 w 16"/>
                <a:gd name="T3" fmla="*/ 0 h 51"/>
                <a:gd name="T4" fmla="*/ 8 w 16"/>
                <a:gd name="T5" fmla="*/ 0 h 51"/>
                <a:gd name="T6" fmla="*/ 0 w 16"/>
                <a:gd name="T7" fmla="*/ 0 h 51"/>
                <a:gd name="T8" fmla="*/ 0 w 16"/>
                <a:gd name="T9" fmla="*/ 51 h 51"/>
                <a:gd name="T10" fmla="*/ 8 w 16"/>
                <a:gd name="T11" fmla="*/ 51 h 51"/>
                <a:gd name="T12" fmla="*/ 16 w 16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1">
                  <a:moveTo>
                    <a:pt x="16" y="5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" y="51"/>
                    <a:pt x="5" y="51"/>
                    <a:pt x="8" y="51"/>
                  </a:cubicBezTo>
                  <a:cubicBezTo>
                    <a:pt x="11" y="51"/>
                    <a:pt x="13" y="51"/>
                    <a:pt x="16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9" name="ïṩḻïḑè">
              <a:extLst>
                <a:ext uri="{FF2B5EF4-FFF2-40B4-BE49-F238E27FC236}">
                  <a16:creationId xmlns:a16="http://schemas.microsoft.com/office/drawing/2014/main" id="{12A2DA0B-D240-4E90-91BB-338245B6B5D0}"/>
                </a:ext>
              </a:extLst>
            </p:cNvPr>
            <p:cNvSpPr/>
            <p:nvPr/>
          </p:nvSpPr>
          <p:spPr bwMode="auto">
            <a:xfrm flipH="1">
              <a:off x="2133397" y="4612542"/>
              <a:ext cx="319123" cy="223511"/>
            </a:xfrm>
            <a:custGeom>
              <a:avLst/>
              <a:gdLst>
                <a:gd name="T0" fmla="*/ 148 w 148"/>
                <a:gd name="T1" fmla="*/ 36 h 110"/>
                <a:gd name="T2" fmla="*/ 138 w 148"/>
                <a:gd name="T3" fmla="*/ 0 h 110"/>
                <a:gd name="T4" fmla="*/ 106 w 148"/>
                <a:gd name="T5" fmla="*/ 18 h 110"/>
                <a:gd name="T6" fmla="*/ 74 w 148"/>
                <a:gd name="T7" fmla="*/ 0 h 110"/>
                <a:gd name="T8" fmla="*/ 42 w 148"/>
                <a:gd name="T9" fmla="*/ 18 h 110"/>
                <a:gd name="T10" fmla="*/ 10 w 148"/>
                <a:gd name="T11" fmla="*/ 0 h 110"/>
                <a:gd name="T12" fmla="*/ 0 w 148"/>
                <a:gd name="T13" fmla="*/ 36 h 110"/>
                <a:gd name="T14" fmla="*/ 66 w 148"/>
                <a:gd name="T15" fmla="*/ 110 h 110"/>
                <a:gd name="T16" fmla="*/ 74 w 148"/>
                <a:gd name="T17" fmla="*/ 110 h 110"/>
                <a:gd name="T18" fmla="*/ 82 w 148"/>
                <a:gd name="T19" fmla="*/ 110 h 110"/>
                <a:gd name="T20" fmla="*/ 148 w 148"/>
                <a:gd name="T21" fmla="*/ 3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110">
                  <a:moveTo>
                    <a:pt x="148" y="36"/>
                  </a:moveTo>
                  <a:cubicBezTo>
                    <a:pt x="148" y="23"/>
                    <a:pt x="144" y="11"/>
                    <a:pt x="138" y="0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11"/>
                    <a:pt x="0" y="23"/>
                    <a:pt x="0" y="36"/>
                  </a:cubicBezTo>
                  <a:cubicBezTo>
                    <a:pt x="0" y="74"/>
                    <a:pt x="29" y="106"/>
                    <a:pt x="66" y="110"/>
                  </a:cubicBezTo>
                  <a:cubicBezTo>
                    <a:pt x="69" y="110"/>
                    <a:pt x="71" y="110"/>
                    <a:pt x="74" y="110"/>
                  </a:cubicBezTo>
                  <a:cubicBezTo>
                    <a:pt x="77" y="110"/>
                    <a:pt x="79" y="110"/>
                    <a:pt x="82" y="110"/>
                  </a:cubicBezTo>
                  <a:cubicBezTo>
                    <a:pt x="119" y="106"/>
                    <a:pt x="148" y="74"/>
                    <a:pt x="14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0" name="îṩḻîḓé">
              <a:extLst>
                <a:ext uri="{FF2B5EF4-FFF2-40B4-BE49-F238E27FC236}">
                  <a16:creationId xmlns:a16="http://schemas.microsoft.com/office/drawing/2014/main" id="{E691DDA6-B770-46A8-B8DC-105144DF205D}"/>
                </a:ext>
              </a:extLst>
            </p:cNvPr>
            <p:cNvSpPr/>
            <p:nvPr/>
          </p:nvSpPr>
          <p:spPr bwMode="auto">
            <a:xfrm flipH="1">
              <a:off x="2319400" y="4850667"/>
              <a:ext cx="66560" cy="62755"/>
            </a:xfrm>
            <a:custGeom>
              <a:avLst/>
              <a:gdLst>
                <a:gd name="T0" fmla="*/ 30 w 31"/>
                <a:gd name="T1" fmla="*/ 29 h 31"/>
                <a:gd name="T2" fmla="*/ 23 w 31"/>
                <a:gd name="T3" fmla="*/ 8 h 31"/>
                <a:gd name="T4" fmla="*/ 2 w 31"/>
                <a:gd name="T5" fmla="*/ 1 h 31"/>
                <a:gd name="T6" fmla="*/ 8 w 31"/>
                <a:gd name="T7" fmla="*/ 23 h 31"/>
                <a:gd name="T8" fmla="*/ 30 w 31"/>
                <a:gd name="T9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30" y="29"/>
                  </a:moveTo>
                  <a:cubicBezTo>
                    <a:pt x="31" y="22"/>
                    <a:pt x="29" y="14"/>
                    <a:pt x="23" y="8"/>
                  </a:cubicBezTo>
                  <a:cubicBezTo>
                    <a:pt x="17" y="2"/>
                    <a:pt x="9" y="0"/>
                    <a:pt x="2" y="1"/>
                  </a:cubicBezTo>
                  <a:cubicBezTo>
                    <a:pt x="0" y="9"/>
                    <a:pt x="3" y="17"/>
                    <a:pt x="8" y="23"/>
                  </a:cubicBezTo>
                  <a:cubicBezTo>
                    <a:pt x="14" y="28"/>
                    <a:pt x="22" y="31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1" name="ïśḷíďè">
              <a:extLst>
                <a:ext uri="{FF2B5EF4-FFF2-40B4-BE49-F238E27FC236}">
                  <a16:creationId xmlns:a16="http://schemas.microsoft.com/office/drawing/2014/main" id="{41D7EFCA-F921-4AA6-903C-32AC670C32D3}"/>
                </a:ext>
              </a:extLst>
            </p:cNvPr>
            <p:cNvSpPr/>
            <p:nvPr/>
          </p:nvSpPr>
          <p:spPr bwMode="auto">
            <a:xfrm flipH="1">
              <a:off x="2200869" y="4850667"/>
              <a:ext cx="66560" cy="62755"/>
            </a:xfrm>
            <a:custGeom>
              <a:avLst/>
              <a:gdLst>
                <a:gd name="T0" fmla="*/ 23 w 31"/>
                <a:gd name="T1" fmla="*/ 23 h 31"/>
                <a:gd name="T2" fmla="*/ 29 w 31"/>
                <a:gd name="T3" fmla="*/ 1 h 31"/>
                <a:gd name="T4" fmla="*/ 8 w 31"/>
                <a:gd name="T5" fmla="*/ 8 h 31"/>
                <a:gd name="T6" fmla="*/ 1 w 31"/>
                <a:gd name="T7" fmla="*/ 29 h 31"/>
                <a:gd name="T8" fmla="*/ 23 w 31"/>
                <a:gd name="T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3" y="23"/>
                  </a:moveTo>
                  <a:cubicBezTo>
                    <a:pt x="29" y="17"/>
                    <a:pt x="31" y="9"/>
                    <a:pt x="29" y="1"/>
                  </a:cubicBezTo>
                  <a:cubicBezTo>
                    <a:pt x="22" y="0"/>
                    <a:pt x="14" y="2"/>
                    <a:pt x="8" y="8"/>
                  </a:cubicBezTo>
                  <a:cubicBezTo>
                    <a:pt x="2" y="14"/>
                    <a:pt x="0" y="22"/>
                    <a:pt x="1" y="29"/>
                  </a:cubicBezTo>
                  <a:cubicBezTo>
                    <a:pt x="9" y="31"/>
                    <a:pt x="17" y="28"/>
                    <a:pt x="2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2" name="íŝļîde">
              <a:extLst>
                <a:ext uri="{FF2B5EF4-FFF2-40B4-BE49-F238E27FC236}">
                  <a16:creationId xmlns:a16="http://schemas.microsoft.com/office/drawing/2014/main" id="{D30C8EBD-0C6D-4F96-B7C1-DA4DC53590E9}"/>
                </a:ext>
              </a:extLst>
            </p:cNvPr>
            <p:cNvSpPr/>
            <p:nvPr/>
          </p:nvSpPr>
          <p:spPr bwMode="auto">
            <a:xfrm flipH="1">
              <a:off x="2200869" y="4959844"/>
              <a:ext cx="185091" cy="51579"/>
            </a:xfrm>
            <a:custGeom>
              <a:avLst/>
              <a:gdLst>
                <a:gd name="T0" fmla="*/ 51 w 86"/>
                <a:gd name="T1" fmla="*/ 0 h 25"/>
                <a:gd name="T2" fmla="*/ 43 w 86"/>
                <a:gd name="T3" fmla="*/ 0 h 25"/>
                <a:gd name="T4" fmla="*/ 35 w 86"/>
                <a:gd name="T5" fmla="*/ 0 h 25"/>
                <a:gd name="T6" fmla="*/ 0 w 86"/>
                <a:gd name="T7" fmla="*/ 25 h 25"/>
                <a:gd name="T8" fmla="*/ 86 w 86"/>
                <a:gd name="T9" fmla="*/ 25 h 25"/>
                <a:gd name="T10" fmla="*/ 51 w 86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25">
                  <a:moveTo>
                    <a:pt x="51" y="0"/>
                  </a:moveTo>
                  <a:cubicBezTo>
                    <a:pt x="48" y="0"/>
                    <a:pt x="46" y="0"/>
                    <a:pt x="43" y="0"/>
                  </a:cubicBezTo>
                  <a:cubicBezTo>
                    <a:pt x="40" y="0"/>
                    <a:pt x="38" y="0"/>
                    <a:pt x="35" y="0"/>
                  </a:cubicBezTo>
                  <a:cubicBezTo>
                    <a:pt x="15" y="2"/>
                    <a:pt x="0" y="13"/>
                    <a:pt x="0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13"/>
                    <a:pt x="71" y="2"/>
                    <a:pt x="5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3" name="ís1iḑé">
              <a:extLst>
                <a:ext uri="{FF2B5EF4-FFF2-40B4-BE49-F238E27FC236}">
                  <a16:creationId xmlns:a16="http://schemas.microsoft.com/office/drawing/2014/main" id="{4490E9FA-BFC0-4447-98B7-D46E31C158DF}"/>
                </a:ext>
              </a:extLst>
            </p:cNvPr>
            <p:cNvSpPr/>
            <p:nvPr/>
          </p:nvSpPr>
          <p:spPr bwMode="auto">
            <a:xfrm flipH="1">
              <a:off x="3695274" y="3065157"/>
              <a:ext cx="186003" cy="132387"/>
            </a:xfrm>
            <a:custGeom>
              <a:avLst/>
              <a:gdLst>
                <a:gd name="T0" fmla="*/ 43 w 86"/>
                <a:gd name="T1" fmla="*/ 0 h 65"/>
                <a:gd name="T2" fmla="*/ 0 w 86"/>
                <a:gd name="T3" fmla="*/ 44 h 65"/>
                <a:gd name="T4" fmla="*/ 5 w 86"/>
                <a:gd name="T5" fmla="*/ 64 h 65"/>
                <a:gd name="T6" fmla="*/ 5 w 86"/>
                <a:gd name="T7" fmla="*/ 53 h 65"/>
                <a:gd name="T8" fmla="*/ 7 w 86"/>
                <a:gd name="T9" fmla="*/ 47 h 65"/>
                <a:gd name="T10" fmla="*/ 7 w 86"/>
                <a:gd name="T11" fmla="*/ 44 h 65"/>
                <a:gd name="T12" fmla="*/ 43 w 86"/>
                <a:gd name="T13" fmla="*/ 7 h 65"/>
                <a:gd name="T14" fmla="*/ 79 w 86"/>
                <a:gd name="T15" fmla="*/ 44 h 65"/>
                <a:gd name="T16" fmla="*/ 79 w 86"/>
                <a:gd name="T17" fmla="*/ 47 h 65"/>
                <a:gd name="T18" fmla="*/ 80 w 86"/>
                <a:gd name="T19" fmla="*/ 53 h 65"/>
                <a:gd name="T20" fmla="*/ 80 w 86"/>
                <a:gd name="T21" fmla="*/ 65 h 65"/>
                <a:gd name="T22" fmla="*/ 86 w 86"/>
                <a:gd name="T23" fmla="*/ 44 h 65"/>
                <a:gd name="T24" fmla="*/ 43 w 86"/>
                <a:gd name="T2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" h="65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51"/>
                    <a:pt x="1" y="58"/>
                    <a:pt x="5" y="64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1"/>
                    <a:pt x="6" y="49"/>
                    <a:pt x="7" y="47"/>
                  </a:cubicBezTo>
                  <a:cubicBezTo>
                    <a:pt x="7" y="46"/>
                    <a:pt x="7" y="45"/>
                    <a:pt x="7" y="44"/>
                  </a:cubicBezTo>
                  <a:cubicBezTo>
                    <a:pt x="7" y="24"/>
                    <a:pt x="23" y="7"/>
                    <a:pt x="43" y="7"/>
                  </a:cubicBezTo>
                  <a:cubicBezTo>
                    <a:pt x="63" y="7"/>
                    <a:pt x="79" y="24"/>
                    <a:pt x="79" y="44"/>
                  </a:cubicBezTo>
                  <a:cubicBezTo>
                    <a:pt x="79" y="45"/>
                    <a:pt x="79" y="46"/>
                    <a:pt x="79" y="47"/>
                  </a:cubicBezTo>
                  <a:cubicBezTo>
                    <a:pt x="80" y="49"/>
                    <a:pt x="80" y="51"/>
                    <a:pt x="80" y="53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4" y="58"/>
                    <a:pt x="86" y="51"/>
                    <a:pt x="86" y="44"/>
                  </a:cubicBezTo>
                  <a:cubicBezTo>
                    <a:pt x="86" y="20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4" name="îş1iḍe">
              <a:extLst>
                <a:ext uri="{FF2B5EF4-FFF2-40B4-BE49-F238E27FC236}">
                  <a16:creationId xmlns:a16="http://schemas.microsoft.com/office/drawing/2014/main" id="{0956A2BA-97FC-4229-B8B0-989FC1BABB35}"/>
                </a:ext>
              </a:extLst>
            </p:cNvPr>
            <p:cNvSpPr/>
            <p:nvPr/>
          </p:nvSpPr>
          <p:spPr bwMode="auto">
            <a:xfrm flipH="1">
              <a:off x="3824747" y="3154560"/>
              <a:ext cx="41030" cy="69633"/>
            </a:xfrm>
            <a:custGeom>
              <a:avLst/>
              <a:gdLst>
                <a:gd name="T0" fmla="*/ 0 w 19"/>
                <a:gd name="T1" fmla="*/ 7 h 34"/>
                <a:gd name="T2" fmla="*/ 0 w 19"/>
                <a:gd name="T3" fmla="*/ 9 h 34"/>
                <a:gd name="T4" fmla="*/ 0 w 19"/>
                <a:gd name="T5" fmla="*/ 20 h 34"/>
                <a:gd name="T6" fmla="*/ 0 w 19"/>
                <a:gd name="T7" fmla="*/ 25 h 34"/>
                <a:gd name="T8" fmla="*/ 13 w 19"/>
                <a:gd name="T9" fmla="*/ 34 h 34"/>
                <a:gd name="T10" fmla="*/ 19 w 19"/>
                <a:gd name="T11" fmla="*/ 34 h 34"/>
                <a:gd name="T12" fmla="*/ 19 w 19"/>
                <a:gd name="T13" fmla="*/ 0 h 34"/>
                <a:gd name="T14" fmla="*/ 13 w 19"/>
                <a:gd name="T15" fmla="*/ 0 h 34"/>
                <a:gd name="T16" fmla="*/ 0 w 19"/>
                <a:gd name="T17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4">
                  <a:moveTo>
                    <a:pt x="0" y="7"/>
                  </a:moveTo>
                  <a:cubicBezTo>
                    <a:pt x="0" y="8"/>
                    <a:pt x="0" y="8"/>
                    <a:pt x="0" y="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0"/>
                    <a:pt x="6" y="34"/>
                    <a:pt x="13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0"/>
                    <a:pt x="2" y="3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5" name="ïṥḷîḍe">
              <a:extLst>
                <a:ext uri="{FF2B5EF4-FFF2-40B4-BE49-F238E27FC236}">
                  <a16:creationId xmlns:a16="http://schemas.microsoft.com/office/drawing/2014/main" id="{A7AF1C5B-3142-487B-B4B2-703BC8818E97}"/>
                </a:ext>
              </a:extLst>
            </p:cNvPr>
            <p:cNvSpPr/>
            <p:nvPr/>
          </p:nvSpPr>
          <p:spPr bwMode="auto">
            <a:xfrm flipH="1">
              <a:off x="3712598" y="3154560"/>
              <a:ext cx="41030" cy="69633"/>
            </a:xfrm>
            <a:custGeom>
              <a:avLst/>
              <a:gdLst>
                <a:gd name="T0" fmla="*/ 19 w 19"/>
                <a:gd name="T1" fmla="*/ 25 h 34"/>
                <a:gd name="T2" fmla="*/ 19 w 19"/>
                <a:gd name="T3" fmla="*/ 20 h 34"/>
                <a:gd name="T4" fmla="*/ 19 w 19"/>
                <a:gd name="T5" fmla="*/ 9 h 34"/>
                <a:gd name="T6" fmla="*/ 19 w 19"/>
                <a:gd name="T7" fmla="*/ 8 h 34"/>
                <a:gd name="T8" fmla="*/ 6 w 19"/>
                <a:gd name="T9" fmla="*/ 0 h 34"/>
                <a:gd name="T10" fmla="*/ 0 w 19"/>
                <a:gd name="T11" fmla="*/ 0 h 34"/>
                <a:gd name="T12" fmla="*/ 0 w 19"/>
                <a:gd name="T13" fmla="*/ 34 h 34"/>
                <a:gd name="T14" fmla="*/ 6 w 19"/>
                <a:gd name="T15" fmla="*/ 34 h 34"/>
                <a:gd name="T16" fmla="*/ 19 w 19"/>
                <a:gd name="T17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4">
                  <a:moveTo>
                    <a:pt x="19" y="25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3"/>
                    <a:pt x="13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13" y="34"/>
                    <a:pt x="19" y="30"/>
                    <a:pt x="19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6" name="ïslíḍê">
              <a:extLst>
                <a:ext uri="{FF2B5EF4-FFF2-40B4-BE49-F238E27FC236}">
                  <a16:creationId xmlns:a16="http://schemas.microsoft.com/office/drawing/2014/main" id="{544BE66A-3E8E-4184-BD7B-2A6FA15B7540}"/>
                </a:ext>
              </a:extLst>
            </p:cNvPr>
            <p:cNvSpPr/>
            <p:nvPr/>
          </p:nvSpPr>
          <p:spPr bwMode="auto">
            <a:xfrm flipH="1">
              <a:off x="2684740" y="1994023"/>
              <a:ext cx="295416" cy="276811"/>
            </a:xfrm>
            <a:custGeom>
              <a:avLst/>
              <a:gdLst>
                <a:gd name="T0" fmla="*/ 137 w 137"/>
                <a:gd name="T1" fmla="*/ 68 h 136"/>
                <a:gd name="T2" fmla="*/ 122 w 137"/>
                <a:gd name="T3" fmla="*/ 64 h 136"/>
                <a:gd name="T4" fmla="*/ 131 w 137"/>
                <a:gd name="T5" fmla="*/ 64 h 136"/>
                <a:gd name="T6" fmla="*/ 122 w 137"/>
                <a:gd name="T7" fmla="*/ 72 h 136"/>
                <a:gd name="T8" fmla="*/ 106 w 137"/>
                <a:gd name="T9" fmla="*/ 125 h 136"/>
                <a:gd name="T10" fmla="*/ 122 w 137"/>
                <a:gd name="T11" fmla="*/ 72 h 136"/>
                <a:gd name="T12" fmla="*/ 113 w 137"/>
                <a:gd name="T13" fmla="*/ 64 h 136"/>
                <a:gd name="T14" fmla="*/ 122 w 137"/>
                <a:gd name="T15" fmla="*/ 25 h 136"/>
                <a:gd name="T16" fmla="*/ 106 w 137"/>
                <a:gd name="T17" fmla="*/ 25 h 136"/>
                <a:gd name="T18" fmla="*/ 110 w 137"/>
                <a:gd name="T19" fmla="*/ 21 h 136"/>
                <a:gd name="T20" fmla="*/ 106 w 137"/>
                <a:gd name="T21" fmla="*/ 36 h 136"/>
                <a:gd name="T22" fmla="*/ 115 w 137"/>
                <a:gd name="T23" fmla="*/ 109 h 136"/>
                <a:gd name="T24" fmla="*/ 106 w 137"/>
                <a:gd name="T25" fmla="*/ 111 h 136"/>
                <a:gd name="T26" fmla="*/ 68 w 137"/>
                <a:gd name="T27" fmla="*/ 136 h 136"/>
                <a:gd name="T28" fmla="*/ 106 w 137"/>
                <a:gd name="T29" fmla="*/ 111 h 136"/>
                <a:gd name="T30" fmla="*/ 102 w 137"/>
                <a:gd name="T31" fmla="*/ 97 h 136"/>
                <a:gd name="T32" fmla="*/ 106 w 137"/>
                <a:gd name="T33" fmla="*/ 100 h 136"/>
                <a:gd name="T34" fmla="*/ 102 w 137"/>
                <a:gd name="T35" fmla="*/ 39 h 136"/>
                <a:gd name="T36" fmla="*/ 106 w 137"/>
                <a:gd name="T37" fmla="*/ 25 h 136"/>
                <a:gd name="T38" fmla="*/ 68 w 137"/>
                <a:gd name="T39" fmla="*/ 0 h 136"/>
                <a:gd name="T40" fmla="*/ 68 w 137"/>
                <a:gd name="T41" fmla="*/ 5 h 136"/>
                <a:gd name="T42" fmla="*/ 72 w 137"/>
                <a:gd name="T43" fmla="*/ 24 h 136"/>
                <a:gd name="T44" fmla="*/ 68 w 137"/>
                <a:gd name="T45" fmla="*/ 63 h 136"/>
                <a:gd name="T46" fmla="*/ 90 w 137"/>
                <a:gd name="T47" fmla="*/ 42 h 136"/>
                <a:gd name="T48" fmla="*/ 69 w 137"/>
                <a:gd name="T49" fmla="*/ 74 h 136"/>
                <a:gd name="T50" fmla="*/ 68 w 137"/>
                <a:gd name="T51" fmla="*/ 112 h 136"/>
                <a:gd name="T52" fmla="*/ 72 w 137"/>
                <a:gd name="T53" fmla="*/ 131 h 136"/>
                <a:gd name="T54" fmla="*/ 68 w 137"/>
                <a:gd name="T55" fmla="*/ 131 h 136"/>
                <a:gd name="T56" fmla="*/ 68 w 137"/>
                <a:gd name="T57" fmla="*/ 0 h 136"/>
                <a:gd name="T58" fmla="*/ 30 w 137"/>
                <a:gd name="T59" fmla="*/ 25 h 136"/>
                <a:gd name="T60" fmla="*/ 34 w 137"/>
                <a:gd name="T61" fmla="*/ 39 h 136"/>
                <a:gd name="T62" fmla="*/ 30 w 137"/>
                <a:gd name="T63" fmla="*/ 100 h 136"/>
                <a:gd name="T64" fmla="*/ 40 w 137"/>
                <a:gd name="T65" fmla="*/ 102 h 136"/>
                <a:gd name="T66" fmla="*/ 30 w 137"/>
                <a:gd name="T67" fmla="*/ 125 h 136"/>
                <a:gd name="T68" fmla="*/ 68 w 137"/>
                <a:gd name="T69" fmla="*/ 131 h 136"/>
                <a:gd name="T70" fmla="*/ 64 w 137"/>
                <a:gd name="T71" fmla="*/ 112 h 136"/>
                <a:gd name="T72" fmla="*/ 68 w 137"/>
                <a:gd name="T73" fmla="*/ 74 h 136"/>
                <a:gd name="T74" fmla="*/ 57 w 137"/>
                <a:gd name="T75" fmla="*/ 52 h 136"/>
                <a:gd name="T76" fmla="*/ 68 w 137"/>
                <a:gd name="T77" fmla="*/ 63 h 136"/>
                <a:gd name="T78" fmla="*/ 64 w 137"/>
                <a:gd name="T79" fmla="*/ 24 h 136"/>
                <a:gd name="T80" fmla="*/ 64 w 137"/>
                <a:gd name="T81" fmla="*/ 5 h 136"/>
                <a:gd name="T82" fmla="*/ 68 w 137"/>
                <a:gd name="T83" fmla="*/ 0 h 136"/>
                <a:gd name="T84" fmla="*/ 15 w 137"/>
                <a:gd name="T85" fmla="*/ 25 h 136"/>
                <a:gd name="T86" fmla="*/ 24 w 137"/>
                <a:gd name="T87" fmla="*/ 64 h 136"/>
                <a:gd name="T88" fmla="*/ 24 w 137"/>
                <a:gd name="T89" fmla="*/ 72 h 136"/>
                <a:gd name="T90" fmla="*/ 15 w 137"/>
                <a:gd name="T91" fmla="*/ 111 h 136"/>
                <a:gd name="T92" fmla="*/ 30 w 137"/>
                <a:gd name="T93" fmla="*/ 111 h 136"/>
                <a:gd name="T94" fmla="*/ 27 w 137"/>
                <a:gd name="T95" fmla="*/ 115 h 136"/>
                <a:gd name="T96" fmla="*/ 30 w 137"/>
                <a:gd name="T97" fmla="*/ 100 h 136"/>
                <a:gd name="T98" fmla="*/ 21 w 137"/>
                <a:gd name="T99" fmla="*/ 27 h 136"/>
                <a:gd name="T100" fmla="*/ 27 w 137"/>
                <a:gd name="T101" fmla="*/ 21 h 136"/>
                <a:gd name="T102" fmla="*/ 30 w 137"/>
                <a:gd name="T103" fmla="*/ 11 h 136"/>
                <a:gd name="T104" fmla="*/ 0 w 137"/>
                <a:gd name="T105" fmla="*/ 68 h 136"/>
                <a:gd name="T106" fmla="*/ 15 w 137"/>
                <a:gd name="T107" fmla="*/ 72 h 136"/>
                <a:gd name="T108" fmla="*/ 6 w 137"/>
                <a:gd name="T109" fmla="*/ 64 h 136"/>
                <a:gd name="T110" fmla="*/ 15 w 137"/>
                <a:gd name="T111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7" h="136">
                  <a:moveTo>
                    <a:pt x="122" y="111"/>
                  </a:moveTo>
                  <a:cubicBezTo>
                    <a:pt x="131" y="99"/>
                    <a:pt x="137" y="84"/>
                    <a:pt x="137" y="68"/>
                  </a:cubicBezTo>
                  <a:cubicBezTo>
                    <a:pt x="137" y="52"/>
                    <a:pt x="131" y="37"/>
                    <a:pt x="122" y="25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22" y="72"/>
                    <a:pt x="122" y="72"/>
                    <a:pt x="122" y="72"/>
                  </a:cubicBezTo>
                  <a:lnTo>
                    <a:pt x="122" y="111"/>
                  </a:lnTo>
                  <a:close/>
                  <a:moveTo>
                    <a:pt x="106" y="125"/>
                  </a:moveTo>
                  <a:cubicBezTo>
                    <a:pt x="112" y="121"/>
                    <a:pt x="117" y="116"/>
                    <a:pt x="122" y="111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17" y="20"/>
                    <a:pt x="112" y="15"/>
                    <a:pt x="106" y="11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15" y="109"/>
                    <a:pt x="115" y="109"/>
                    <a:pt x="115" y="109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06" y="111"/>
                    <a:pt x="106" y="111"/>
                    <a:pt x="106" y="111"/>
                  </a:cubicBezTo>
                  <a:lnTo>
                    <a:pt x="106" y="125"/>
                  </a:lnTo>
                  <a:close/>
                  <a:moveTo>
                    <a:pt x="68" y="136"/>
                  </a:moveTo>
                  <a:cubicBezTo>
                    <a:pt x="82" y="136"/>
                    <a:pt x="95" y="132"/>
                    <a:pt x="106" y="125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95" y="4"/>
                    <a:pt x="82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6"/>
                    <a:pt x="68" y="136"/>
                    <a:pt x="68" y="136"/>
                  </a:cubicBezTo>
                  <a:close/>
                  <a:moveTo>
                    <a:pt x="68" y="0"/>
                  </a:moveTo>
                  <a:cubicBezTo>
                    <a:pt x="54" y="0"/>
                    <a:pt x="41" y="4"/>
                    <a:pt x="30" y="1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41" y="132"/>
                    <a:pt x="54" y="136"/>
                    <a:pt x="68" y="136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68" y="0"/>
                  </a:lnTo>
                  <a:close/>
                  <a:moveTo>
                    <a:pt x="30" y="11"/>
                  </a:moveTo>
                  <a:cubicBezTo>
                    <a:pt x="25" y="15"/>
                    <a:pt x="19" y="20"/>
                    <a:pt x="15" y="25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9" y="116"/>
                    <a:pt x="25" y="121"/>
                    <a:pt x="30" y="125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0" y="25"/>
                    <a:pt x="30" y="25"/>
                    <a:pt x="30" y="25"/>
                  </a:cubicBezTo>
                  <a:lnTo>
                    <a:pt x="30" y="11"/>
                  </a:lnTo>
                  <a:close/>
                  <a:moveTo>
                    <a:pt x="15" y="25"/>
                  </a:moveTo>
                  <a:cubicBezTo>
                    <a:pt x="6" y="37"/>
                    <a:pt x="0" y="52"/>
                    <a:pt x="0" y="68"/>
                  </a:cubicBezTo>
                  <a:cubicBezTo>
                    <a:pt x="0" y="84"/>
                    <a:pt x="6" y="99"/>
                    <a:pt x="15" y="111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5" y="64"/>
                    <a:pt x="15" y="64"/>
                    <a:pt x="15" y="64"/>
                  </a:cubicBezTo>
                  <a:lnTo>
                    <a:pt x="1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7" name="ïSḻiḋe">
              <a:extLst>
                <a:ext uri="{FF2B5EF4-FFF2-40B4-BE49-F238E27FC236}">
                  <a16:creationId xmlns:a16="http://schemas.microsoft.com/office/drawing/2014/main" id="{517D3788-0B91-493C-8226-F3E8CF17ECBE}"/>
                </a:ext>
              </a:extLst>
            </p:cNvPr>
            <p:cNvSpPr/>
            <p:nvPr/>
          </p:nvSpPr>
          <p:spPr bwMode="auto">
            <a:xfrm flipH="1">
              <a:off x="2814495" y="2373534"/>
              <a:ext cx="310917" cy="245862"/>
            </a:xfrm>
            <a:custGeom>
              <a:avLst/>
              <a:gdLst>
                <a:gd name="T0" fmla="*/ 108 w 144"/>
                <a:gd name="T1" fmla="*/ 13 h 121"/>
                <a:gd name="T2" fmla="*/ 100 w 144"/>
                <a:gd name="T3" fmla="*/ 7 h 121"/>
                <a:gd name="T4" fmla="*/ 97 w 144"/>
                <a:gd name="T5" fmla="*/ 6 h 121"/>
                <a:gd name="T6" fmla="*/ 68 w 144"/>
                <a:gd name="T7" fmla="*/ 0 h 121"/>
                <a:gd name="T8" fmla="*/ 8 w 144"/>
                <a:gd name="T9" fmla="*/ 36 h 121"/>
                <a:gd name="T10" fmla="*/ 1 w 144"/>
                <a:gd name="T11" fmla="*/ 61 h 121"/>
                <a:gd name="T12" fmla="*/ 0 w 144"/>
                <a:gd name="T13" fmla="*/ 65 h 121"/>
                <a:gd name="T14" fmla="*/ 1 w 144"/>
                <a:gd name="T15" fmla="*/ 67 h 121"/>
                <a:gd name="T16" fmla="*/ 3 w 144"/>
                <a:gd name="T17" fmla="*/ 66 h 121"/>
                <a:gd name="T18" fmla="*/ 6 w 144"/>
                <a:gd name="T19" fmla="*/ 63 h 121"/>
                <a:gd name="T20" fmla="*/ 18 w 144"/>
                <a:gd name="T21" fmla="*/ 59 h 121"/>
                <a:gd name="T22" fmla="*/ 27 w 144"/>
                <a:gd name="T23" fmla="*/ 61 h 121"/>
                <a:gd name="T24" fmla="*/ 37 w 144"/>
                <a:gd name="T25" fmla="*/ 79 h 121"/>
                <a:gd name="T26" fmla="*/ 37 w 144"/>
                <a:gd name="T27" fmla="*/ 83 h 121"/>
                <a:gd name="T28" fmla="*/ 41 w 144"/>
                <a:gd name="T29" fmla="*/ 81 h 121"/>
                <a:gd name="T30" fmla="*/ 52 w 144"/>
                <a:gd name="T31" fmla="*/ 77 h 121"/>
                <a:gd name="T32" fmla="*/ 58 w 144"/>
                <a:gd name="T33" fmla="*/ 78 h 121"/>
                <a:gd name="T34" fmla="*/ 62 w 144"/>
                <a:gd name="T35" fmla="*/ 80 h 121"/>
                <a:gd name="T36" fmla="*/ 69 w 144"/>
                <a:gd name="T37" fmla="*/ 87 h 121"/>
                <a:gd name="T38" fmla="*/ 72 w 144"/>
                <a:gd name="T39" fmla="*/ 98 h 121"/>
                <a:gd name="T40" fmla="*/ 72 w 144"/>
                <a:gd name="T41" fmla="*/ 102 h 121"/>
                <a:gd name="T42" fmla="*/ 75 w 144"/>
                <a:gd name="T43" fmla="*/ 100 h 121"/>
                <a:gd name="T44" fmla="*/ 87 w 144"/>
                <a:gd name="T45" fmla="*/ 96 h 121"/>
                <a:gd name="T46" fmla="*/ 96 w 144"/>
                <a:gd name="T47" fmla="*/ 98 h 121"/>
                <a:gd name="T48" fmla="*/ 107 w 144"/>
                <a:gd name="T49" fmla="*/ 116 h 121"/>
                <a:gd name="T50" fmla="*/ 108 w 144"/>
                <a:gd name="T51" fmla="*/ 121 h 121"/>
                <a:gd name="T52" fmla="*/ 111 w 144"/>
                <a:gd name="T53" fmla="*/ 119 h 121"/>
                <a:gd name="T54" fmla="*/ 128 w 144"/>
                <a:gd name="T55" fmla="*/ 99 h 121"/>
                <a:gd name="T56" fmla="*/ 108 w 144"/>
                <a:gd name="T57" fmla="*/ 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21">
                  <a:moveTo>
                    <a:pt x="108" y="13"/>
                  </a:moveTo>
                  <a:cubicBezTo>
                    <a:pt x="106" y="11"/>
                    <a:pt x="103" y="9"/>
                    <a:pt x="100" y="7"/>
                  </a:cubicBezTo>
                  <a:cubicBezTo>
                    <a:pt x="99" y="7"/>
                    <a:pt x="98" y="6"/>
                    <a:pt x="97" y="6"/>
                  </a:cubicBezTo>
                  <a:cubicBezTo>
                    <a:pt x="88" y="2"/>
                    <a:pt x="78" y="0"/>
                    <a:pt x="68" y="0"/>
                  </a:cubicBezTo>
                  <a:cubicBezTo>
                    <a:pt x="44" y="0"/>
                    <a:pt x="20" y="13"/>
                    <a:pt x="8" y="36"/>
                  </a:cubicBezTo>
                  <a:cubicBezTo>
                    <a:pt x="4" y="44"/>
                    <a:pt x="2" y="52"/>
                    <a:pt x="1" y="61"/>
                  </a:cubicBezTo>
                  <a:cubicBezTo>
                    <a:pt x="1" y="62"/>
                    <a:pt x="0" y="64"/>
                    <a:pt x="0" y="65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6"/>
                  </a:cubicBezTo>
                  <a:cubicBezTo>
                    <a:pt x="4" y="65"/>
                    <a:pt x="5" y="64"/>
                    <a:pt x="6" y="63"/>
                  </a:cubicBezTo>
                  <a:cubicBezTo>
                    <a:pt x="10" y="60"/>
                    <a:pt x="14" y="59"/>
                    <a:pt x="18" y="59"/>
                  </a:cubicBezTo>
                  <a:cubicBezTo>
                    <a:pt x="21" y="59"/>
                    <a:pt x="24" y="60"/>
                    <a:pt x="27" y="61"/>
                  </a:cubicBezTo>
                  <a:cubicBezTo>
                    <a:pt x="34" y="65"/>
                    <a:pt x="37" y="72"/>
                    <a:pt x="37" y="79"/>
                  </a:cubicBezTo>
                  <a:cubicBezTo>
                    <a:pt x="37" y="82"/>
                    <a:pt x="37" y="83"/>
                    <a:pt x="37" y="83"/>
                  </a:cubicBezTo>
                  <a:cubicBezTo>
                    <a:pt x="38" y="83"/>
                    <a:pt x="39" y="82"/>
                    <a:pt x="41" y="81"/>
                  </a:cubicBezTo>
                  <a:cubicBezTo>
                    <a:pt x="44" y="79"/>
                    <a:pt x="48" y="77"/>
                    <a:pt x="52" y="77"/>
                  </a:cubicBezTo>
                  <a:cubicBezTo>
                    <a:pt x="54" y="77"/>
                    <a:pt x="56" y="78"/>
                    <a:pt x="58" y="78"/>
                  </a:cubicBezTo>
                  <a:cubicBezTo>
                    <a:pt x="59" y="79"/>
                    <a:pt x="61" y="79"/>
                    <a:pt x="62" y="80"/>
                  </a:cubicBezTo>
                  <a:cubicBezTo>
                    <a:pt x="65" y="81"/>
                    <a:pt x="67" y="84"/>
                    <a:pt x="69" y="87"/>
                  </a:cubicBezTo>
                  <a:cubicBezTo>
                    <a:pt x="71" y="90"/>
                    <a:pt x="72" y="94"/>
                    <a:pt x="72" y="98"/>
                  </a:cubicBezTo>
                  <a:cubicBezTo>
                    <a:pt x="72" y="100"/>
                    <a:pt x="72" y="102"/>
                    <a:pt x="72" y="102"/>
                  </a:cubicBezTo>
                  <a:cubicBezTo>
                    <a:pt x="73" y="102"/>
                    <a:pt x="74" y="101"/>
                    <a:pt x="75" y="100"/>
                  </a:cubicBezTo>
                  <a:cubicBezTo>
                    <a:pt x="79" y="97"/>
                    <a:pt x="83" y="96"/>
                    <a:pt x="87" y="96"/>
                  </a:cubicBezTo>
                  <a:cubicBezTo>
                    <a:pt x="90" y="96"/>
                    <a:pt x="93" y="97"/>
                    <a:pt x="96" y="98"/>
                  </a:cubicBezTo>
                  <a:cubicBezTo>
                    <a:pt x="103" y="102"/>
                    <a:pt x="107" y="109"/>
                    <a:pt x="107" y="116"/>
                  </a:cubicBezTo>
                  <a:cubicBezTo>
                    <a:pt x="107" y="119"/>
                    <a:pt x="107" y="121"/>
                    <a:pt x="108" y="121"/>
                  </a:cubicBezTo>
                  <a:cubicBezTo>
                    <a:pt x="109" y="121"/>
                    <a:pt x="110" y="120"/>
                    <a:pt x="111" y="119"/>
                  </a:cubicBezTo>
                  <a:cubicBezTo>
                    <a:pt x="118" y="114"/>
                    <a:pt x="124" y="107"/>
                    <a:pt x="128" y="99"/>
                  </a:cubicBezTo>
                  <a:cubicBezTo>
                    <a:pt x="144" y="69"/>
                    <a:pt x="135" y="32"/>
                    <a:pt x="10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8" name="iśľîḑé">
              <a:extLst>
                <a:ext uri="{FF2B5EF4-FFF2-40B4-BE49-F238E27FC236}">
                  <a16:creationId xmlns:a16="http://schemas.microsoft.com/office/drawing/2014/main" id="{9DF4BC99-B33C-4111-AADF-12A4B797089F}"/>
                </a:ext>
              </a:extLst>
            </p:cNvPr>
            <p:cNvSpPr/>
            <p:nvPr/>
          </p:nvSpPr>
          <p:spPr bwMode="auto">
            <a:xfrm flipH="1">
              <a:off x="2416961" y="2691607"/>
              <a:ext cx="394800" cy="349021"/>
            </a:xfrm>
            <a:custGeom>
              <a:avLst/>
              <a:gdLst>
                <a:gd name="T0" fmla="*/ 26 w 183"/>
                <a:gd name="T1" fmla="*/ 139 h 172"/>
                <a:gd name="T2" fmla="*/ 76 w 183"/>
                <a:gd name="T3" fmla="*/ 113 h 172"/>
                <a:gd name="T4" fmla="*/ 85 w 183"/>
                <a:gd name="T5" fmla="*/ 111 h 172"/>
                <a:gd name="T6" fmla="*/ 86 w 183"/>
                <a:gd name="T7" fmla="*/ 121 h 172"/>
                <a:gd name="T8" fmla="*/ 85 w 183"/>
                <a:gd name="T9" fmla="*/ 142 h 172"/>
                <a:gd name="T10" fmla="*/ 84 w 183"/>
                <a:gd name="T11" fmla="*/ 172 h 172"/>
                <a:gd name="T12" fmla="*/ 99 w 183"/>
                <a:gd name="T13" fmla="*/ 172 h 172"/>
                <a:gd name="T14" fmla="*/ 98 w 183"/>
                <a:gd name="T15" fmla="*/ 142 h 172"/>
                <a:gd name="T16" fmla="*/ 97 w 183"/>
                <a:gd name="T17" fmla="*/ 121 h 172"/>
                <a:gd name="T18" fmla="*/ 97 w 183"/>
                <a:gd name="T19" fmla="*/ 111 h 172"/>
                <a:gd name="T20" fmla="*/ 106 w 183"/>
                <a:gd name="T21" fmla="*/ 113 h 172"/>
                <a:gd name="T22" fmla="*/ 156 w 183"/>
                <a:gd name="T23" fmla="*/ 139 h 172"/>
                <a:gd name="T24" fmla="*/ 176 w 183"/>
                <a:gd name="T25" fmla="*/ 119 h 172"/>
                <a:gd name="T26" fmla="*/ 164 w 183"/>
                <a:gd name="T27" fmla="*/ 56 h 172"/>
                <a:gd name="T28" fmla="*/ 102 w 183"/>
                <a:gd name="T29" fmla="*/ 96 h 172"/>
                <a:gd name="T30" fmla="*/ 99 w 183"/>
                <a:gd name="T31" fmla="*/ 90 h 172"/>
                <a:gd name="T32" fmla="*/ 110 w 183"/>
                <a:gd name="T33" fmla="*/ 69 h 172"/>
                <a:gd name="T34" fmla="*/ 131 w 183"/>
                <a:gd name="T35" fmla="*/ 21 h 172"/>
                <a:gd name="T36" fmla="*/ 91 w 183"/>
                <a:gd name="T37" fmla="*/ 1 h 172"/>
                <a:gd name="T38" fmla="*/ 52 w 183"/>
                <a:gd name="T39" fmla="*/ 21 h 172"/>
                <a:gd name="T40" fmla="*/ 72 w 183"/>
                <a:gd name="T41" fmla="*/ 69 h 172"/>
                <a:gd name="T42" fmla="*/ 83 w 183"/>
                <a:gd name="T43" fmla="*/ 90 h 172"/>
                <a:gd name="T44" fmla="*/ 81 w 183"/>
                <a:gd name="T45" fmla="*/ 96 h 172"/>
                <a:gd name="T46" fmla="*/ 19 w 183"/>
                <a:gd name="T47" fmla="*/ 56 h 172"/>
                <a:gd name="T48" fmla="*/ 6 w 183"/>
                <a:gd name="T49" fmla="*/ 119 h 172"/>
                <a:gd name="T50" fmla="*/ 26 w 183"/>
                <a:gd name="T51" fmla="*/ 13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172">
                  <a:moveTo>
                    <a:pt x="26" y="139"/>
                  </a:moveTo>
                  <a:cubicBezTo>
                    <a:pt x="45" y="141"/>
                    <a:pt x="61" y="121"/>
                    <a:pt x="76" y="113"/>
                  </a:cubicBezTo>
                  <a:cubicBezTo>
                    <a:pt x="78" y="112"/>
                    <a:pt x="83" y="109"/>
                    <a:pt x="85" y="111"/>
                  </a:cubicBezTo>
                  <a:cubicBezTo>
                    <a:pt x="87" y="114"/>
                    <a:pt x="86" y="118"/>
                    <a:pt x="86" y="121"/>
                  </a:cubicBezTo>
                  <a:cubicBezTo>
                    <a:pt x="86" y="128"/>
                    <a:pt x="85" y="135"/>
                    <a:pt x="85" y="142"/>
                  </a:cubicBezTo>
                  <a:cubicBezTo>
                    <a:pt x="85" y="150"/>
                    <a:pt x="84" y="164"/>
                    <a:pt x="84" y="172"/>
                  </a:cubicBezTo>
                  <a:cubicBezTo>
                    <a:pt x="99" y="172"/>
                    <a:pt x="99" y="172"/>
                    <a:pt x="99" y="172"/>
                  </a:cubicBezTo>
                  <a:cubicBezTo>
                    <a:pt x="98" y="164"/>
                    <a:pt x="98" y="150"/>
                    <a:pt x="98" y="142"/>
                  </a:cubicBezTo>
                  <a:cubicBezTo>
                    <a:pt x="97" y="135"/>
                    <a:pt x="97" y="128"/>
                    <a:pt x="97" y="121"/>
                  </a:cubicBezTo>
                  <a:cubicBezTo>
                    <a:pt x="97" y="118"/>
                    <a:pt x="96" y="114"/>
                    <a:pt x="97" y="111"/>
                  </a:cubicBezTo>
                  <a:cubicBezTo>
                    <a:pt x="99" y="109"/>
                    <a:pt x="105" y="112"/>
                    <a:pt x="106" y="113"/>
                  </a:cubicBezTo>
                  <a:cubicBezTo>
                    <a:pt x="122" y="121"/>
                    <a:pt x="137" y="141"/>
                    <a:pt x="156" y="139"/>
                  </a:cubicBezTo>
                  <a:cubicBezTo>
                    <a:pt x="167" y="137"/>
                    <a:pt x="173" y="128"/>
                    <a:pt x="176" y="119"/>
                  </a:cubicBezTo>
                  <a:cubicBezTo>
                    <a:pt x="182" y="101"/>
                    <a:pt x="183" y="68"/>
                    <a:pt x="164" y="56"/>
                  </a:cubicBezTo>
                  <a:cubicBezTo>
                    <a:pt x="135" y="39"/>
                    <a:pt x="126" y="94"/>
                    <a:pt x="102" y="96"/>
                  </a:cubicBezTo>
                  <a:cubicBezTo>
                    <a:pt x="97" y="96"/>
                    <a:pt x="98" y="94"/>
                    <a:pt x="99" y="90"/>
                  </a:cubicBezTo>
                  <a:cubicBezTo>
                    <a:pt x="101" y="82"/>
                    <a:pt x="105" y="75"/>
                    <a:pt x="110" y="69"/>
                  </a:cubicBezTo>
                  <a:cubicBezTo>
                    <a:pt x="120" y="56"/>
                    <a:pt x="134" y="39"/>
                    <a:pt x="131" y="21"/>
                  </a:cubicBezTo>
                  <a:cubicBezTo>
                    <a:pt x="128" y="5"/>
                    <a:pt x="109" y="0"/>
                    <a:pt x="91" y="1"/>
                  </a:cubicBezTo>
                  <a:cubicBezTo>
                    <a:pt x="74" y="0"/>
                    <a:pt x="54" y="5"/>
                    <a:pt x="52" y="21"/>
                  </a:cubicBezTo>
                  <a:cubicBezTo>
                    <a:pt x="49" y="39"/>
                    <a:pt x="62" y="56"/>
                    <a:pt x="72" y="69"/>
                  </a:cubicBezTo>
                  <a:cubicBezTo>
                    <a:pt x="77" y="75"/>
                    <a:pt x="81" y="82"/>
                    <a:pt x="83" y="90"/>
                  </a:cubicBezTo>
                  <a:cubicBezTo>
                    <a:pt x="85" y="94"/>
                    <a:pt x="85" y="96"/>
                    <a:pt x="81" y="96"/>
                  </a:cubicBezTo>
                  <a:cubicBezTo>
                    <a:pt x="57" y="94"/>
                    <a:pt x="47" y="39"/>
                    <a:pt x="19" y="56"/>
                  </a:cubicBezTo>
                  <a:cubicBezTo>
                    <a:pt x="0" y="68"/>
                    <a:pt x="0" y="101"/>
                    <a:pt x="6" y="119"/>
                  </a:cubicBezTo>
                  <a:cubicBezTo>
                    <a:pt x="9" y="128"/>
                    <a:pt x="16" y="137"/>
                    <a:pt x="26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9" name="íṩḻiḓê">
              <a:extLst>
                <a:ext uri="{FF2B5EF4-FFF2-40B4-BE49-F238E27FC236}">
                  <a16:creationId xmlns:a16="http://schemas.microsoft.com/office/drawing/2014/main" id="{44D5C217-E1F3-408A-9483-8936AF303C7C}"/>
                </a:ext>
              </a:extLst>
            </p:cNvPr>
            <p:cNvSpPr/>
            <p:nvPr/>
          </p:nvSpPr>
          <p:spPr bwMode="auto">
            <a:xfrm flipH="1">
              <a:off x="2974597" y="2697682"/>
              <a:ext cx="211533" cy="317214"/>
            </a:xfrm>
            <a:custGeom>
              <a:avLst/>
              <a:gdLst>
                <a:gd name="T0" fmla="*/ 232 w 232"/>
                <a:gd name="T1" fmla="*/ 369 h 369"/>
                <a:gd name="T2" fmla="*/ 206 w 232"/>
                <a:gd name="T3" fmla="*/ 7 h 369"/>
                <a:gd name="T4" fmla="*/ 185 w 232"/>
                <a:gd name="T5" fmla="*/ 0 h 369"/>
                <a:gd name="T6" fmla="*/ 206 w 232"/>
                <a:gd name="T7" fmla="*/ 29 h 369"/>
                <a:gd name="T8" fmla="*/ 206 w 232"/>
                <a:gd name="T9" fmla="*/ 239 h 369"/>
                <a:gd name="T10" fmla="*/ 185 w 232"/>
                <a:gd name="T11" fmla="*/ 265 h 369"/>
                <a:gd name="T12" fmla="*/ 206 w 232"/>
                <a:gd name="T13" fmla="*/ 296 h 369"/>
                <a:gd name="T14" fmla="*/ 185 w 232"/>
                <a:gd name="T15" fmla="*/ 296 h 369"/>
                <a:gd name="T16" fmla="*/ 206 w 232"/>
                <a:gd name="T17" fmla="*/ 317 h 369"/>
                <a:gd name="T18" fmla="*/ 206 w 232"/>
                <a:gd name="T19" fmla="*/ 346 h 369"/>
                <a:gd name="T20" fmla="*/ 185 w 232"/>
                <a:gd name="T21" fmla="*/ 369 h 369"/>
                <a:gd name="T22" fmla="*/ 161 w 232"/>
                <a:gd name="T23" fmla="*/ 7 h 369"/>
                <a:gd name="T24" fmla="*/ 116 w 232"/>
                <a:gd name="T25" fmla="*/ 29 h 369"/>
                <a:gd name="T26" fmla="*/ 185 w 232"/>
                <a:gd name="T27" fmla="*/ 0 h 369"/>
                <a:gd name="T28" fmla="*/ 161 w 232"/>
                <a:gd name="T29" fmla="*/ 0 h 369"/>
                <a:gd name="T30" fmla="*/ 185 w 232"/>
                <a:gd name="T31" fmla="*/ 369 h 369"/>
                <a:gd name="T32" fmla="*/ 161 w 232"/>
                <a:gd name="T33" fmla="*/ 346 h 369"/>
                <a:gd name="T34" fmla="*/ 185 w 232"/>
                <a:gd name="T35" fmla="*/ 317 h 369"/>
                <a:gd name="T36" fmla="*/ 161 w 232"/>
                <a:gd name="T37" fmla="*/ 296 h 369"/>
                <a:gd name="T38" fmla="*/ 185 w 232"/>
                <a:gd name="T39" fmla="*/ 265 h 369"/>
                <a:gd name="T40" fmla="*/ 116 w 232"/>
                <a:gd name="T41" fmla="*/ 239 h 369"/>
                <a:gd name="T42" fmla="*/ 138 w 232"/>
                <a:gd name="T43" fmla="*/ 265 h 369"/>
                <a:gd name="T44" fmla="*/ 138 w 232"/>
                <a:gd name="T45" fmla="*/ 296 h 369"/>
                <a:gd name="T46" fmla="*/ 116 w 232"/>
                <a:gd name="T47" fmla="*/ 317 h 369"/>
                <a:gd name="T48" fmla="*/ 138 w 232"/>
                <a:gd name="T49" fmla="*/ 346 h 369"/>
                <a:gd name="T50" fmla="*/ 116 w 232"/>
                <a:gd name="T51" fmla="*/ 346 h 369"/>
                <a:gd name="T52" fmla="*/ 116 w 232"/>
                <a:gd name="T53" fmla="*/ 7 h 369"/>
                <a:gd name="T54" fmla="*/ 48 w 232"/>
                <a:gd name="T55" fmla="*/ 29 h 369"/>
                <a:gd name="T56" fmla="*/ 116 w 232"/>
                <a:gd name="T57" fmla="*/ 7 h 369"/>
                <a:gd name="T58" fmla="*/ 48 w 232"/>
                <a:gd name="T59" fmla="*/ 369 h 369"/>
                <a:gd name="T60" fmla="*/ 116 w 232"/>
                <a:gd name="T61" fmla="*/ 346 h 369"/>
                <a:gd name="T62" fmla="*/ 93 w 232"/>
                <a:gd name="T63" fmla="*/ 317 h 369"/>
                <a:gd name="T64" fmla="*/ 116 w 232"/>
                <a:gd name="T65" fmla="*/ 296 h 369"/>
                <a:gd name="T66" fmla="*/ 93 w 232"/>
                <a:gd name="T67" fmla="*/ 265 h 369"/>
                <a:gd name="T68" fmla="*/ 116 w 232"/>
                <a:gd name="T69" fmla="*/ 239 h 369"/>
                <a:gd name="T70" fmla="*/ 48 w 232"/>
                <a:gd name="T71" fmla="*/ 265 h 369"/>
                <a:gd name="T72" fmla="*/ 69 w 232"/>
                <a:gd name="T73" fmla="*/ 296 h 369"/>
                <a:gd name="T74" fmla="*/ 48 w 232"/>
                <a:gd name="T75" fmla="*/ 296 h 369"/>
                <a:gd name="T76" fmla="*/ 69 w 232"/>
                <a:gd name="T77" fmla="*/ 317 h 369"/>
                <a:gd name="T78" fmla="*/ 69 w 232"/>
                <a:gd name="T79" fmla="*/ 346 h 369"/>
                <a:gd name="T80" fmla="*/ 48 w 232"/>
                <a:gd name="T81" fmla="*/ 369 h 369"/>
                <a:gd name="T82" fmla="*/ 0 w 232"/>
                <a:gd name="T83" fmla="*/ 7 h 369"/>
                <a:gd name="T84" fmla="*/ 48 w 232"/>
                <a:gd name="T85" fmla="*/ 369 h 369"/>
                <a:gd name="T86" fmla="*/ 26 w 232"/>
                <a:gd name="T87" fmla="*/ 346 h 369"/>
                <a:gd name="T88" fmla="*/ 48 w 232"/>
                <a:gd name="T89" fmla="*/ 317 h 369"/>
                <a:gd name="T90" fmla="*/ 26 w 232"/>
                <a:gd name="T91" fmla="*/ 296 h 369"/>
                <a:gd name="T92" fmla="*/ 48 w 232"/>
                <a:gd name="T93" fmla="*/ 265 h 369"/>
                <a:gd name="T94" fmla="*/ 26 w 232"/>
                <a:gd name="T95" fmla="*/ 239 h 369"/>
                <a:gd name="T96" fmla="*/ 48 w 232"/>
                <a:gd name="T97" fmla="*/ 2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369">
                  <a:moveTo>
                    <a:pt x="185" y="369"/>
                  </a:moveTo>
                  <a:lnTo>
                    <a:pt x="232" y="369"/>
                  </a:lnTo>
                  <a:lnTo>
                    <a:pt x="232" y="7"/>
                  </a:lnTo>
                  <a:lnTo>
                    <a:pt x="206" y="7"/>
                  </a:lnTo>
                  <a:lnTo>
                    <a:pt x="206" y="0"/>
                  </a:lnTo>
                  <a:lnTo>
                    <a:pt x="185" y="0"/>
                  </a:lnTo>
                  <a:lnTo>
                    <a:pt x="185" y="29"/>
                  </a:lnTo>
                  <a:lnTo>
                    <a:pt x="206" y="29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185" y="239"/>
                  </a:lnTo>
                  <a:lnTo>
                    <a:pt x="185" y="265"/>
                  </a:lnTo>
                  <a:lnTo>
                    <a:pt x="206" y="265"/>
                  </a:lnTo>
                  <a:lnTo>
                    <a:pt x="206" y="296"/>
                  </a:lnTo>
                  <a:lnTo>
                    <a:pt x="206" y="296"/>
                  </a:lnTo>
                  <a:lnTo>
                    <a:pt x="185" y="296"/>
                  </a:lnTo>
                  <a:lnTo>
                    <a:pt x="185" y="317"/>
                  </a:lnTo>
                  <a:lnTo>
                    <a:pt x="206" y="317"/>
                  </a:lnTo>
                  <a:lnTo>
                    <a:pt x="206" y="346"/>
                  </a:lnTo>
                  <a:lnTo>
                    <a:pt x="206" y="346"/>
                  </a:lnTo>
                  <a:lnTo>
                    <a:pt x="185" y="346"/>
                  </a:lnTo>
                  <a:lnTo>
                    <a:pt x="185" y="369"/>
                  </a:lnTo>
                  <a:close/>
                  <a:moveTo>
                    <a:pt x="161" y="0"/>
                  </a:moveTo>
                  <a:lnTo>
                    <a:pt x="161" y="7"/>
                  </a:lnTo>
                  <a:lnTo>
                    <a:pt x="116" y="7"/>
                  </a:lnTo>
                  <a:lnTo>
                    <a:pt x="116" y="29"/>
                  </a:lnTo>
                  <a:lnTo>
                    <a:pt x="185" y="29"/>
                  </a:lnTo>
                  <a:lnTo>
                    <a:pt x="185" y="0"/>
                  </a:lnTo>
                  <a:lnTo>
                    <a:pt x="161" y="0"/>
                  </a:lnTo>
                  <a:lnTo>
                    <a:pt x="161" y="0"/>
                  </a:lnTo>
                  <a:close/>
                  <a:moveTo>
                    <a:pt x="116" y="369"/>
                  </a:moveTo>
                  <a:lnTo>
                    <a:pt x="185" y="369"/>
                  </a:lnTo>
                  <a:lnTo>
                    <a:pt x="185" y="346"/>
                  </a:lnTo>
                  <a:lnTo>
                    <a:pt x="161" y="346"/>
                  </a:lnTo>
                  <a:lnTo>
                    <a:pt x="161" y="317"/>
                  </a:lnTo>
                  <a:lnTo>
                    <a:pt x="185" y="317"/>
                  </a:lnTo>
                  <a:lnTo>
                    <a:pt x="185" y="296"/>
                  </a:lnTo>
                  <a:lnTo>
                    <a:pt x="161" y="296"/>
                  </a:lnTo>
                  <a:lnTo>
                    <a:pt x="161" y="265"/>
                  </a:lnTo>
                  <a:lnTo>
                    <a:pt x="185" y="265"/>
                  </a:lnTo>
                  <a:lnTo>
                    <a:pt x="185" y="239"/>
                  </a:lnTo>
                  <a:lnTo>
                    <a:pt x="116" y="239"/>
                  </a:lnTo>
                  <a:lnTo>
                    <a:pt x="116" y="265"/>
                  </a:lnTo>
                  <a:lnTo>
                    <a:pt x="138" y="265"/>
                  </a:lnTo>
                  <a:lnTo>
                    <a:pt x="138" y="296"/>
                  </a:lnTo>
                  <a:lnTo>
                    <a:pt x="138" y="296"/>
                  </a:lnTo>
                  <a:lnTo>
                    <a:pt x="116" y="296"/>
                  </a:lnTo>
                  <a:lnTo>
                    <a:pt x="116" y="317"/>
                  </a:lnTo>
                  <a:lnTo>
                    <a:pt x="138" y="317"/>
                  </a:lnTo>
                  <a:lnTo>
                    <a:pt x="138" y="346"/>
                  </a:lnTo>
                  <a:lnTo>
                    <a:pt x="138" y="346"/>
                  </a:lnTo>
                  <a:lnTo>
                    <a:pt x="116" y="346"/>
                  </a:lnTo>
                  <a:lnTo>
                    <a:pt x="116" y="369"/>
                  </a:lnTo>
                  <a:close/>
                  <a:moveTo>
                    <a:pt x="116" y="7"/>
                  </a:moveTo>
                  <a:lnTo>
                    <a:pt x="48" y="7"/>
                  </a:lnTo>
                  <a:lnTo>
                    <a:pt x="48" y="29"/>
                  </a:lnTo>
                  <a:lnTo>
                    <a:pt x="116" y="29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48" y="369"/>
                  </a:moveTo>
                  <a:lnTo>
                    <a:pt x="116" y="369"/>
                  </a:lnTo>
                  <a:lnTo>
                    <a:pt x="116" y="346"/>
                  </a:lnTo>
                  <a:lnTo>
                    <a:pt x="93" y="346"/>
                  </a:lnTo>
                  <a:lnTo>
                    <a:pt x="93" y="317"/>
                  </a:lnTo>
                  <a:lnTo>
                    <a:pt x="116" y="317"/>
                  </a:lnTo>
                  <a:lnTo>
                    <a:pt x="116" y="296"/>
                  </a:lnTo>
                  <a:lnTo>
                    <a:pt x="93" y="296"/>
                  </a:lnTo>
                  <a:lnTo>
                    <a:pt x="93" y="265"/>
                  </a:lnTo>
                  <a:lnTo>
                    <a:pt x="116" y="265"/>
                  </a:lnTo>
                  <a:lnTo>
                    <a:pt x="116" y="239"/>
                  </a:lnTo>
                  <a:lnTo>
                    <a:pt x="48" y="239"/>
                  </a:lnTo>
                  <a:lnTo>
                    <a:pt x="48" y="265"/>
                  </a:lnTo>
                  <a:lnTo>
                    <a:pt x="69" y="265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48" y="296"/>
                  </a:lnTo>
                  <a:lnTo>
                    <a:pt x="48" y="317"/>
                  </a:lnTo>
                  <a:lnTo>
                    <a:pt x="69" y="317"/>
                  </a:lnTo>
                  <a:lnTo>
                    <a:pt x="69" y="346"/>
                  </a:lnTo>
                  <a:lnTo>
                    <a:pt x="69" y="346"/>
                  </a:lnTo>
                  <a:lnTo>
                    <a:pt x="48" y="346"/>
                  </a:lnTo>
                  <a:lnTo>
                    <a:pt x="48" y="369"/>
                  </a:lnTo>
                  <a:close/>
                  <a:moveTo>
                    <a:pt x="48" y="7"/>
                  </a:moveTo>
                  <a:lnTo>
                    <a:pt x="0" y="7"/>
                  </a:lnTo>
                  <a:lnTo>
                    <a:pt x="0" y="369"/>
                  </a:lnTo>
                  <a:lnTo>
                    <a:pt x="48" y="369"/>
                  </a:lnTo>
                  <a:lnTo>
                    <a:pt x="48" y="346"/>
                  </a:lnTo>
                  <a:lnTo>
                    <a:pt x="26" y="346"/>
                  </a:lnTo>
                  <a:lnTo>
                    <a:pt x="26" y="317"/>
                  </a:lnTo>
                  <a:lnTo>
                    <a:pt x="48" y="317"/>
                  </a:lnTo>
                  <a:lnTo>
                    <a:pt x="48" y="296"/>
                  </a:lnTo>
                  <a:lnTo>
                    <a:pt x="26" y="296"/>
                  </a:lnTo>
                  <a:lnTo>
                    <a:pt x="26" y="265"/>
                  </a:lnTo>
                  <a:lnTo>
                    <a:pt x="48" y="265"/>
                  </a:lnTo>
                  <a:lnTo>
                    <a:pt x="48" y="239"/>
                  </a:lnTo>
                  <a:lnTo>
                    <a:pt x="26" y="239"/>
                  </a:lnTo>
                  <a:lnTo>
                    <a:pt x="26" y="29"/>
                  </a:lnTo>
                  <a:lnTo>
                    <a:pt x="48" y="29"/>
                  </a:lnTo>
                  <a:lnTo>
                    <a:pt x="4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0" name="íŝḷïḍè">
              <a:extLst>
                <a:ext uri="{FF2B5EF4-FFF2-40B4-BE49-F238E27FC236}">
                  <a16:creationId xmlns:a16="http://schemas.microsoft.com/office/drawing/2014/main" id="{0EED2D10-A5E3-406F-9932-C874985753C1}"/>
                </a:ext>
              </a:extLst>
            </p:cNvPr>
            <p:cNvSpPr/>
            <p:nvPr/>
          </p:nvSpPr>
          <p:spPr bwMode="auto">
            <a:xfrm flipH="1">
              <a:off x="2633666" y="3105516"/>
              <a:ext cx="323682" cy="284547"/>
            </a:xfrm>
            <a:custGeom>
              <a:avLst/>
              <a:gdLst>
                <a:gd name="T0" fmla="*/ 141 w 150"/>
                <a:gd name="T1" fmla="*/ 140 h 140"/>
                <a:gd name="T2" fmla="*/ 141 w 150"/>
                <a:gd name="T3" fmla="*/ 129 h 140"/>
                <a:gd name="T4" fmla="*/ 150 w 150"/>
                <a:gd name="T5" fmla="*/ 22 h 140"/>
                <a:gd name="T6" fmla="*/ 131 w 150"/>
                <a:gd name="T7" fmla="*/ 38 h 140"/>
                <a:gd name="T8" fmla="*/ 131 w 150"/>
                <a:gd name="T9" fmla="*/ 55 h 140"/>
                <a:gd name="T10" fmla="*/ 131 w 150"/>
                <a:gd name="T11" fmla="*/ 67 h 140"/>
                <a:gd name="T12" fmla="*/ 131 w 150"/>
                <a:gd name="T13" fmla="*/ 84 h 140"/>
                <a:gd name="T14" fmla="*/ 65 w 150"/>
                <a:gd name="T15" fmla="*/ 7 h 140"/>
                <a:gd name="T16" fmla="*/ 63 w 150"/>
                <a:gd name="T17" fmla="*/ 9 h 140"/>
                <a:gd name="T18" fmla="*/ 63 w 150"/>
                <a:gd name="T19" fmla="*/ 129 h 140"/>
                <a:gd name="T20" fmla="*/ 122 w 150"/>
                <a:gd name="T21" fmla="*/ 129 h 140"/>
                <a:gd name="T22" fmla="*/ 131 w 150"/>
                <a:gd name="T23" fmla="*/ 140 h 140"/>
                <a:gd name="T24" fmla="*/ 123 w 150"/>
                <a:gd name="T25" fmla="*/ 75 h 140"/>
                <a:gd name="T26" fmla="*/ 131 w 150"/>
                <a:gd name="T27" fmla="*/ 55 h 140"/>
                <a:gd name="T28" fmla="*/ 123 w 150"/>
                <a:gd name="T29" fmla="*/ 47 h 140"/>
                <a:gd name="T30" fmla="*/ 131 w 150"/>
                <a:gd name="T31" fmla="*/ 22 h 140"/>
                <a:gd name="T32" fmla="*/ 63 w 150"/>
                <a:gd name="T33" fmla="*/ 35 h 140"/>
                <a:gd name="T34" fmla="*/ 108 w 150"/>
                <a:gd name="T35" fmla="*/ 115 h 140"/>
                <a:gd name="T36" fmla="*/ 63 w 150"/>
                <a:gd name="T37" fmla="*/ 115 h 140"/>
                <a:gd name="T38" fmla="*/ 131 w 150"/>
                <a:gd name="T39" fmla="*/ 67 h 140"/>
                <a:gd name="T40" fmla="*/ 63 w 150"/>
                <a:gd name="T41" fmla="*/ 5 h 140"/>
                <a:gd name="T42" fmla="*/ 33 w 150"/>
                <a:gd name="T43" fmla="*/ 20 h 140"/>
                <a:gd name="T44" fmla="*/ 0 w 150"/>
                <a:gd name="T45" fmla="*/ 7 h 140"/>
                <a:gd name="T46" fmla="*/ 20 w 150"/>
                <a:gd name="T47" fmla="*/ 22 h 140"/>
                <a:gd name="T48" fmla="*/ 3 w 150"/>
                <a:gd name="T49" fmla="*/ 129 h 140"/>
                <a:gd name="T50" fmla="*/ 14 w 150"/>
                <a:gd name="T51" fmla="*/ 129 h 140"/>
                <a:gd name="T52" fmla="*/ 33 w 150"/>
                <a:gd name="T53" fmla="*/ 140 h 140"/>
                <a:gd name="T54" fmla="*/ 33 w 150"/>
                <a:gd name="T55" fmla="*/ 129 h 140"/>
                <a:gd name="T56" fmla="*/ 63 w 150"/>
                <a:gd name="T57" fmla="*/ 115 h 140"/>
                <a:gd name="T58" fmla="*/ 17 w 150"/>
                <a:gd name="T59" fmla="*/ 35 h 140"/>
                <a:gd name="T60" fmla="*/ 63 w 150"/>
                <a:gd name="T61" fmla="*/ 22 h 140"/>
                <a:gd name="T62" fmla="*/ 46 w 150"/>
                <a:gd name="T63" fmla="*/ 21 h 140"/>
                <a:gd name="T64" fmla="*/ 63 w 150"/>
                <a:gd name="T65" fmla="*/ 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0" h="140">
                  <a:moveTo>
                    <a:pt x="131" y="140"/>
                  </a:moveTo>
                  <a:cubicBezTo>
                    <a:pt x="141" y="140"/>
                    <a:pt x="141" y="140"/>
                    <a:pt x="141" y="140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50" y="129"/>
                    <a:pt x="150" y="129"/>
                    <a:pt x="150" y="129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6" y="38"/>
                    <a:pt x="140" y="42"/>
                    <a:pt x="140" y="47"/>
                  </a:cubicBezTo>
                  <a:cubicBezTo>
                    <a:pt x="140" y="51"/>
                    <a:pt x="136" y="55"/>
                    <a:pt x="131" y="55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6" y="67"/>
                    <a:pt x="140" y="71"/>
                    <a:pt x="140" y="75"/>
                  </a:cubicBezTo>
                  <a:cubicBezTo>
                    <a:pt x="140" y="80"/>
                    <a:pt x="136" y="84"/>
                    <a:pt x="131" y="84"/>
                  </a:cubicBezTo>
                  <a:lnTo>
                    <a:pt x="131" y="140"/>
                  </a:lnTo>
                  <a:close/>
                  <a:moveTo>
                    <a:pt x="65" y="7"/>
                  </a:moveTo>
                  <a:cubicBezTo>
                    <a:pt x="63" y="5"/>
                    <a:pt x="63" y="5"/>
                    <a:pt x="63" y="5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5" y="7"/>
                    <a:pt x="65" y="7"/>
                    <a:pt x="65" y="7"/>
                  </a:cubicBezTo>
                  <a:close/>
                  <a:moveTo>
                    <a:pt x="63" y="129"/>
                  </a:moveTo>
                  <a:cubicBezTo>
                    <a:pt x="122" y="129"/>
                    <a:pt x="122" y="129"/>
                    <a:pt x="122" y="129"/>
                  </a:cubicBezTo>
                  <a:cubicBezTo>
                    <a:pt x="122" y="129"/>
                    <a:pt x="122" y="129"/>
                    <a:pt x="122" y="129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27" y="84"/>
                    <a:pt x="123" y="80"/>
                    <a:pt x="123" y="75"/>
                  </a:cubicBezTo>
                  <a:cubicBezTo>
                    <a:pt x="123" y="71"/>
                    <a:pt x="127" y="67"/>
                    <a:pt x="131" y="67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27" y="55"/>
                    <a:pt x="123" y="51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2"/>
                    <a:pt x="127" y="38"/>
                    <a:pt x="131" y="38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63" y="129"/>
                    <a:pt x="63" y="129"/>
                    <a:pt x="63" y="129"/>
                  </a:cubicBezTo>
                  <a:close/>
                  <a:moveTo>
                    <a:pt x="131" y="67"/>
                  </a:moveTo>
                  <a:cubicBezTo>
                    <a:pt x="131" y="67"/>
                    <a:pt x="131" y="67"/>
                    <a:pt x="131" y="67"/>
                  </a:cubicBezTo>
                  <a:moveTo>
                    <a:pt x="63" y="5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33" y="140"/>
                    <a:pt x="33" y="140"/>
                    <a:pt x="33" y="14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15"/>
                    <a:pt x="63" y="115"/>
                    <a:pt x="63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63" y="9"/>
                    <a:pt x="63" y="9"/>
                    <a:pt x="63" y="9"/>
                  </a:cubicBezTo>
                  <a:lnTo>
                    <a:pt x="6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1" name="îṧľíḓê">
              <a:extLst>
                <a:ext uri="{FF2B5EF4-FFF2-40B4-BE49-F238E27FC236}">
                  <a16:creationId xmlns:a16="http://schemas.microsoft.com/office/drawing/2014/main" id="{C3296E04-0409-4DED-8444-326A81631948}"/>
                </a:ext>
              </a:extLst>
            </p:cNvPr>
            <p:cNvSpPr/>
            <p:nvPr/>
          </p:nvSpPr>
          <p:spPr bwMode="auto">
            <a:xfrm flipH="1">
              <a:off x="2622914" y="3467476"/>
              <a:ext cx="308181" cy="178809"/>
            </a:xfrm>
            <a:custGeom>
              <a:avLst/>
              <a:gdLst>
                <a:gd name="T0" fmla="*/ 117 w 143"/>
                <a:gd name="T1" fmla="*/ 38 h 88"/>
                <a:gd name="T2" fmla="*/ 101 w 143"/>
                <a:gd name="T3" fmla="*/ 44 h 88"/>
                <a:gd name="T4" fmla="*/ 89 w 143"/>
                <a:gd name="T5" fmla="*/ 14 h 88"/>
                <a:gd name="T6" fmla="*/ 57 w 143"/>
                <a:gd name="T7" fmla="*/ 0 h 88"/>
                <a:gd name="T8" fmla="*/ 19 w 143"/>
                <a:gd name="T9" fmla="*/ 22 h 88"/>
                <a:gd name="T10" fmla="*/ 13 w 143"/>
                <a:gd name="T11" fmla="*/ 44 h 88"/>
                <a:gd name="T12" fmla="*/ 15 w 143"/>
                <a:gd name="T13" fmla="*/ 57 h 88"/>
                <a:gd name="T14" fmla="*/ 0 w 143"/>
                <a:gd name="T15" fmla="*/ 73 h 88"/>
                <a:gd name="T16" fmla="*/ 15 w 143"/>
                <a:gd name="T17" fmla="*/ 88 h 88"/>
                <a:gd name="T18" fmla="*/ 57 w 143"/>
                <a:gd name="T19" fmla="*/ 88 h 88"/>
                <a:gd name="T20" fmla="*/ 59 w 143"/>
                <a:gd name="T21" fmla="*/ 88 h 88"/>
                <a:gd name="T22" fmla="*/ 117 w 143"/>
                <a:gd name="T23" fmla="*/ 88 h 88"/>
                <a:gd name="T24" fmla="*/ 143 w 143"/>
                <a:gd name="T25" fmla="*/ 63 h 88"/>
                <a:gd name="T26" fmla="*/ 117 w 143"/>
                <a:gd name="T27" fmla="*/ 3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88">
                  <a:moveTo>
                    <a:pt x="117" y="38"/>
                  </a:moveTo>
                  <a:cubicBezTo>
                    <a:pt x="111" y="38"/>
                    <a:pt x="105" y="40"/>
                    <a:pt x="101" y="44"/>
                  </a:cubicBezTo>
                  <a:cubicBezTo>
                    <a:pt x="101" y="32"/>
                    <a:pt x="96" y="22"/>
                    <a:pt x="89" y="14"/>
                  </a:cubicBezTo>
                  <a:cubicBezTo>
                    <a:pt x="81" y="6"/>
                    <a:pt x="69" y="0"/>
                    <a:pt x="57" y="0"/>
                  </a:cubicBezTo>
                  <a:cubicBezTo>
                    <a:pt x="41" y="0"/>
                    <a:pt x="27" y="9"/>
                    <a:pt x="19" y="22"/>
                  </a:cubicBezTo>
                  <a:cubicBezTo>
                    <a:pt x="15" y="29"/>
                    <a:pt x="13" y="36"/>
                    <a:pt x="13" y="44"/>
                  </a:cubicBezTo>
                  <a:cubicBezTo>
                    <a:pt x="13" y="49"/>
                    <a:pt x="13" y="53"/>
                    <a:pt x="15" y="57"/>
                  </a:cubicBezTo>
                  <a:cubicBezTo>
                    <a:pt x="6" y="58"/>
                    <a:pt x="0" y="64"/>
                    <a:pt x="0" y="73"/>
                  </a:cubicBezTo>
                  <a:cubicBezTo>
                    <a:pt x="0" y="81"/>
                    <a:pt x="6" y="88"/>
                    <a:pt x="15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31" y="88"/>
                    <a:pt x="143" y="77"/>
                    <a:pt x="143" y="63"/>
                  </a:cubicBezTo>
                  <a:cubicBezTo>
                    <a:pt x="143" y="49"/>
                    <a:pt x="131" y="38"/>
                    <a:pt x="117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2" name="ïSḷiḋè">
              <a:extLst>
                <a:ext uri="{FF2B5EF4-FFF2-40B4-BE49-F238E27FC236}">
                  <a16:creationId xmlns:a16="http://schemas.microsoft.com/office/drawing/2014/main" id="{16F906C6-8E07-4076-A7B3-C07C487B4FE8}"/>
                </a:ext>
              </a:extLst>
            </p:cNvPr>
            <p:cNvSpPr/>
            <p:nvPr/>
          </p:nvSpPr>
          <p:spPr bwMode="auto">
            <a:xfrm flipH="1">
              <a:off x="2667176" y="2349463"/>
              <a:ext cx="114493" cy="222252"/>
            </a:xfrm>
            <a:custGeom>
              <a:avLst/>
              <a:gdLst>
                <a:gd name="T0" fmla="*/ 34 w 68"/>
                <a:gd name="T1" fmla="*/ 122 h 142"/>
                <a:gd name="T2" fmla="*/ 67 w 68"/>
                <a:gd name="T3" fmla="*/ 138 h 142"/>
                <a:gd name="T4" fmla="*/ 68 w 68"/>
                <a:gd name="T5" fmla="*/ 138 h 142"/>
                <a:gd name="T6" fmla="*/ 68 w 68"/>
                <a:gd name="T7" fmla="*/ 31 h 142"/>
                <a:gd name="T8" fmla="*/ 66 w 68"/>
                <a:gd name="T9" fmla="*/ 15 h 142"/>
                <a:gd name="T10" fmla="*/ 34 w 68"/>
                <a:gd name="T11" fmla="*/ 0 h 142"/>
                <a:gd name="T12" fmla="*/ 34 w 68"/>
                <a:gd name="T13" fmla="*/ 19 h 142"/>
                <a:gd name="T14" fmla="*/ 57 w 68"/>
                <a:gd name="T15" fmla="*/ 23 h 142"/>
                <a:gd name="T16" fmla="*/ 58 w 68"/>
                <a:gd name="T17" fmla="*/ 26 h 142"/>
                <a:gd name="T18" fmla="*/ 56 w 68"/>
                <a:gd name="T19" fmla="*/ 27 h 142"/>
                <a:gd name="T20" fmla="*/ 55 w 68"/>
                <a:gd name="T21" fmla="*/ 27 h 142"/>
                <a:gd name="T22" fmla="*/ 51 w 68"/>
                <a:gd name="T23" fmla="*/ 25 h 142"/>
                <a:gd name="T24" fmla="*/ 34 w 68"/>
                <a:gd name="T25" fmla="*/ 23 h 142"/>
                <a:gd name="T26" fmla="*/ 34 w 68"/>
                <a:gd name="T27" fmla="*/ 38 h 142"/>
                <a:gd name="T28" fmla="*/ 57 w 68"/>
                <a:gd name="T29" fmla="*/ 43 h 142"/>
                <a:gd name="T30" fmla="*/ 58 w 68"/>
                <a:gd name="T31" fmla="*/ 45 h 142"/>
                <a:gd name="T32" fmla="*/ 56 w 68"/>
                <a:gd name="T33" fmla="*/ 46 h 142"/>
                <a:gd name="T34" fmla="*/ 55 w 68"/>
                <a:gd name="T35" fmla="*/ 46 h 142"/>
                <a:gd name="T36" fmla="*/ 51 w 68"/>
                <a:gd name="T37" fmla="*/ 44 h 142"/>
                <a:gd name="T38" fmla="*/ 34 w 68"/>
                <a:gd name="T39" fmla="*/ 42 h 142"/>
                <a:gd name="T40" fmla="*/ 34 w 68"/>
                <a:gd name="T41" fmla="*/ 57 h 142"/>
                <a:gd name="T42" fmla="*/ 57 w 68"/>
                <a:gd name="T43" fmla="*/ 62 h 142"/>
                <a:gd name="T44" fmla="*/ 58 w 68"/>
                <a:gd name="T45" fmla="*/ 64 h 142"/>
                <a:gd name="T46" fmla="*/ 56 w 68"/>
                <a:gd name="T47" fmla="*/ 65 h 142"/>
                <a:gd name="T48" fmla="*/ 55 w 68"/>
                <a:gd name="T49" fmla="*/ 65 h 142"/>
                <a:gd name="T50" fmla="*/ 51 w 68"/>
                <a:gd name="T51" fmla="*/ 63 h 142"/>
                <a:gd name="T52" fmla="*/ 34 w 68"/>
                <a:gd name="T53" fmla="*/ 61 h 142"/>
                <a:gd name="T54" fmla="*/ 34 w 68"/>
                <a:gd name="T55" fmla="*/ 122 h 142"/>
                <a:gd name="T56" fmla="*/ 1 w 68"/>
                <a:gd name="T57" fmla="*/ 138 h 142"/>
                <a:gd name="T58" fmla="*/ 34 w 68"/>
                <a:gd name="T59" fmla="*/ 122 h 142"/>
                <a:gd name="T60" fmla="*/ 34 w 68"/>
                <a:gd name="T61" fmla="*/ 61 h 142"/>
                <a:gd name="T62" fmla="*/ 17 w 68"/>
                <a:gd name="T63" fmla="*/ 63 h 142"/>
                <a:gd name="T64" fmla="*/ 13 w 68"/>
                <a:gd name="T65" fmla="*/ 65 h 142"/>
                <a:gd name="T66" fmla="*/ 10 w 68"/>
                <a:gd name="T67" fmla="*/ 64 h 142"/>
                <a:gd name="T68" fmla="*/ 11 w 68"/>
                <a:gd name="T69" fmla="*/ 62 h 142"/>
                <a:gd name="T70" fmla="*/ 11 w 68"/>
                <a:gd name="T71" fmla="*/ 62 h 142"/>
                <a:gd name="T72" fmla="*/ 34 w 68"/>
                <a:gd name="T73" fmla="*/ 57 h 142"/>
                <a:gd name="T74" fmla="*/ 34 w 68"/>
                <a:gd name="T75" fmla="*/ 42 h 142"/>
                <a:gd name="T76" fmla="*/ 17 w 68"/>
                <a:gd name="T77" fmla="*/ 44 h 142"/>
                <a:gd name="T78" fmla="*/ 13 w 68"/>
                <a:gd name="T79" fmla="*/ 46 h 142"/>
                <a:gd name="T80" fmla="*/ 10 w 68"/>
                <a:gd name="T81" fmla="*/ 45 h 142"/>
                <a:gd name="T82" fmla="*/ 11 w 68"/>
                <a:gd name="T83" fmla="*/ 43 h 142"/>
                <a:gd name="T84" fmla="*/ 11 w 68"/>
                <a:gd name="T85" fmla="*/ 43 h 142"/>
                <a:gd name="T86" fmla="*/ 34 w 68"/>
                <a:gd name="T87" fmla="*/ 38 h 142"/>
                <a:gd name="T88" fmla="*/ 34 w 68"/>
                <a:gd name="T89" fmla="*/ 23 h 142"/>
                <a:gd name="T90" fmla="*/ 17 w 68"/>
                <a:gd name="T91" fmla="*/ 25 h 142"/>
                <a:gd name="T92" fmla="*/ 13 w 68"/>
                <a:gd name="T93" fmla="*/ 27 h 142"/>
                <a:gd name="T94" fmla="*/ 10 w 68"/>
                <a:gd name="T95" fmla="*/ 26 h 142"/>
                <a:gd name="T96" fmla="*/ 11 w 68"/>
                <a:gd name="T97" fmla="*/ 23 h 142"/>
                <a:gd name="T98" fmla="*/ 11 w 68"/>
                <a:gd name="T99" fmla="*/ 23 h 142"/>
                <a:gd name="T100" fmla="*/ 34 w 68"/>
                <a:gd name="T101" fmla="*/ 19 h 142"/>
                <a:gd name="T102" fmla="*/ 34 w 68"/>
                <a:gd name="T103" fmla="*/ 0 h 142"/>
                <a:gd name="T104" fmla="*/ 2 w 68"/>
                <a:gd name="T105" fmla="*/ 15 h 142"/>
                <a:gd name="T106" fmla="*/ 0 w 68"/>
                <a:gd name="T107" fmla="*/ 31 h 142"/>
                <a:gd name="T108" fmla="*/ 0 w 68"/>
                <a:gd name="T109" fmla="*/ 138 h 142"/>
                <a:gd name="T110" fmla="*/ 1 w 68"/>
                <a:gd name="T111" fmla="*/ 13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142">
                  <a:moveTo>
                    <a:pt x="34" y="122"/>
                  </a:moveTo>
                  <a:cubicBezTo>
                    <a:pt x="50" y="122"/>
                    <a:pt x="63" y="126"/>
                    <a:pt x="67" y="138"/>
                  </a:cubicBezTo>
                  <a:cubicBezTo>
                    <a:pt x="68" y="142"/>
                    <a:pt x="68" y="142"/>
                    <a:pt x="68" y="138"/>
                  </a:cubicBezTo>
                  <a:cubicBezTo>
                    <a:pt x="68" y="116"/>
                    <a:pt x="68" y="53"/>
                    <a:pt x="68" y="31"/>
                  </a:cubicBezTo>
                  <a:cubicBezTo>
                    <a:pt x="68" y="26"/>
                    <a:pt x="68" y="19"/>
                    <a:pt x="66" y="15"/>
                  </a:cubicBezTo>
                  <a:cubicBezTo>
                    <a:pt x="62" y="3"/>
                    <a:pt x="49" y="0"/>
                    <a:pt x="34" y="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44" y="19"/>
                    <a:pt x="51" y="21"/>
                    <a:pt x="57" y="23"/>
                  </a:cubicBezTo>
                  <a:cubicBezTo>
                    <a:pt x="58" y="24"/>
                    <a:pt x="58" y="25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56" y="27"/>
                    <a:pt x="56" y="27"/>
                    <a:pt x="55" y="27"/>
                  </a:cubicBezTo>
                  <a:cubicBezTo>
                    <a:pt x="54" y="26"/>
                    <a:pt x="52" y="26"/>
                    <a:pt x="51" y="25"/>
                  </a:cubicBezTo>
                  <a:cubicBezTo>
                    <a:pt x="46" y="24"/>
                    <a:pt x="41" y="23"/>
                    <a:pt x="34" y="23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44" y="38"/>
                    <a:pt x="51" y="40"/>
                    <a:pt x="57" y="43"/>
                  </a:cubicBezTo>
                  <a:cubicBezTo>
                    <a:pt x="58" y="43"/>
                    <a:pt x="58" y="44"/>
                    <a:pt x="58" y="45"/>
                  </a:cubicBezTo>
                  <a:cubicBezTo>
                    <a:pt x="58" y="46"/>
                    <a:pt x="57" y="46"/>
                    <a:pt x="56" y="46"/>
                  </a:cubicBezTo>
                  <a:cubicBezTo>
                    <a:pt x="56" y="46"/>
                    <a:pt x="56" y="46"/>
                    <a:pt x="55" y="46"/>
                  </a:cubicBezTo>
                  <a:cubicBezTo>
                    <a:pt x="54" y="45"/>
                    <a:pt x="52" y="45"/>
                    <a:pt x="51" y="44"/>
                  </a:cubicBezTo>
                  <a:cubicBezTo>
                    <a:pt x="46" y="43"/>
                    <a:pt x="41" y="42"/>
                    <a:pt x="34" y="4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44" y="57"/>
                    <a:pt x="51" y="59"/>
                    <a:pt x="57" y="62"/>
                  </a:cubicBezTo>
                  <a:cubicBezTo>
                    <a:pt x="58" y="62"/>
                    <a:pt x="58" y="63"/>
                    <a:pt x="58" y="64"/>
                  </a:cubicBezTo>
                  <a:cubicBezTo>
                    <a:pt x="58" y="65"/>
                    <a:pt x="57" y="65"/>
                    <a:pt x="56" y="65"/>
                  </a:cubicBezTo>
                  <a:cubicBezTo>
                    <a:pt x="56" y="65"/>
                    <a:pt x="56" y="65"/>
                    <a:pt x="55" y="65"/>
                  </a:cubicBezTo>
                  <a:cubicBezTo>
                    <a:pt x="54" y="64"/>
                    <a:pt x="52" y="64"/>
                    <a:pt x="51" y="63"/>
                  </a:cubicBezTo>
                  <a:cubicBezTo>
                    <a:pt x="46" y="62"/>
                    <a:pt x="41" y="61"/>
                    <a:pt x="34" y="61"/>
                  </a:cubicBezTo>
                  <a:lnTo>
                    <a:pt x="34" y="122"/>
                  </a:lnTo>
                  <a:close/>
                  <a:moveTo>
                    <a:pt x="1" y="138"/>
                  </a:moveTo>
                  <a:cubicBezTo>
                    <a:pt x="5" y="126"/>
                    <a:pt x="18" y="122"/>
                    <a:pt x="34" y="12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7" y="61"/>
                    <a:pt x="22" y="62"/>
                    <a:pt x="17" y="63"/>
                  </a:cubicBezTo>
                  <a:cubicBezTo>
                    <a:pt x="16" y="64"/>
                    <a:pt x="14" y="64"/>
                    <a:pt x="13" y="65"/>
                  </a:cubicBezTo>
                  <a:cubicBezTo>
                    <a:pt x="12" y="66"/>
                    <a:pt x="10" y="65"/>
                    <a:pt x="10" y="64"/>
                  </a:cubicBezTo>
                  <a:cubicBezTo>
                    <a:pt x="9" y="63"/>
                    <a:pt x="10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7" y="59"/>
                    <a:pt x="24" y="57"/>
                    <a:pt x="34" y="5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7" y="42"/>
                    <a:pt x="22" y="43"/>
                    <a:pt x="17" y="44"/>
                  </a:cubicBezTo>
                  <a:cubicBezTo>
                    <a:pt x="16" y="45"/>
                    <a:pt x="14" y="45"/>
                    <a:pt x="13" y="46"/>
                  </a:cubicBezTo>
                  <a:cubicBezTo>
                    <a:pt x="12" y="47"/>
                    <a:pt x="10" y="46"/>
                    <a:pt x="10" y="45"/>
                  </a:cubicBezTo>
                  <a:cubicBezTo>
                    <a:pt x="9" y="44"/>
                    <a:pt x="10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7" y="40"/>
                    <a:pt x="24" y="38"/>
                    <a:pt x="34" y="3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7" y="23"/>
                    <a:pt x="22" y="24"/>
                    <a:pt x="17" y="25"/>
                  </a:cubicBezTo>
                  <a:cubicBezTo>
                    <a:pt x="15" y="26"/>
                    <a:pt x="14" y="26"/>
                    <a:pt x="13" y="27"/>
                  </a:cubicBezTo>
                  <a:cubicBezTo>
                    <a:pt x="12" y="27"/>
                    <a:pt x="10" y="27"/>
                    <a:pt x="10" y="26"/>
                  </a:cubicBezTo>
                  <a:cubicBezTo>
                    <a:pt x="9" y="25"/>
                    <a:pt x="10" y="24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21"/>
                    <a:pt x="24" y="19"/>
                    <a:pt x="34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6" y="3"/>
                    <a:pt x="2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3" name="îŝḷïde">
              <a:extLst>
                <a:ext uri="{FF2B5EF4-FFF2-40B4-BE49-F238E27FC236}">
                  <a16:creationId xmlns:a16="http://schemas.microsoft.com/office/drawing/2014/main" id="{E599A664-0921-495F-AC2C-1D11A6A83DB1}"/>
                </a:ext>
              </a:extLst>
            </p:cNvPr>
            <p:cNvSpPr/>
            <p:nvPr/>
          </p:nvSpPr>
          <p:spPr bwMode="auto">
            <a:xfrm flipH="1">
              <a:off x="2544151" y="2349463"/>
              <a:ext cx="112359" cy="222252"/>
            </a:xfrm>
            <a:custGeom>
              <a:avLst/>
              <a:gdLst>
                <a:gd name="T0" fmla="*/ 67 w 67"/>
                <a:gd name="T1" fmla="*/ 138 h 142"/>
                <a:gd name="T2" fmla="*/ 66 w 67"/>
                <a:gd name="T3" fmla="*/ 15 h 142"/>
                <a:gd name="T4" fmla="*/ 33 w 67"/>
                <a:gd name="T5" fmla="*/ 19 h 142"/>
                <a:gd name="T6" fmla="*/ 57 w 67"/>
                <a:gd name="T7" fmla="*/ 26 h 142"/>
                <a:gd name="T8" fmla="*/ 56 w 67"/>
                <a:gd name="T9" fmla="*/ 27 h 142"/>
                <a:gd name="T10" fmla="*/ 50 w 67"/>
                <a:gd name="T11" fmla="*/ 25 h 142"/>
                <a:gd name="T12" fmla="*/ 33 w 67"/>
                <a:gd name="T13" fmla="*/ 38 h 142"/>
                <a:gd name="T14" fmla="*/ 57 w 67"/>
                <a:gd name="T15" fmla="*/ 45 h 142"/>
                <a:gd name="T16" fmla="*/ 56 w 67"/>
                <a:gd name="T17" fmla="*/ 46 h 142"/>
                <a:gd name="T18" fmla="*/ 50 w 67"/>
                <a:gd name="T19" fmla="*/ 44 h 142"/>
                <a:gd name="T20" fmla="*/ 33 w 67"/>
                <a:gd name="T21" fmla="*/ 57 h 142"/>
                <a:gd name="T22" fmla="*/ 57 w 67"/>
                <a:gd name="T23" fmla="*/ 64 h 142"/>
                <a:gd name="T24" fmla="*/ 56 w 67"/>
                <a:gd name="T25" fmla="*/ 65 h 142"/>
                <a:gd name="T26" fmla="*/ 50 w 67"/>
                <a:gd name="T27" fmla="*/ 63 h 142"/>
                <a:gd name="T28" fmla="*/ 33 w 67"/>
                <a:gd name="T29" fmla="*/ 122 h 142"/>
                <a:gd name="T30" fmla="*/ 66 w 67"/>
                <a:gd name="T31" fmla="*/ 138 h 142"/>
                <a:gd name="T32" fmla="*/ 33 w 67"/>
                <a:gd name="T33" fmla="*/ 0 h 142"/>
                <a:gd name="T34" fmla="*/ 0 w 67"/>
                <a:gd name="T35" fmla="*/ 31 h 142"/>
                <a:gd name="T36" fmla="*/ 1 w 67"/>
                <a:gd name="T37" fmla="*/ 138 h 142"/>
                <a:gd name="T38" fmla="*/ 33 w 67"/>
                <a:gd name="T39" fmla="*/ 61 h 142"/>
                <a:gd name="T40" fmla="*/ 17 w 67"/>
                <a:gd name="T41" fmla="*/ 63 h 142"/>
                <a:gd name="T42" fmla="*/ 9 w 67"/>
                <a:gd name="T43" fmla="*/ 64 h 142"/>
                <a:gd name="T44" fmla="*/ 33 w 67"/>
                <a:gd name="T45" fmla="*/ 57 h 142"/>
                <a:gd name="T46" fmla="*/ 33 w 67"/>
                <a:gd name="T47" fmla="*/ 42 h 142"/>
                <a:gd name="T48" fmla="*/ 17 w 67"/>
                <a:gd name="T49" fmla="*/ 44 h 142"/>
                <a:gd name="T50" fmla="*/ 9 w 67"/>
                <a:gd name="T51" fmla="*/ 45 h 142"/>
                <a:gd name="T52" fmla="*/ 33 w 67"/>
                <a:gd name="T53" fmla="*/ 38 h 142"/>
                <a:gd name="T54" fmla="*/ 33 w 67"/>
                <a:gd name="T55" fmla="*/ 23 h 142"/>
                <a:gd name="T56" fmla="*/ 17 w 67"/>
                <a:gd name="T57" fmla="*/ 25 h 142"/>
                <a:gd name="T58" fmla="*/ 9 w 67"/>
                <a:gd name="T59" fmla="*/ 26 h 142"/>
                <a:gd name="T60" fmla="*/ 33 w 67"/>
                <a:gd name="T61" fmla="*/ 19 h 142"/>
                <a:gd name="T62" fmla="*/ 33 w 67"/>
                <a:gd name="T6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142">
                  <a:moveTo>
                    <a:pt x="66" y="138"/>
                  </a:moveTo>
                  <a:cubicBezTo>
                    <a:pt x="67" y="142"/>
                    <a:pt x="67" y="142"/>
                    <a:pt x="67" y="138"/>
                  </a:cubicBezTo>
                  <a:cubicBezTo>
                    <a:pt x="67" y="116"/>
                    <a:pt x="67" y="53"/>
                    <a:pt x="67" y="31"/>
                  </a:cubicBezTo>
                  <a:cubicBezTo>
                    <a:pt x="67" y="26"/>
                    <a:pt x="67" y="19"/>
                    <a:pt x="66" y="15"/>
                  </a:cubicBezTo>
                  <a:cubicBezTo>
                    <a:pt x="62" y="3"/>
                    <a:pt x="49" y="0"/>
                    <a:pt x="33" y="0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43" y="19"/>
                    <a:pt x="51" y="21"/>
                    <a:pt x="57" y="23"/>
                  </a:cubicBezTo>
                  <a:cubicBezTo>
                    <a:pt x="58" y="24"/>
                    <a:pt x="58" y="25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3" y="26"/>
                    <a:pt x="52" y="26"/>
                    <a:pt x="50" y="25"/>
                  </a:cubicBezTo>
                  <a:cubicBezTo>
                    <a:pt x="46" y="24"/>
                    <a:pt x="40" y="23"/>
                    <a:pt x="33" y="23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43" y="38"/>
                    <a:pt x="51" y="40"/>
                    <a:pt x="57" y="43"/>
                  </a:cubicBezTo>
                  <a:cubicBezTo>
                    <a:pt x="58" y="43"/>
                    <a:pt x="58" y="44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6"/>
                    <a:pt x="56" y="46"/>
                    <a:pt x="56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3" y="45"/>
                    <a:pt x="52" y="45"/>
                    <a:pt x="50" y="44"/>
                  </a:cubicBezTo>
                  <a:cubicBezTo>
                    <a:pt x="46" y="43"/>
                    <a:pt x="40" y="42"/>
                    <a:pt x="33" y="4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43" y="57"/>
                    <a:pt x="51" y="59"/>
                    <a:pt x="57" y="62"/>
                  </a:cubicBezTo>
                  <a:cubicBezTo>
                    <a:pt x="58" y="62"/>
                    <a:pt x="58" y="63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6" y="65"/>
                    <a:pt x="56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3" y="64"/>
                    <a:pt x="52" y="64"/>
                    <a:pt x="50" y="63"/>
                  </a:cubicBezTo>
                  <a:cubicBezTo>
                    <a:pt x="46" y="62"/>
                    <a:pt x="40" y="61"/>
                    <a:pt x="33" y="61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49" y="122"/>
                    <a:pt x="62" y="126"/>
                    <a:pt x="66" y="138"/>
                  </a:cubicBezTo>
                  <a:close/>
                  <a:moveTo>
                    <a:pt x="33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5" y="3"/>
                    <a:pt x="1" y="15"/>
                  </a:cubicBezTo>
                  <a:cubicBezTo>
                    <a:pt x="0" y="19"/>
                    <a:pt x="0" y="26"/>
                    <a:pt x="0" y="31"/>
                  </a:cubicBezTo>
                  <a:cubicBezTo>
                    <a:pt x="0" y="53"/>
                    <a:pt x="0" y="116"/>
                    <a:pt x="0" y="138"/>
                  </a:cubicBezTo>
                  <a:cubicBezTo>
                    <a:pt x="0" y="142"/>
                    <a:pt x="0" y="142"/>
                    <a:pt x="1" y="138"/>
                  </a:cubicBezTo>
                  <a:cubicBezTo>
                    <a:pt x="5" y="126"/>
                    <a:pt x="18" y="122"/>
                    <a:pt x="33" y="12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7" y="61"/>
                    <a:pt x="21" y="62"/>
                    <a:pt x="17" y="63"/>
                  </a:cubicBezTo>
                  <a:cubicBezTo>
                    <a:pt x="15" y="64"/>
                    <a:pt x="13" y="64"/>
                    <a:pt x="12" y="65"/>
                  </a:cubicBezTo>
                  <a:cubicBezTo>
                    <a:pt x="11" y="66"/>
                    <a:pt x="10" y="65"/>
                    <a:pt x="9" y="64"/>
                  </a:cubicBezTo>
                  <a:cubicBezTo>
                    <a:pt x="9" y="63"/>
                    <a:pt x="9" y="62"/>
                    <a:pt x="10" y="62"/>
                  </a:cubicBezTo>
                  <a:cubicBezTo>
                    <a:pt x="16" y="59"/>
                    <a:pt x="24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7" y="42"/>
                    <a:pt x="21" y="43"/>
                    <a:pt x="17" y="44"/>
                  </a:cubicBezTo>
                  <a:cubicBezTo>
                    <a:pt x="15" y="45"/>
                    <a:pt x="13" y="45"/>
                    <a:pt x="12" y="46"/>
                  </a:cubicBezTo>
                  <a:cubicBezTo>
                    <a:pt x="11" y="47"/>
                    <a:pt x="10" y="46"/>
                    <a:pt x="9" y="45"/>
                  </a:cubicBezTo>
                  <a:cubicBezTo>
                    <a:pt x="9" y="44"/>
                    <a:pt x="9" y="43"/>
                    <a:pt x="10" y="43"/>
                  </a:cubicBezTo>
                  <a:cubicBezTo>
                    <a:pt x="16" y="40"/>
                    <a:pt x="24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3"/>
                    <a:pt x="21" y="24"/>
                    <a:pt x="17" y="25"/>
                  </a:cubicBezTo>
                  <a:cubicBezTo>
                    <a:pt x="15" y="26"/>
                    <a:pt x="13" y="26"/>
                    <a:pt x="12" y="27"/>
                  </a:cubicBezTo>
                  <a:cubicBezTo>
                    <a:pt x="11" y="27"/>
                    <a:pt x="10" y="27"/>
                    <a:pt x="9" y="26"/>
                  </a:cubicBezTo>
                  <a:cubicBezTo>
                    <a:pt x="9" y="25"/>
                    <a:pt x="9" y="24"/>
                    <a:pt x="10" y="23"/>
                  </a:cubicBezTo>
                  <a:cubicBezTo>
                    <a:pt x="16" y="21"/>
                    <a:pt x="24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4" name="îś1idê">
              <a:extLst>
                <a:ext uri="{FF2B5EF4-FFF2-40B4-BE49-F238E27FC236}">
                  <a16:creationId xmlns:a16="http://schemas.microsoft.com/office/drawing/2014/main" id="{36858C06-5699-418A-8798-48FF3EFBC3AD}"/>
                </a:ext>
              </a:extLst>
            </p:cNvPr>
            <p:cNvSpPr/>
            <p:nvPr/>
          </p:nvSpPr>
          <p:spPr bwMode="auto">
            <a:xfrm flipH="1">
              <a:off x="2895644" y="3697186"/>
              <a:ext cx="118531" cy="111756"/>
            </a:xfrm>
            <a:custGeom>
              <a:avLst/>
              <a:gdLst>
                <a:gd name="T0" fmla="*/ 41 w 55"/>
                <a:gd name="T1" fmla="*/ 51 h 55"/>
                <a:gd name="T2" fmla="*/ 52 w 55"/>
                <a:gd name="T3" fmla="*/ 41 h 55"/>
                <a:gd name="T4" fmla="*/ 55 w 55"/>
                <a:gd name="T5" fmla="*/ 33 h 55"/>
                <a:gd name="T6" fmla="*/ 55 w 55"/>
                <a:gd name="T7" fmla="*/ 22 h 55"/>
                <a:gd name="T8" fmla="*/ 52 w 55"/>
                <a:gd name="T9" fmla="*/ 14 h 55"/>
                <a:gd name="T10" fmla="*/ 41 w 55"/>
                <a:gd name="T11" fmla="*/ 4 h 55"/>
                <a:gd name="T12" fmla="*/ 38 w 55"/>
                <a:gd name="T13" fmla="*/ 2 h 55"/>
                <a:gd name="T14" fmla="*/ 30 w 55"/>
                <a:gd name="T15" fmla="*/ 0 h 55"/>
                <a:gd name="T16" fmla="*/ 31 w 55"/>
                <a:gd name="T17" fmla="*/ 3 h 55"/>
                <a:gd name="T18" fmla="*/ 34 w 55"/>
                <a:gd name="T19" fmla="*/ 3 h 55"/>
                <a:gd name="T20" fmla="*/ 37 w 55"/>
                <a:gd name="T21" fmla="*/ 4 h 55"/>
                <a:gd name="T22" fmla="*/ 36 w 55"/>
                <a:gd name="T23" fmla="*/ 5 h 55"/>
                <a:gd name="T24" fmla="*/ 32 w 55"/>
                <a:gd name="T25" fmla="*/ 6 h 55"/>
                <a:gd name="T26" fmla="*/ 33 w 55"/>
                <a:gd name="T27" fmla="*/ 9 h 55"/>
                <a:gd name="T28" fmla="*/ 35 w 55"/>
                <a:gd name="T29" fmla="*/ 11 h 55"/>
                <a:gd name="T30" fmla="*/ 39 w 55"/>
                <a:gd name="T31" fmla="*/ 6 h 55"/>
                <a:gd name="T32" fmla="*/ 42 w 55"/>
                <a:gd name="T33" fmla="*/ 7 h 55"/>
                <a:gd name="T34" fmla="*/ 44 w 55"/>
                <a:gd name="T35" fmla="*/ 8 h 55"/>
                <a:gd name="T36" fmla="*/ 46 w 55"/>
                <a:gd name="T37" fmla="*/ 12 h 55"/>
                <a:gd name="T38" fmla="*/ 45 w 55"/>
                <a:gd name="T39" fmla="*/ 13 h 55"/>
                <a:gd name="T40" fmla="*/ 43 w 55"/>
                <a:gd name="T41" fmla="*/ 12 h 55"/>
                <a:gd name="T42" fmla="*/ 40 w 55"/>
                <a:gd name="T43" fmla="*/ 13 h 55"/>
                <a:gd name="T44" fmla="*/ 42 w 55"/>
                <a:gd name="T45" fmla="*/ 14 h 55"/>
                <a:gd name="T46" fmla="*/ 37 w 55"/>
                <a:gd name="T47" fmla="*/ 16 h 55"/>
                <a:gd name="T48" fmla="*/ 34 w 55"/>
                <a:gd name="T49" fmla="*/ 18 h 55"/>
                <a:gd name="T50" fmla="*/ 30 w 55"/>
                <a:gd name="T51" fmla="*/ 21 h 55"/>
                <a:gd name="T52" fmla="*/ 32 w 55"/>
                <a:gd name="T53" fmla="*/ 33 h 55"/>
                <a:gd name="T54" fmla="*/ 35 w 55"/>
                <a:gd name="T55" fmla="*/ 34 h 55"/>
                <a:gd name="T56" fmla="*/ 38 w 55"/>
                <a:gd name="T57" fmla="*/ 35 h 55"/>
                <a:gd name="T58" fmla="*/ 43 w 55"/>
                <a:gd name="T59" fmla="*/ 37 h 55"/>
                <a:gd name="T60" fmla="*/ 46 w 55"/>
                <a:gd name="T61" fmla="*/ 40 h 55"/>
                <a:gd name="T62" fmla="*/ 50 w 55"/>
                <a:gd name="T63" fmla="*/ 41 h 55"/>
                <a:gd name="T64" fmla="*/ 32 w 55"/>
                <a:gd name="T65" fmla="*/ 48 h 55"/>
                <a:gd name="T66" fmla="*/ 1 w 55"/>
                <a:gd name="T67" fmla="*/ 24 h 55"/>
                <a:gd name="T68" fmla="*/ 1 w 55"/>
                <a:gd name="T69" fmla="*/ 35 h 55"/>
                <a:gd name="T70" fmla="*/ 6 w 55"/>
                <a:gd name="T71" fmla="*/ 45 h 55"/>
                <a:gd name="T72" fmla="*/ 18 w 55"/>
                <a:gd name="T73" fmla="*/ 53 h 55"/>
                <a:gd name="T74" fmla="*/ 28 w 55"/>
                <a:gd name="T75" fmla="*/ 44 h 55"/>
                <a:gd name="T76" fmla="*/ 27 w 55"/>
                <a:gd name="T77" fmla="*/ 39 h 55"/>
                <a:gd name="T78" fmla="*/ 29 w 55"/>
                <a:gd name="T79" fmla="*/ 35 h 55"/>
                <a:gd name="T80" fmla="*/ 25 w 55"/>
                <a:gd name="T81" fmla="*/ 34 h 55"/>
                <a:gd name="T82" fmla="*/ 22 w 55"/>
                <a:gd name="T83" fmla="*/ 32 h 55"/>
                <a:gd name="T84" fmla="*/ 16 w 55"/>
                <a:gd name="T85" fmla="*/ 29 h 55"/>
                <a:gd name="T86" fmla="*/ 14 w 55"/>
                <a:gd name="T87" fmla="*/ 25 h 55"/>
                <a:gd name="T88" fmla="*/ 12 w 55"/>
                <a:gd name="T89" fmla="*/ 24 h 55"/>
                <a:gd name="T90" fmla="*/ 12 w 55"/>
                <a:gd name="T91" fmla="*/ 25 h 55"/>
                <a:gd name="T92" fmla="*/ 10 w 55"/>
                <a:gd name="T93" fmla="*/ 21 h 55"/>
                <a:gd name="T94" fmla="*/ 10 w 55"/>
                <a:gd name="T95" fmla="*/ 16 h 55"/>
                <a:gd name="T96" fmla="*/ 12 w 55"/>
                <a:gd name="T97" fmla="*/ 11 h 55"/>
                <a:gd name="T98" fmla="*/ 12 w 55"/>
                <a:gd name="T99" fmla="*/ 8 h 55"/>
                <a:gd name="T100" fmla="*/ 25 w 55"/>
                <a:gd name="T101" fmla="*/ 2 h 55"/>
                <a:gd name="T102" fmla="*/ 30 w 55"/>
                <a:gd name="T103" fmla="*/ 0 h 55"/>
                <a:gd name="T104" fmla="*/ 17 w 55"/>
                <a:gd name="T105" fmla="*/ 2 h 55"/>
                <a:gd name="T106" fmla="*/ 8 w 55"/>
                <a:gd name="T107" fmla="*/ 8 h 55"/>
                <a:gd name="T108" fmla="*/ 2 w 55"/>
                <a:gd name="T109" fmla="*/ 18 h 55"/>
                <a:gd name="T110" fmla="*/ 29 w 55"/>
                <a:gd name="T111" fmla="*/ 35 h 55"/>
                <a:gd name="T112" fmla="*/ 26 w 55"/>
                <a:gd name="T113" fmla="*/ 31 h 55"/>
                <a:gd name="T114" fmla="*/ 25 w 55"/>
                <a:gd name="T115" fmla="*/ 28 h 55"/>
                <a:gd name="T116" fmla="*/ 20 w 55"/>
                <a:gd name="T117" fmla="*/ 29 h 55"/>
                <a:gd name="T118" fmla="*/ 22 w 55"/>
                <a:gd name="T119" fmla="*/ 23 h 55"/>
                <a:gd name="T120" fmla="*/ 27 w 55"/>
                <a:gd name="T121" fmla="*/ 23 h 55"/>
                <a:gd name="T122" fmla="*/ 29 w 55"/>
                <a:gd name="T123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5">
                  <a:moveTo>
                    <a:pt x="30" y="55"/>
                  </a:moveTo>
                  <a:cubicBezTo>
                    <a:pt x="31" y="55"/>
                    <a:pt x="33" y="55"/>
                    <a:pt x="34" y="54"/>
                  </a:cubicBezTo>
                  <a:cubicBezTo>
                    <a:pt x="35" y="54"/>
                    <a:pt x="36" y="54"/>
                    <a:pt x="37" y="54"/>
                  </a:cubicBezTo>
                  <a:cubicBezTo>
                    <a:pt x="37" y="54"/>
                    <a:pt x="37" y="53"/>
                    <a:pt x="38" y="53"/>
                  </a:cubicBezTo>
                  <a:cubicBezTo>
                    <a:pt x="39" y="53"/>
                    <a:pt x="39" y="53"/>
                    <a:pt x="40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3" y="50"/>
                    <a:pt x="45" y="49"/>
                    <a:pt x="46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8" y="46"/>
                    <a:pt x="48" y="46"/>
                  </a:cubicBezTo>
                  <a:cubicBezTo>
                    <a:pt x="49" y="46"/>
                    <a:pt x="49" y="45"/>
                    <a:pt x="49" y="45"/>
                  </a:cubicBezTo>
                  <a:cubicBezTo>
                    <a:pt x="50" y="44"/>
                    <a:pt x="51" y="43"/>
                    <a:pt x="51" y="42"/>
                  </a:cubicBezTo>
                  <a:cubicBezTo>
                    <a:pt x="51" y="42"/>
                    <a:pt x="51" y="42"/>
                    <a:pt x="52" y="41"/>
                  </a:cubicBezTo>
                  <a:cubicBezTo>
                    <a:pt x="52" y="41"/>
                    <a:pt x="52" y="41"/>
                    <a:pt x="52" y="40"/>
                  </a:cubicBezTo>
                  <a:cubicBezTo>
                    <a:pt x="52" y="40"/>
                    <a:pt x="52" y="40"/>
                    <a:pt x="53" y="40"/>
                  </a:cubicBezTo>
                  <a:cubicBezTo>
                    <a:pt x="53" y="39"/>
                    <a:pt x="53" y="39"/>
                    <a:pt x="53" y="38"/>
                  </a:cubicBezTo>
                  <a:cubicBezTo>
                    <a:pt x="53" y="38"/>
                    <a:pt x="53" y="38"/>
                    <a:pt x="54" y="37"/>
                  </a:cubicBezTo>
                  <a:cubicBezTo>
                    <a:pt x="54" y="36"/>
                    <a:pt x="54" y="35"/>
                    <a:pt x="54" y="35"/>
                  </a:cubicBezTo>
                  <a:cubicBezTo>
                    <a:pt x="54" y="34"/>
                    <a:pt x="55" y="34"/>
                    <a:pt x="55" y="33"/>
                  </a:cubicBezTo>
                  <a:cubicBezTo>
                    <a:pt x="55" y="33"/>
                    <a:pt x="55" y="32"/>
                    <a:pt x="55" y="32"/>
                  </a:cubicBezTo>
                  <a:cubicBezTo>
                    <a:pt x="55" y="31"/>
                    <a:pt x="55" y="31"/>
                    <a:pt x="55" y="30"/>
                  </a:cubicBezTo>
                  <a:cubicBezTo>
                    <a:pt x="55" y="30"/>
                    <a:pt x="55" y="29"/>
                    <a:pt x="55" y="28"/>
                  </a:cubicBezTo>
                  <a:cubicBezTo>
                    <a:pt x="55" y="27"/>
                    <a:pt x="55" y="26"/>
                    <a:pt x="55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3"/>
                    <a:pt x="55" y="23"/>
                    <a:pt x="55" y="22"/>
                  </a:cubicBezTo>
                  <a:cubicBezTo>
                    <a:pt x="55" y="22"/>
                    <a:pt x="54" y="21"/>
                    <a:pt x="54" y="21"/>
                  </a:cubicBezTo>
                  <a:cubicBezTo>
                    <a:pt x="54" y="20"/>
                    <a:pt x="54" y="19"/>
                    <a:pt x="54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2" y="16"/>
                    <a:pt x="52" y="15"/>
                    <a:pt x="52" y="15"/>
                  </a:cubicBezTo>
                  <a:cubicBezTo>
                    <a:pt x="52" y="15"/>
                    <a:pt x="52" y="14"/>
                    <a:pt x="52" y="14"/>
                  </a:cubicBezTo>
                  <a:cubicBezTo>
                    <a:pt x="51" y="13"/>
                    <a:pt x="50" y="12"/>
                    <a:pt x="49" y="11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9"/>
                    <a:pt x="47" y="9"/>
                    <a:pt x="47" y="8"/>
                  </a:cubicBezTo>
                  <a:cubicBezTo>
                    <a:pt x="47" y="8"/>
                    <a:pt x="47" y="8"/>
                    <a:pt x="46" y="7"/>
                  </a:cubicBezTo>
                  <a:cubicBezTo>
                    <a:pt x="46" y="7"/>
                    <a:pt x="45" y="6"/>
                    <a:pt x="44" y="6"/>
                  </a:cubicBezTo>
                  <a:cubicBezTo>
                    <a:pt x="43" y="5"/>
                    <a:pt x="42" y="4"/>
                    <a:pt x="41" y="4"/>
                  </a:cubicBezTo>
                  <a:cubicBezTo>
                    <a:pt x="41" y="4"/>
                    <a:pt x="41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1"/>
                  </a:cubicBezTo>
                  <a:cubicBezTo>
                    <a:pt x="34" y="1"/>
                    <a:pt x="34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2" y="2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7" y="4"/>
                    <a:pt x="38" y="4"/>
                    <a:pt x="38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6" y="6"/>
                    <a:pt x="36" y="5"/>
                  </a:cubicBezTo>
                  <a:cubicBezTo>
                    <a:pt x="36" y="5"/>
                    <a:pt x="37" y="5"/>
                    <a:pt x="37" y="4"/>
                  </a:cubicBezTo>
                  <a:cubicBezTo>
                    <a:pt x="37" y="4"/>
                    <a:pt x="37" y="4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9"/>
                    <a:pt x="33" y="9"/>
                  </a:cubicBezTo>
                  <a:cubicBezTo>
                    <a:pt x="33" y="9"/>
                    <a:pt x="33" y="9"/>
                    <a:pt x="34" y="9"/>
                  </a:cubicBezTo>
                  <a:cubicBezTo>
                    <a:pt x="34" y="9"/>
                    <a:pt x="35" y="9"/>
                    <a:pt x="35" y="10"/>
                  </a:cubicBezTo>
                  <a:cubicBezTo>
                    <a:pt x="35" y="10"/>
                    <a:pt x="34" y="10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1"/>
                    <a:pt x="34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0"/>
                    <a:pt x="35" y="10"/>
                    <a:pt x="36" y="10"/>
                  </a:cubicBezTo>
                  <a:cubicBezTo>
                    <a:pt x="37" y="10"/>
                    <a:pt x="38" y="9"/>
                    <a:pt x="38" y="8"/>
                  </a:cubicBezTo>
                  <a:cubicBezTo>
                    <a:pt x="38" y="8"/>
                    <a:pt x="38" y="7"/>
                    <a:pt x="38" y="7"/>
                  </a:cubicBezTo>
                  <a:cubicBezTo>
                    <a:pt x="38" y="7"/>
                    <a:pt x="39" y="7"/>
                    <a:pt x="38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2" y="6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3" y="8"/>
                    <a:pt x="43" y="8"/>
                  </a:cubicBezTo>
                  <a:cubicBezTo>
                    <a:pt x="43" y="7"/>
                    <a:pt x="43" y="7"/>
                    <a:pt x="44" y="7"/>
                  </a:cubicBezTo>
                  <a:cubicBezTo>
                    <a:pt x="44" y="7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5" y="8"/>
                    <a:pt x="44" y="9"/>
                    <a:pt x="44" y="9"/>
                  </a:cubicBezTo>
                  <a:cubicBezTo>
                    <a:pt x="44" y="9"/>
                    <a:pt x="45" y="9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1"/>
                    <a:pt x="46" y="11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6" y="12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5" y="14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4" y="13"/>
                    <a:pt x="44" y="12"/>
                    <a:pt x="45" y="12"/>
                  </a:cubicBezTo>
                  <a:cubicBezTo>
                    <a:pt x="45" y="12"/>
                    <a:pt x="45" y="12"/>
                    <a:pt x="45" y="11"/>
                  </a:cubicBezTo>
                  <a:cubicBezTo>
                    <a:pt x="45" y="11"/>
                    <a:pt x="44" y="11"/>
                    <a:pt x="44" y="12"/>
                  </a:cubicBezTo>
                  <a:cubicBezTo>
                    <a:pt x="44" y="12"/>
                    <a:pt x="44" y="12"/>
                    <a:pt x="43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0" y="12"/>
                    <a:pt x="40" y="12"/>
                    <a:pt x="40" y="13"/>
                  </a:cubicBezTo>
                  <a:cubicBezTo>
                    <a:pt x="40" y="13"/>
                    <a:pt x="41" y="12"/>
                    <a:pt x="41" y="13"/>
                  </a:cubicBezTo>
                  <a:cubicBezTo>
                    <a:pt x="41" y="13"/>
                    <a:pt x="40" y="13"/>
                    <a:pt x="40" y="14"/>
                  </a:cubicBezTo>
                  <a:cubicBezTo>
                    <a:pt x="40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3" y="14"/>
                    <a:pt x="42" y="15"/>
                    <a:pt x="42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39" y="16"/>
                    <a:pt x="39" y="15"/>
                  </a:cubicBezTo>
                  <a:cubicBezTo>
                    <a:pt x="39" y="15"/>
                    <a:pt x="39" y="15"/>
                    <a:pt x="40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6"/>
                  </a:cubicBezTo>
                  <a:cubicBezTo>
                    <a:pt x="36" y="16"/>
                    <a:pt x="37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3" y="19"/>
                    <a:pt x="33" y="19"/>
                  </a:cubicBezTo>
                  <a:cubicBezTo>
                    <a:pt x="33" y="19"/>
                    <a:pt x="33" y="18"/>
                    <a:pt x="33" y="19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30" y="21"/>
                    <a:pt x="30" y="22"/>
                    <a:pt x="30" y="22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3"/>
                    <a:pt x="31" y="33"/>
                  </a:cubicBezTo>
                  <a:cubicBezTo>
                    <a:pt x="31" y="33"/>
                    <a:pt x="31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2"/>
                    <a:pt x="32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4"/>
                  </a:cubicBezTo>
                  <a:cubicBezTo>
                    <a:pt x="35" y="34"/>
                    <a:pt x="35" y="33"/>
                    <a:pt x="35" y="34"/>
                  </a:cubicBezTo>
                  <a:cubicBezTo>
                    <a:pt x="35" y="34"/>
                    <a:pt x="36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7" y="33"/>
                    <a:pt x="37" y="34"/>
                    <a:pt x="37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5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6"/>
                    <a:pt x="42" y="36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8"/>
                    <a:pt x="43" y="38"/>
                  </a:cubicBezTo>
                  <a:cubicBezTo>
                    <a:pt x="43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6" y="40"/>
                    <a:pt x="46" y="40"/>
                  </a:cubicBezTo>
                  <a:cubicBezTo>
                    <a:pt x="46" y="40"/>
                    <a:pt x="46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50" y="41"/>
                    <a:pt x="50" y="41"/>
                  </a:cubicBezTo>
                  <a:cubicBezTo>
                    <a:pt x="46" y="47"/>
                    <a:pt x="41" y="51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1"/>
                    <a:pt x="34" y="51"/>
                  </a:cubicBezTo>
                  <a:cubicBezTo>
                    <a:pt x="34" y="50"/>
                    <a:pt x="34" y="50"/>
                    <a:pt x="33" y="49"/>
                  </a:cubicBezTo>
                  <a:cubicBezTo>
                    <a:pt x="33" y="49"/>
                    <a:pt x="33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8"/>
                    <a:pt x="30" y="48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6"/>
                    <a:pt x="30" y="46"/>
                    <a:pt x="30" y="46"/>
                  </a:cubicBezTo>
                  <a:lnTo>
                    <a:pt x="30" y="55"/>
                  </a:lnTo>
                  <a:close/>
                  <a:moveTo>
                    <a:pt x="1" y="22"/>
                  </a:moveTo>
                  <a:cubicBezTo>
                    <a:pt x="1" y="23"/>
                    <a:pt x="1" y="23"/>
                    <a:pt x="1" y="24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9"/>
                    <a:pt x="0" y="30"/>
                    <a:pt x="1" y="30"/>
                  </a:cubicBezTo>
                  <a:cubicBezTo>
                    <a:pt x="1" y="31"/>
                    <a:pt x="1" y="31"/>
                    <a:pt x="1" y="32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1" y="34"/>
                    <a:pt x="1" y="35"/>
                  </a:cubicBezTo>
                  <a:cubicBezTo>
                    <a:pt x="1" y="35"/>
                    <a:pt x="2" y="36"/>
                    <a:pt x="2" y="37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" y="42"/>
                    <a:pt x="5" y="44"/>
                    <a:pt x="6" y="45"/>
                  </a:cubicBezTo>
                  <a:cubicBezTo>
                    <a:pt x="7" y="45"/>
                    <a:pt x="7" y="46"/>
                    <a:pt x="7" y="46"/>
                  </a:cubicBezTo>
                  <a:cubicBezTo>
                    <a:pt x="8" y="46"/>
                    <a:pt x="8" y="47"/>
                    <a:pt x="8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1" y="49"/>
                    <a:pt x="12" y="50"/>
                    <a:pt x="14" y="51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3"/>
                    <a:pt x="17" y="53"/>
                    <a:pt x="18" y="53"/>
                  </a:cubicBezTo>
                  <a:cubicBezTo>
                    <a:pt x="18" y="53"/>
                    <a:pt x="19" y="54"/>
                    <a:pt x="19" y="54"/>
                  </a:cubicBezTo>
                  <a:cubicBezTo>
                    <a:pt x="22" y="55"/>
                    <a:pt x="25" y="55"/>
                    <a:pt x="28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9" y="45"/>
                    <a:pt x="29" y="44"/>
                    <a:pt x="28" y="44"/>
                  </a:cubicBezTo>
                  <a:cubicBezTo>
                    <a:pt x="28" y="44"/>
                    <a:pt x="28" y="43"/>
                    <a:pt x="28" y="43"/>
                  </a:cubicBezTo>
                  <a:cubicBezTo>
                    <a:pt x="28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8" y="41"/>
                    <a:pt x="27" y="41"/>
                    <a:pt x="27" y="40"/>
                  </a:cubicBezTo>
                  <a:cubicBezTo>
                    <a:pt x="27" y="40"/>
                    <a:pt x="27" y="40"/>
                    <a:pt x="27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9" y="35"/>
                    <a:pt x="29" y="34"/>
                    <a:pt x="28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4"/>
                    <a:pt x="25" y="33"/>
                    <a:pt x="25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31"/>
                    <a:pt x="21" y="30"/>
                    <a:pt x="20" y="30"/>
                  </a:cubicBezTo>
                  <a:cubicBezTo>
                    <a:pt x="20" y="30"/>
                    <a:pt x="20" y="31"/>
                    <a:pt x="19" y="31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8" y="30"/>
                    <a:pt x="18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5" y="29"/>
                  </a:cubicBezTo>
                  <a:cubicBezTo>
                    <a:pt x="15" y="29"/>
                    <a:pt x="15" y="29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7"/>
                    <a:pt x="15" y="27"/>
                    <a:pt x="14" y="26"/>
                  </a:cubicBezTo>
                  <a:cubicBezTo>
                    <a:pt x="14" y="26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3" y="24"/>
                    <a:pt x="13" y="24"/>
                  </a:cubicBezTo>
                  <a:cubicBezTo>
                    <a:pt x="13" y="24"/>
                    <a:pt x="13" y="24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2" y="22"/>
                    <a:pt x="12" y="22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3" y="25"/>
                    <a:pt x="13" y="25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2" y="25"/>
                    <a:pt x="11" y="25"/>
                    <a:pt x="11" y="24"/>
                  </a:cubicBezTo>
                  <a:cubicBezTo>
                    <a:pt x="11" y="24"/>
                    <a:pt x="12" y="24"/>
                    <a:pt x="12" y="24"/>
                  </a:cubicBezTo>
                  <a:cubicBezTo>
                    <a:pt x="12" y="23"/>
                    <a:pt x="11" y="23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1" y="21"/>
                    <a:pt x="11" y="21"/>
                    <a:pt x="10" y="21"/>
                  </a:cubicBezTo>
                  <a:cubicBezTo>
                    <a:pt x="10" y="21"/>
                    <a:pt x="10" y="21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19"/>
                    <a:pt x="10" y="19"/>
                    <a:pt x="10" y="18"/>
                  </a:cubicBezTo>
                  <a:cubicBezTo>
                    <a:pt x="10" y="18"/>
                    <a:pt x="9" y="18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5"/>
                    <a:pt x="11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2" y="9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5" y="5"/>
                    <a:pt x="19" y="3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5" y="2"/>
                    <a:pt x="25" y="2"/>
                  </a:cubicBezTo>
                  <a:cubicBezTo>
                    <a:pt x="26" y="2"/>
                    <a:pt x="26" y="3"/>
                    <a:pt x="27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8" y="2"/>
                    <a:pt x="28" y="2"/>
                  </a:cubicBezTo>
                  <a:cubicBezTo>
                    <a:pt x="28" y="2"/>
                    <a:pt x="29" y="2"/>
                    <a:pt x="30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4" y="0"/>
                    <a:pt x="22" y="1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4"/>
                    <a:pt x="14" y="4"/>
                  </a:cubicBezTo>
                  <a:cubicBezTo>
                    <a:pt x="13" y="5"/>
                    <a:pt x="11" y="6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7" y="10"/>
                    <a:pt x="7" y="10"/>
                    <a:pt x="6" y="11"/>
                  </a:cubicBezTo>
                  <a:cubicBezTo>
                    <a:pt x="5" y="12"/>
                    <a:pt x="5" y="13"/>
                    <a:pt x="4" y="14"/>
                  </a:cubicBezTo>
                  <a:cubicBezTo>
                    <a:pt x="4" y="14"/>
                    <a:pt x="4" y="15"/>
                    <a:pt x="3" y="15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3" y="16"/>
                    <a:pt x="3" y="1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lose/>
                  <a:moveTo>
                    <a:pt x="30" y="22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8" y="34"/>
                    <a:pt x="28" y="34"/>
                    <a:pt x="27" y="34"/>
                  </a:cubicBezTo>
                  <a:cubicBezTo>
                    <a:pt x="27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2"/>
                    <a:pt x="26" y="32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5" y="28"/>
                    <a:pt x="24" y="28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9"/>
                    <a:pt x="22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0" y="29"/>
                    <a:pt x="20" y="29"/>
                  </a:cubicBezTo>
                  <a:cubicBezTo>
                    <a:pt x="20" y="29"/>
                    <a:pt x="19" y="28"/>
                    <a:pt x="19" y="28"/>
                  </a:cubicBezTo>
                  <a:cubicBezTo>
                    <a:pt x="19" y="27"/>
                    <a:pt x="19" y="26"/>
                    <a:pt x="20" y="26"/>
                  </a:cubicBezTo>
                  <a:cubicBezTo>
                    <a:pt x="20" y="26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6" y="23"/>
                    <a:pt x="26" y="23"/>
                  </a:cubicBezTo>
                  <a:cubicBezTo>
                    <a:pt x="26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5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3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1407" name="íŝlíďé">
            <a:extLst>
              <a:ext uri="{FF2B5EF4-FFF2-40B4-BE49-F238E27FC236}">
                <a16:creationId xmlns:a16="http://schemas.microsoft.com/office/drawing/2014/main" id="{D5722046-1A64-4EB8-B4E6-971BD0D9A84C}"/>
              </a:ext>
            </a:extLst>
          </p:cNvPr>
          <p:cNvSpPr/>
          <p:nvPr/>
        </p:nvSpPr>
        <p:spPr>
          <a:xfrm>
            <a:off x="5571266" y="1357323"/>
            <a:ext cx="5773118" cy="1596277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/>
              <a:t>Unified fonts make reading more fluent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/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/>
              <a:t>Adjust the spacing to adapt to Chinese typesetting, use the reference line in PPT.</a:t>
            </a:r>
          </a:p>
        </p:txBody>
      </p:sp>
      <p:sp>
        <p:nvSpPr>
          <p:cNvPr id="1421" name="isḷîḍè">
            <a:extLst>
              <a:ext uri="{FF2B5EF4-FFF2-40B4-BE49-F238E27FC236}">
                <a16:creationId xmlns:a16="http://schemas.microsoft.com/office/drawing/2014/main" id="{B9151291-C625-4354-8F06-E06D9AAA1277}"/>
              </a:ext>
            </a:extLst>
          </p:cNvPr>
          <p:cNvSpPr/>
          <p:nvPr/>
        </p:nvSpPr>
        <p:spPr bwMode="auto">
          <a:xfrm>
            <a:off x="5951532" y="3752582"/>
            <a:ext cx="1028072" cy="10326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22" name="ïṧľíḓè">
            <a:extLst>
              <a:ext uri="{FF2B5EF4-FFF2-40B4-BE49-F238E27FC236}">
                <a16:creationId xmlns:a16="http://schemas.microsoft.com/office/drawing/2014/main" id="{B517D68E-51E1-4D4B-A671-B14BC2FFCE3C}"/>
              </a:ext>
            </a:extLst>
          </p:cNvPr>
          <p:cNvSpPr txBox="1"/>
          <p:nvPr/>
        </p:nvSpPr>
        <p:spPr>
          <a:xfrm>
            <a:off x="5659066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/>
              <a:t>Supporting text here. </a:t>
            </a:r>
          </a:p>
        </p:txBody>
      </p:sp>
      <p:sp>
        <p:nvSpPr>
          <p:cNvPr id="1423" name="ïślíḑe">
            <a:extLst>
              <a:ext uri="{FF2B5EF4-FFF2-40B4-BE49-F238E27FC236}">
                <a16:creationId xmlns:a16="http://schemas.microsoft.com/office/drawing/2014/main" id="{2487044B-F34C-4EF6-A1C8-CE544E3AC1E4}"/>
              </a:ext>
            </a:extLst>
          </p:cNvPr>
          <p:cNvSpPr/>
          <p:nvPr/>
        </p:nvSpPr>
        <p:spPr>
          <a:xfrm>
            <a:off x="6116755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/>
              <a:t>21%</a:t>
            </a:r>
          </a:p>
        </p:txBody>
      </p:sp>
      <p:sp>
        <p:nvSpPr>
          <p:cNvPr id="1424" name="iṩḷîde">
            <a:extLst>
              <a:ext uri="{FF2B5EF4-FFF2-40B4-BE49-F238E27FC236}">
                <a16:creationId xmlns:a16="http://schemas.microsoft.com/office/drawing/2014/main" id="{9A37D07D-696D-4FB4-97E4-F22F7F0E353F}"/>
              </a:ext>
            </a:extLst>
          </p:cNvPr>
          <p:cNvSpPr/>
          <p:nvPr/>
        </p:nvSpPr>
        <p:spPr bwMode="auto">
          <a:xfrm>
            <a:off x="6241311" y="4090316"/>
            <a:ext cx="448514" cy="357150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17" name="íṩḷíde">
            <a:extLst>
              <a:ext uri="{FF2B5EF4-FFF2-40B4-BE49-F238E27FC236}">
                <a16:creationId xmlns:a16="http://schemas.microsoft.com/office/drawing/2014/main" id="{0F6B56DD-1A7D-4D9B-882B-D5424CF56F41}"/>
              </a:ext>
            </a:extLst>
          </p:cNvPr>
          <p:cNvSpPr/>
          <p:nvPr/>
        </p:nvSpPr>
        <p:spPr bwMode="auto">
          <a:xfrm>
            <a:off x="7943789" y="3752582"/>
            <a:ext cx="1028072" cy="103262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18" name="îṥ1ïďe">
            <a:extLst>
              <a:ext uri="{FF2B5EF4-FFF2-40B4-BE49-F238E27FC236}">
                <a16:creationId xmlns:a16="http://schemas.microsoft.com/office/drawing/2014/main" id="{B517D68E-51E1-4D4B-A671-B14BC2FFCE3C}"/>
              </a:ext>
            </a:extLst>
          </p:cNvPr>
          <p:cNvSpPr txBox="1"/>
          <p:nvPr/>
        </p:nvSpPr>
        <p:spPr>
          <a:xfrm>
            <a:off x="7651323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/>
              <a:t>Supporting text here. </a:t>
            </a:r>
          </a:p>
        </p:txBody>
      </p:sp>
      <p:sp>
        <p:nvSpPr>
          <p:cNvPr id="1419" name="îslide">
            <a:extLst>
              <a:ext uri="{FF2B5EF4-FFF2-40B4-BE49-F238E27FC236}">
                <a16:creationId xmlns:a16="http://schemas.microsoft.com/office/drawing/2014/main" id="{A168B6F8-D046-4228-9CCC-98A4CC4D1E01}"/>
              </a:ext>
            </a:extLst>
          </p:cNvPr>
          <p:cNvSpPr/>
          <p:nvPr/>
        </p:nvSpPr>
        <p:spPr>
          <a:xfrm>
            <a:off x="8109012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/>
              <a:t>35%</a:t>
            </a:r>
          </a:p>
        </p:txBody>
      </p:sp>
      <p:sp>
        <p:nvSpPr>
          <p:cNvPr id="1420" name="îśļîḋê">
            <a:extLst>
              <a:ext uri="{FF2B5EF4-FFF2-40B4-BE49-F238E27FC236}">
                <a16:creationId xmlns:a16="http://schemas.microsoft.com/office/drawing/2014/main" id="{51ED2E97-827D-4849-9687-D2ABCDB65626}"/>
              </a:ext>
            </a:extLst>
          </p:cNvPr>
          <p:cNvSpPr/>
          <p:nvPr/>
        </p:nvSpPr>
        <p:spPr bwMode="auto">
          <a:xfrm>
            <a:off x="8233569" y="4082193"/>
            <a:ext cx="448514" cy="373394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13" name="îṧ1iḍè">
            <a:extLst>
              <a:ext uri="{FF2B5EF4-FFF2-40B4-BE49-F238E27FC236}">
                <a16:creationId xmlns:a16="http://schemas.microsoft.com/office/drawing/2014/main" id="{34EF3351-6196-4D3F-9A50-7DAB44C2A905}"/>
              </a:ext>
            </a:extLst>
          </p:cNvPr>
          <p:cNvSpPr/>
          <p:nvPr/>
        </p:nvSpPr>
        <p:spPr bwMode="auto">
          <a:xfrm>
            <a:off x="9936045" y="3752582"/>
            <a:ext cx="1028072" cy="103262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414" name="iṥ1îḋe">
            <a:extLst>
              <a:ext uri="{FF2B5EF4-FFF2-40B4-BE49-F238E27FC236}">
                <a16:creationId xmlns:a16="http://schemas.microsoft.com/office/drawing/2014/main" id="{B517D68E-51E1-4D4B-A671-B14BC2FFCE3C}"/>
              </a:ext>
            </a:extLst>
          </p:cNvPr>
          <p:cNvSpPr txBox="1"/>
          <p:nvPr/>
        </p:nvSpPr>
        <p:spPr>
          <a:xfrm>
            <a:off x="9643579" y="3300430"/>
            <a:ext cx="1613004" cy="391536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u="sng" dirty="0"/>
              <a:t>Supporting text here. </a:t>
            </a:r>
          </a:p>
        </p:txBody>
      </p:sp>
      <p:sp>
        <p:nvSpPr>
          <p:cNvPr id="1415" name="ïśḷíḓe">
            <a:extLst>
              <a:ext uri="{FF2B5EF4-FFF2-40B4-BE49-F238E27FC236}">
                <a16:creationId xmlns:a16="http://schemas.microsoft.com/office/drawing/2014/main" id="{3BBA5081-6378-4DB0-A260-C34513C5BAC5}"/>
              </a:ext>
            </a:extLst>
          </p:cNvPr>
          <p:cNvSpPr/>
          <p:nvPr/>
        </p:nvSpPr>
        <p:spPr>
          <a:xfrm>
            <a:off x="10101268" y="5073595"/>
            <a:ext cx="697627" cy="40011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/>
              <a:t>66%</a:t>
            </a:r>
          </a:p>
        </p:txBody>
      </p:sp>
      <p:sp>
        <p:nvSpPr>
          <p:cNvPr id="1416" name="íšliḓè">
            <a:extLst>
              <a:ext uri="{FF2B5EF4-FFF2-40B4-BE49-F238E27FC236}">
                <a16:creationId xmlns:a16="http://schemas.microsoft.com/office/drawing/2014/main" id="{1F7525FC-C037-4F14-8E4F-913463532B6D}"/>
              </a:ext>
            </a:extLst>
          </p:cNvPr>
          <p:cNvSpPr/>
          <p:nvPr/>
        </p:nvSpPr>
        <p:spPr bwMode="auto">
          <a:xfrm>
            <a:off x="10249508" y="4086226"/>
            <a:ext cx="401146" cy="365328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cxnSp>
        <p:nvCxnSpPr>
          <p:cNvPr id="1411" name="ïšlíďê">
            <a:extLst>
              <a:ext uri="{FF2B5EF4-FFF2-40B4-BE49-F238E27FC236}">
                <a16:creationId xmlns:a16="http://schemas.microsoft.com/office/drawing/2014/main" id="{450CC0E0-B6DB-4A88-88ED-0D4F0CDE2072}"/>
              </a:ext>
            </a:extLst>
          </p:cNvPr>
          <p:cNvCxnSpPr/>
          <p:nvPr/>
        </p:nvCxnSpPr>
        <p:spPr>
          <a:xfrm flipV="1">
            <a:off x="5396752" y="5542035"/>
            <a:ext cx="612214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  <a:headEnd type="oval" w="med" len="me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2" name="îṧ1ïḓe">
            <a:extLst>
              <a:ext uri="{FF2B5EF4-FFF2-40B4-BE49-F238E27FC236}">
                <a16:creationId xmlns:a16="http://schemas.microsoft.com/office/drawing/2014/main" id="{26FD4F08-49F4-4B3F-B322-2A2E6A7F926A}"/>
              </a:ext>
            </a:extLst>
          </p:cNvPr>
          <p:cNvCxnSpPr/>
          <p:nvPr/>
        </p:nvCxnSpPr>
        <p:spPr>
          <a:xfrm flipV="1">
            <a:off x="5396752" y="3232099"/>
            <a:ext cx="612214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olid"/>
            <a:headEnd type="oval" w="med" len="me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5971149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lï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ḻiḍ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ṡļíḋè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ṣ1îḋè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40" name="iṥļíďè">
            <a:extLst>
              <a:ext uri="{FF2B5EF4-FFF2-40B4-BE49-F238E27FC236}">
                <a16:creationId xmlns:a16="http://schemas.microsoft.com/office/drawing/2014/main" id="{328A7063-6241-4AD2-AD0E-E379C5C039C0}"/>
              </a:ext>
            </a:extLst>
          </p:cNvPr>
          <p:cNvSpPr txBox="1"/>
          <p:nvPr/>
        </p:nvSpPr>
        <p:spPr>
          <a:xfrm>
            <a:off x="669924" y="1449843"/>
            <a:ext cx="10850563" cy="6770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nified Fo</a:t>
            </a:r>
            <a:r>
              <a:rPr kumimoji="0" lang="en-US" sz="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ts Make Reading More Fluent.</a:t>
            </a:r>
          </a:p>
        </p:txBody>
      </p:sp>
      <p:sp>
        <p:nvSpPr>
          <p:cNvPr id="108" name="ïşľíḋè">
            <a:extLst>
              <a:ext uri="{FF2B5EF4-FFF2-40B4-BE49-F238E27FC236}">
                <a16:creationId xmlns:a16="http://schemas.microsoft.com/office/drawing/2014/main" id="{6B358F15-D923-4449-B2C6-664B2186DDB6}"/>
              </a:ext>
            </a:extLst>
          </p:cNvPr>
          <p:cNvSpPr/>
          <p:nvPr/>
        </p:nvSpPr>
        <p:spPr>
          <a:xfrm rot="10800000" flipV="1">
            <a:off x="1469300" y="2819073"/>
            <a:ext cx="1654556" cy="1654556"/>
          </a:xfrm>
          <a:prstGeom prst="ellipse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12" name="iṥḻïdé">
            <a:extLst>
              <a:ext uri="{FF2B5EF4-FFF2-40B4-BE49-F238E27FC236}">
                <a16:creationId xmlns:a16="http://schemas.microsoft.com/office/drawing/2014/main" id="{A2A74574-CB7D-4751-B1EE-65EA9474ED0A}"/>
              </a:ext>
            </a:extLst>
          </p:cNvPr>
          <p:cNvSpPr/>
          <p:nvPr/>
        </p:nvSpPr>
        <p:spPr bwMode="auto">
          <a:xfrm>
            <a:off x="1060743" y="4986434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solidFill>
                  <a:schemeClr val="tx1"/>
                </a:solidFill>
              </a:rPr>
              <a:t>Su</a:t>
            </a:r>
            <a:r>
              <a:rPr lang="en-US" altLang="zh-CN" sz="100">
                <a:solidFill>
                  <a:schemeClr val="tx1"/>
                </a:solidFill>
              </a:rPr>
              <a:t> </a:t>
            </a:r>
            <a:r>
              <a:rPr lang="en-US" altLang="zh-CN" sz="1100">
                <a:solidFill>
                  <a:schemeClr val="tx1"/>
                </a:solidFill>
              </a:rPr>
              <a:t>pporting </a:t>
            </a:r>
            <a:r>
              <a:rPr lang="en-US" altLang="zh-CN" sz="1100" dirty="0">
                <a:solidFill>
                  <a:schemeClr val="tx1"/>
                </a:solidFill>
              </a:rPr>
              <a:t>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 …</a:t>
            </a:r>
          </a:p>
        </p:txBody>
      </p:sp>
      <p:sp>
        <p:nvSpPr>
          <p:cNvPr id="113" name="îṣļíďé">
            <a:extLst>
              <a:ext uri="{FF2B5EF4-FFF2-40B4-BE49-F238E27FC236}">
                <a16:creationId xmlns:a16="http://schemas.microsoft.com/office/drawing/2014/main" id="{81A992DD-5613-45C8-93FD-ED56ABDAA35C}"/>
              </a:ext>
            </a:extLst>
          </p:cNvPr>
          <p:cNvSpPr txBox="1"/>
          <p:nvPr/>
        </p:nvSpPr>
        <p:spPr bwMode="auto">
          <a:xfrm>
            <a:off x="1060743" y="4544649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tx1"/>
                </a:solidFill>
              </a:rPr>
              <a:t>Text he</a:t>
            </a:r>
            <a:r>
              <a:rPr lang="en-US" altLang="zh-CN" sz="100" b="1">
                <a:solidFill>
                  <a:schemeClr val="tx1"/>
                </a:solidFill>
              </a:rPr>
              <a:t> </a:t>
            </a:r>
            <a:r>
              <a:rPr lang="en-US" altLang="zh-CN" sz="1600" b="1">
                <a:solidFill>
                  <a:schemeClr val="tx1"/>
                </a:solidFill>
              </a:rPr>
              <a:t>re</a:t>
            </a:r>
            <a:endParaRPr lang="en-US" altLang="zh-CN" sz="1600" b="1" dirty="0">
              <a:solidFill>
                <a:schemeClr val="tx1"/>
              </a:solidFill>
            </a:endParaRPr>
          </a:p>
        </p:txBody>
      </p:sp>
      <p:sp>
        <p:nvSpPr>
          <p:cNvPr id="148" name="íśļîḍe">
            <a:extLst>
              <a:ext uri="{FF2B5EF4-FFF2-40B4-BE49-F238E27FC236}">
                <a16:creationId xmlns:a16="http://schemas.microsoft.com/office/drawing/2014/main" id="{415D9673-B465-4EA3-A63C-3A8D3487A46C}"/>
              </a:ext>
            </a:extLst>
          </p:cNvPr>
          <p:cNvSpPr/>
          <p:nvPr/>
        </p:nvSpPr>
        <p:spPr bwMode="auto">
          <a:xfrm>
            <a:off x="2059492" y="3430417"/>
            <a:ext cx="474173" cy="431868"/>
          </a:xfrm>
          <a:custGeom>
            <a:avLst/>
            <a:gdLst>
              <a:gd name="T0" fmla="*/ 52 w 224"/>
              <a:gd name="T1" fmla="*/ 96 h 204"/>
              <a:gd name="T2" fmla="*/ 52 w 224"/>
              <a:gd name="T3" fmla="*/ 116 h 204"/>
              <a:gd name="T4" fmla="*/ 60 w 224"/>
              <a:gd name="T5" fmla="*/ 116 h 204"/>
              <a:gd name="T6" fmla="*/ 60 w 224"/>
              <a:gd name="T7" fmla="*/ 96 h 204"/>
              <a:gd name="T8" fmla="*/ 164 w 224"/>
              <a:gd name="T9" fmla="*/ 96 h 204"/>
              <a:gd name="T10" fmla="*/ 164 w 224"/>
              <a:gd name="T11" fmla="*/ 116 h 204"/>
              <a:gd name="T12" fmla="*/ 172 w 224"/>
              <a:gd name="T13" fmla="*/ 116 h 204"/>
              <a:gd name="T14" fmla="*/ 172 w 224"/>
              <a:gd name="T15" fmla="*/ 96 h 204"/>
              <a:gd name="T16" fmla="*/ 224 w 224"/>
              <a:gd name="T17" fmla="*/ 96 h 204"/>
              <a:gd name="T18" fmla="*/ 224 w 224"/>
              <a:gd name="T19" fmla="*/ 192 h 204"/>
              <a:gd name="T20" fmla="*/ 212 w 224"/>
              <a:gd name="T21" fmla="*/ 204 h 204"/>
              <a:gd name="T22" fmla="*/ 12 w 224"/>
              <a:gd name="T23" fmla="*/ 204 h 204"/>
              <a:gd name="T24" fmla="*/ 0 w 224"/>
              <a:gd name="T25" fmla="*/ 192 h 204"/>
              <a:gd name="T26" fmla="*/ 0 w 224"/>
              <a:gd name="T27" fmla="*/ 96 h 204"/>
              <a:gd name="T28" fmla="*/ 52 w 224"/>
              <a:gd name="T29" fmla="*/ 96 h 204"/>
              <a:gd name="T30" fmla="*/ 156 w 224"/>
              <a:gd name="T31" fmla="*/ 0 h 204"/>
              <a:gd name="T32" fmla="*/ 172 w 224"/>
              <a:gd name="T33" fmla="*/ 15 h 204"/>
              <a:gd name="T34" fmla="*/ 172 w 224"/>
              <a:gd name="T35" fmla="*/ 16 h 204"/>
              <a:gd name="T36" fmla="*/ 172 w 224"/>
              <a:gd name="T37" fmla="*/ 48 h 204"/>
              <a:gd name="T38" fmla="*/ 212 w 224"/>
              <a:gd name="T39" fmla="*/ 48 h 204"/>
              <a:gd name="T40" fmla="*/ 224 w 224"/>
              <a:gd name="T41" fmla="*/ 60 h 204"/>
              <a:gd name="T42" fmla="*/ 224 w 224"/>
              <a:gd name="T43" fmla="*/ 88 h 204"/>
              <a:gd name="T44" fmla="*/ 0 w 224"/>
              <a:gd name="T45" fmla="*/ 88 h 204"/>
              <a:gd name="T46" fmla="*/ 0 w 224"/>
              <a:gd name="T47" fmla="*/ 60 h 204"/>
              <a:gd name="T48" fmla="*/ 12 w 224"/>
              <a:gd name="T49" fmla="*/ 48 h 204"/>
              <a:gd name="T50" fmla="*/ 52 w 224"/>
              <a:gd name="T51" fmla="*/ 48 h 204"/>
              <a:gd name="T52" fmla="*/ 52 w 224"/>
              <a:gd name="T53" fmla="*/ 16 h 204"/>
              <a:gd name="T54" fmla="*/ 67 w 224"/>
              <a:gd name="T55" fmla="*/ 0 h 204"/>
              <a:gd name="T56" fmla="*/ 68 w 224"/>
              <a:gd name="T57" fmla="*/ 0 h 204"/>
              <a:gd name="T58" fmla="*/ 156 w 224"/>
              <a:gd name="T59" fmla="*/ 0 h 204"/>
              <a:gd name="T60" fmla="*/ 156 w 224"/>
              <a:gd name="T61" fmla="*/ 8 h 204"/>
              <a:gd name="T62" fmla="*/ 68 w 224"/>
              <a:gd name="T63" fmla="*/ 8 h 204"/>
              <a:gd name="T64" fmla="*/ 60 w 224"/>
              <a:gd name="T65" fmla="*/ 15 h 204"/>
              <a:gd name="T66" fmla="*/ 60 w 224"/>
              <a:gd name="T67" fmla="*/ 16 h 204"/>
              <a:gd name="T68" fmla="*/ 60 w 224"/>
              <a:gd name="T69" fmla="*/ 48 h 204"/>
              <a:gd name="T70" fmla="*/ 164 w 224"/>
              <a:gd name="T71" fmla="*/ 48 h 204"/>
              <a:gd name="T72" fmla="*/ 164 w 224"/>
              <a:gd name="T73" fmla="*/ 16 h 204"/>
              <a:gd name="T74" fmla="*/ 157 w 224"/>
              <a:gd name="T75" fmla="*/ 8 h 204"/>
              <a:gd name="T76" fmla="*/ 157 w 224"/>
              <a:gd name="T77" fmla="*/ 8 h 204"/>
              <a:gd name="T78" fmla="*/ 156 w 224"/>
              <a:gd name="T79" fmla="*/ 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24" h="204">
                <a:moveTo>
                  <a:pt x="52" y="96"/>
                </a:moveTo>
                <a:cubicBezTo>
                  <a:pt x="52" y="116"/>
                  <a:pt x="52" y="116"/>
                  <a:pt x="52" y="116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96"/>
                  <a:pt x="60" y="96"/>
                  <a:pt x="60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116"/>
                  <a:pt x="164" y="116"/>
                  <a:pt x="164" y="116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72" y="96"/>
                  <a:pt x="172" y="96"/>
                  <a:pt x="172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99"/>
                  <a:pt x="219" y="204"/>
                  <a:pt x="212" y="204"/>
                </a:cubicBezTo>
                <a:cubicBezTo>
                  <a:pt x="12" y="204"/>
                  <a:pt x="12" y="204"/>
                  <a:pt x="12" y="204"/>
                </a:cubicBezTo>
                <a:cubicBezTo>
                  <a:pt x="5" y="204"/>
                  <a:pt x="0" y="199"/>
                  <a:pt x="0" y="192"/>
                </a:cubicBezTo>
                <a:cubicBezTo>
                  <a:pt x="0" y="96"/>
                  <a:pt x="0" y="96"/>
                  <a:pt x="0" y="96"/>
                </a:cubicBezTo>
                <a:lnTo>
                  <a:pt x="52" y="96"/>
                </a:lnTo>
                <a:close/>
                <a:moveTo>
                  <a:pt x="156" y="0"/>
                </a:moveTo>
                <a:cubicBezTo>
                  <a:pt x="165" y="0"/>
                  <a:pt x="172" y="7"/>
                  <a:pt x="172" y="15"/>
                </a:cubicBezTo>
                <a:cubicBezTo>
                  <a:pt x="172" y="16"/>
                  <a:pt x="172" y="16"/>
                  <a:pt x="172" y="16"/>
                </a:cubicBezTo>
                <a:cubicBezTo>
                  <a:pt x="172" y="48"/>
                  <a:pt x="172" y="48"/>
                  <a:pt x="172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3"/>
                  <a:pt x="5" y="48"/>
                  <a:pt x="1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16"/>
                  <a:pt x="52" y="16"/>
                  <a:pt x="52" y="16"/>
                </a:cubicBezTo>
                <a:cubicBezTo>
                  <a:pt x="52" y="7"/>
                  <a:pt x="59" y="0"/>
                  <a:pt x="67" y="0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  <a:moveTo>
                  <a:pt x="156" y="8"/>
                </a:moveTo>
                <a:cubicBezTo>
                  <a:pt x="68" y="8"/>
                  <a:pt x="68" y="8"/>
                  <a:pt x="68" y="8"/>
                </a:cubicBezTo>
                <a:cubicBezTo>
                  <a:pt x="64" y="8"/>
                  <a:pt x="60" y="11"/>
                  <a:pt x="60" y="15"/>
                </a:cubicBezTo>
                <a:cubicBezTo>
                  <a:pt x="60" y="16"/>
                  <a:pt x="60" y="16"/>
                  <a:pt x="60" y="16"/>
                </a:cubicBezTo>
                <a:cubicBezTo>
                  <a:pt x="60" y="48"/>
                  <a:pt x="60" y="48"/>
                  <a:pt x="60" y="48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164" y="16"/>
                  <a:pt x="164" y="16"/>
                  <a:pt x="164" y="16"/>
                </a:cubicBezTo>
                <a:cubicBezTo>
                  <a:pt x="164" y="12"/>
                  <a:pt x="161" y="9"/>
                  <a:pt x="157" y="8"/>
                </a:cubicBezTo>
                <a:cubicBezTo>
                  <a:pt x="157" y="8"/>
                  <a:pt x="157" y="8"/>
                  <a:pt x="157" y="8"/>
                </a:cubicBezTo>
                <a:lnTo>
                  <a:pt x="156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09" name="iślîḓè">
            <a:extLst>
              <a:ext uri="{FF2B5EF4-FFF2-40B4-BE49-F238E27FC236}">
                <a16:creationId xmlns:a16="http://schemas.microsoft.com/office/drawing/2014/main" id="{2179C783-D695-4D72-A880-4107A553ED48}"/>
              </a:ext>
            </a:extLst>
          </p:cNvPr>
          <p:cNvSpPr/>
          <p:nvPr/>
        </p:nvSpPr>
        <p:spPr>
          <a:xfrm rot="10800000" flipV="1">
            <a:off x="4177318" y="3002117"/>
            <a:ext cx="1306228" cy="1306066"/>
          </a:xfrm>
          <a:prstGeom prst="ellipse">
            <a:avLst/>
          </a:prstGeom>
          <a:solidFill>
            <a:schemeClr val="bg2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tx1"/>
              </a:solidFill>
            </a:endParaRPr>
          </a:p>
        </p:txBody>
      </p:sp>
      <p:sp>
        <p:nvSpPr>
          <p:cNvPr id="114" name="ïṧlíḋè">
            <a:extLst>
              <a:ext uri="{FF2B5EF4-FFF2-40B4-BE49-F238E27FC236}">
                <a16:creationId xmlns:a16="http://schemas.microsoft.com/office/drawing/2014/main" id="{8310CC36-319D-487A-8A2F-AC8BEE707CA9}"/>
              </a:ext>
            </a:extLst>
          </p:cNvPr>
          <p:cNvSpPr/>
          <p:nvPr/>
        </p:nvSpPr>
        <p:spPr bwMode="auto">
          <a:xfrm>
            <a:off x="3603097" y="4803390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</a:t>
            </a:r>
            <a:r>
              <a:rPr lang="en-US" altLang="zh-CN" sz="1100">
                <a:solidFill>
                  <a:schemeClr val="tx1"/>
                </a:solidFill>
              </a:rPr>
              <a:t>. </a:t>
            </a:r>
            <a:r>
              <a:rPr lang="en-US" altLang="zh-CN" sz="100">
                <a:solidFill>
                  <a:schemeClr val="tx1"/>
                </a:solidFill>
              </a:rPr>
              <a:t> </a:t>
            </a:r>
            <a:endParaRPr lang="en-US" altLang="zh-CN" sz="100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 …</a:t>
            </a:r>
          </a:p>
        </p:txBody>
      </p:sp>
      <p:sp>
        <p:nvSpPr>
          <p:cNvPr id="115" name="ís1íḋé">
            <a:extLst>
              <a:ext uri="{FF2B5EF4-FFF2-40B4-BE49-F238E27FC236}">
                <a16:creationId xmlns:a16="http://schemas.microsoft.com/office/drawing/2014/main" id="{57AB94C2-F512-4A07-95D9-036DD75C822B}"/>
              </a:ext>
            </a:extLst>
          </p:cNvPr>
          <p:cNvSpPr txBox="1"/>
          <p:nvPr/>
        </p:nvSpPr>
        <p:spPr bwMode="auto">
          <a:xfrm>
            <a:off x="3603097" y="4361604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tx1"/>
                </a:solidFill>
              </a:rPr>
              <a:t>Text he</a:t>
            </a:r>
            <a:r>
              <a:rPr lang="en-US" altLang="zh-CN" sz="100" b="1">
                <a:solidFill>
                  <a:schemeClr val="tx1"/>
                </a:solidFill>
              </a:rPr>
              <a:t> </a:t>
            </a:r>
            <a:r>
              <a:rPr lang="en-US" altLang="zh-CN" sz="1600" b="1">
                <a:solidFill>
                  <a:schemeClr val="tx1"/>
                </a:solidFill>
              </a:rPr>
              <a:t>re</a:t>
            </a:r>
            <a:endParaRPr lang="en-US" altLang="zh-CN" sz="1600" b="1" dirty="0">
              <a:solidFill>
                <a:schemeClr val="tx1"/>
              </a:solidFill>
            </a:endParaRPr>
          </a:p>
        </p:txBody>
      </p:sp>
      <p:sp>
        <p:nvSpPr>
          <p:cNvPr id="149" name="îṣļíḋé">
            <a:extLst>
              <a:ext uri="{FF2B5EF4-FFF2-40B4-BE49-F238E27FC236}">
                <a16:creationId xmlns:a16="http://schemas.microsoft.com/office/drawing/2014/main" id="{ED9C23EF-FF31-481C-9E88-2B8671105DB9}"/>
              </a:ext>
            </a:extLst>
          </p:cNvPr>
          <p:cNvSpPr/>
          <p:nvPr/>
        </p:nvSpPr>
        <p:spPr bwMode="auto">
          <a:xfrm>
            <a:off x="4616205" y="3418063"/>
            <a:ext cx="428454" cy="474173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37" name="ïṣḷiďé">
            <a:extLst>
              <a:ext uri="{FF2B5EF4-FFF2-40B4-BE49-F238E27FC236}">
                <a16:creationId xmlns:a16="http://schemas.microsoft.com/office/drawing/2014/main" id="{814DEE97-6135-4663-84F5-733D3DFD9370}"/>
              </a:ext>
            </a:extLst>
          </p:cNvPr>
          <p:cNvSpPr/>
          <p:nvPr/>
        </p:nvSpPr>
        <p:spPr>
          <a:xfrm rot="10800000" flipV="1">
            <a:off x="6554008" y="2819073"/>
            <a:ext cx="1654556" cy="1654556"/>
          </a:xfrm>
          <a:prstGeom prst="ellipse">
            <a:avLst/>
          </a:prstGeom>
          <a:solidFill>
            <a:schemeClr val="accent3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38" name="ï$ļíḋe">
            <a:extLst>
              <a:ext uri="{FF2B5EF4-FFF2-40B4-BE49-F238E27FC236}">
                <a16:creationId xmlns:a16="http://schemas.microsoft.com/office/drawing/2014/main" id="{B1EF1C57-7BD6-4C30-A109-5D2397DFA628}"/>
              </a:ext>
            </a:extLst>
          </p:cNvPr>
          <p:cNvSpPr/>
          <p:nvPr/>
        </p:nvSpPr>
        <p:spPr bwMode="auto">
          <a:xfrm>
            <a:off x="6145451" y="4986434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solidFill>
                  <a:schemeClr val="tx1"/>
                </a:solidFill>
              </a:rPr>
              <a:t>Su</a:t>
            </a:r>
            <a:r>
              <a:rPr lang="en-US" altLang="zh-CN" sz="100">
                <a:solidFill>
                  <a:schemeClr val="tx1"/>
                </a:solidFill>
              </a:rPr>
              <a:t> </a:t>
            </a:r>
            <a:r>
              <a:rPr lang="en-US" altLang="zh-CN" sz="1100">
                <a:solidFill>
                  <a:schemeClr val="tx1"/>
                </a:solidFill>
              </a:rPr>
              <a:t>pporting </a:t>
            </a:r>
            <a:r>
              <a:rPr lang="en-US" altLang="zh-CN" sz="1100" dirty="0">
                <a:solidFill>
                  <a:schemeClr val="tx1"/>
                </a:solidFill>
              </a:rPr>
              <a:t>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 …</a:t>
            </a:r>
          </a:p>
        </p:txBody>
      </p:sp>
      <p:sp>
        <p:nvSpPr>
          <p:cNvPr id="139" name="iśḻîde">
            <a:extLst>
              <a:ext uri="{FF2B5EF4-FFF2-40B4-BE49-F238E27FC236}">
                <a16:creationId xmlns:a16="http://schemas.microsoft.com/office/drawing/2014/main" id="{85D92C53-EC79-4DA5-9302-67527C625747}"/>
              </a:ext>
            </a:extLst>
          </p:cNvPr>
          <p:cNvSpPr txBox="1"/>
          <p:nvPr/>
        </p:nvSpPr>
        <p:spPr bwMode="auto">
          <a:xfrm>
            <a:off x="6145451" y="4544649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tx1"/>
                </a:solidFill>
              </a:rPr>
              <a:t>Text he</a:t>
            </a:r>
            <a:r>
              <a:rPr lang="en-US" altLang="zh-CN" sz="100" b="1">
                <a:solidFill>
                  <a:schemeClr val="tx1"/>
                </a:solidFill>
              </a:rPr>
              <a:t> </a:t>
            </a:r>
            <a:r>
              <a:rPr lang="en-US" altLang="zh-CN" sz="1600" b="1">
                <a:solidFill>
                  <a:schemeClr val="tx1"/>
                </a:solidFill>
              </a:rPr>
              <a:t>re</a:t>
            </a:r>
            <a:endParaRPr lang="en-US" altLang="zh-CN" sz="1600" b="1" dirty="0">
              <a:solidFill>
                <a:schemeClr val="tx1"/>
              </a:solidFill>
            </a:endParaRPr>
          </a:p>
        </p:txBody>
      </p:sp>
      <p:sp>
        <p:nvSpPr>
          <p:cNvPr id="150" name="íSlidê">
            <a:extLst>
              <a:ext uri="{FF2B5EF4-FFF2-40B4-BE49-F238E27FC236}">
                <a16:creationId xmlns:a16="http://schemas.microsoft.com/office/drawing/2014/main" id="{D4B48D58-CE3F-47A9-9A2E-947E18755964}"/>
              </a:ext>
            </a:extLst>
          </p:cNvPr>
          <p:cNvSpPr/>
          <p:nvPr/>
        </p:nvSpPr>
        <p:spPr bwMode="auto">
          <a:xfrm>
            <a:off x="7144200" y="3455287"/>
            <a:ext cx="474173" cy="382128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43" name="íş1ïdé">
            <a:extLst>
              <a:ext uri="{FF2B5EF4-FFF2-40B4-BE49-F238E27FC236}">
                <a16:creationId xmlns:a16="http://schemas.microsoft.com/office/drawing/2014/main" id="{EAEBA11C-0FD2-451A-9EFE-351B2C2EC10D}"/>
              </a:ext>
            </a:extLst>
          </p:cNvPr>
          <p:cNvSpPr/>
          <p:nvPr/>
        </p:nvSpPr>
        <p:spPr>
          <a:xfrm rot="10800000" flipV="1">
            <a:off x="9262026" y="3002117"/>
            <a:ext cx="1306228" cy="1306066"/>
          </a:xfrm>
          <a:prstGeom prst="ellipse">
            <a:avLst/>
          </a:prstGeom>
          <a:solidFill>
            <a:schemeClr val="bg2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 sz="2000" b="1" dirty="0">
              <a:solidFill>
                <a:schemeClr val="tx1"/>
              </a:solidFill>
            </a:endParaRPr>
          </a:p>
        </p:txBody>
      </p:sp>
      <p:sp>
        <p:nvSpPr>
          <p:cNvPr id="144" name="îṧ1îďe">
            <a:extLst>
              <a:ext uri="{FF2B5EF4-FFF2-40B4-BE49-F238E27FC236}">
                <a16:creationId xmlns:a16="http://schemas.microsoft.com/office/drawing/2014/main" id="{13CBF24C-ED63-4B55-9D01-09BA92870469}"/>
              </a:ext>
            </a:extLst>
          </p:cNvPr>
          <p:cNvSpPr/>
          <p:nvPr/>
        </p:nvSpPr>
        <p:spPr bwMode="auto">
          <a:xfrm>
            <a:off x="8687805" y="4803390"/>
            <a:ext cx="2454039" cy="91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Supporting text here</a:t>
            </a:r>
            <a:r>
              <a:rPr lang="en-US" altLang="zh-CN" sz="1100">
                <a:solidFill>
                  <a:schemeClr val="tx1"/>
                </a:solidFill>
              </a:rPr>
              <a:t>. </a:t>
            </a:r>
            <a:r>
              <a:rPr lang="en-US" altLang="zh-CN" sz="100">
                <a:solidFill>
                  <a:schemeClr val="tx1"/>
                </a:solidFill>
              </a:rPr>
              <a:t> </a:t>
            </a:r>
            <a:endParaRPr lang="en-US" altLang="zh-CN" sz="100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</a:rPr>
              <a:t>… …</a:t>
            </a:r>
          </a:p>
        </p:txBody>
      </p:sp>
      <p:sp>
        <p:nvSpPr>
          <p:cNvPr id="145" name="îŝḷíḓe">
            <a:extLst>
              <a:ext uri="{FF2B5EF4-FFF2-40B4-BE49-F238E27FC236}">
                <a16:creationId xmlns:a16="http://schemas.microsoft.com/office/drawing/2014/main" id="{EC67F2F4-730C-431F-8A9B-B9DC5877CF1D}"/>
              </a:ext>
            </a:extLst>
          </p:cNvPr>
          <p:cNvSpPr txBox="1"/>
          <p:nvPr/>
        </p:nvSpPr>
        <p:spPr bwMode="auto">
          <a:xfrm>
            <a:off x="8687805" y="4361604"/>
            <a:ext cx="2454039" cy="44178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solidFill>
                  <a:schemeClr val="tx1"/>
                </a:solidFill>
              </a:rPr>
              <a:t>Text he</a:t>
            </a:r>
            <a:r>
              <a:rPr lang="en-US" altLang="zh-CN" sz="100" b="1" dirty="0">
                <a:solidFill>
                  <a:schemeClr val="tx1"/>
                </a:solidFill>
              </a:rPr>
              <a:t> </a:t>
            </a:r>
            <a:r>
              <a:rPr lang="en-US" altLang="zh-CN" sz="1600" b="1" dirty="0">
                <a:solidFill>
                  <a:schemeClr val="tx1"/>
                </a:solidFill>
              </a:rPr>
              <a:t>re</a:t>
            </a:r>
          </a:p>
        </p:txBody>
      </p:sp>
      <p:sp>
        <p:nvSpPr>
          <p:cNvPr id="151" name="ïSḷidê">
            <a:extLst>
              <a:ext uri="{FF2B5EF4-FFF2-40B4-BE49-F238E27FC236}">
                <a16:creationId xmlns:a16="http://schemas.microsoft.com/office/drawing/2014/main" id="{D5EF7B39-E3B3-415F-AFCB-5149B3DD1C01}"/>
              </a:ext>
            </a:extLst>
          </p:cNvPr>
          <p:cNvSpPr/>
          <p:nvPr/>
        </p:nvSpPr>
        <p:spPr bwMode="auto">
          <a:xfrm>
            <a:off x="9678053" y="3420742"/>
            <a:ext cx="474173" cy="468816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8477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ḷí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íṥlî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48ECF52-33C2-4339-BCD5-E7C60CBBED0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4866" y="996829"/>
            <a:ext cx="10491592" cy="5050945"/>
            <a:chOff x="1071716" y="1247323"/>
            <a:chExt cx="10048568" cy="4837661"/>
          </a:xfrm>
          <a:solidFill>
            <a:schemeClr val="bg2">
              <a:alpha val="33000"/>
            </a:schemeClr>
          </a:solidFill>
        </p:grpSpPr>
        <p:sp>
          <p:nvSpPr>
            <p:cNvPr id="12" name="iṧ1ide">
              <a:extLst>
                <a:ext uri="{FF2B5EF4-FFF2-40B4-BE49-F238E27FC236}">
                  <a16:creationId xmlns:a16="http://schemas.microsoft.com/office/drawing/2014/main" id="{A1176F61-99C9-48D6-9CBB-01C77E2C152C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ṡlîdè">
              <a:extLst>
                <a:ext uri="{FF2B5EF4-FFF2-40B4-BE49-F238E27FC236}">
                  <a16:creationId xmlns:a16="http://schemas.microsoft.com/office/drawing/2014/main" id="{A664F947-2F2B-40D7-A573-13091592A81C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şḷídé">
              <a:extLst>
                <a:ext uri="{FF2B5EF4-FFF2-40B4-BE49-F238E27FC236}">
                  <a16:creationId xmlns:a16="http://schemas.microsoft.com/office/drawing/2014/main" id="{AF618C2E-C57D-49D7-A78A-78B3BBFA25F1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$ľïdê">
              <a:extLst>
                <a:ext uri="{FF2B5EF4-FFF2-40B4-BE49-F238E27FC236}">
                  <a16:creationId xmlns:a16="http://schemas.microsoft.com/office/drawing/2014/main" id="{24C4258F-D4F8-48E5-9B74-CE111B7BD860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ṣļîḑe">
              <a:extLst>
                <a:ext uri="{FF2B5EF4-FFF2-40B4-BE49-F238E27FC236}">
                  <a16:creationId xmlns:a16="http://schemas.microsoft.com/office/drawing/2014/main" id="{E45664B6-816E-482B-85C0-C710CD33B942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ṥ1ïḑé">
              <a:extLst>
                <a:ext uri="{FF2B5EF4-FFF2-40B4-BE49-F238E27FC236}">
                  <a16:creationId xmlns:a16="http://schemas.microsoft.com/office/drawing/2014/main" id="{D450E662-01FA-438D-BAE0-BF9648CD48C7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şḻiḑe">
              <a:extLst>
                <a:ext uri="{FF2B5EF4-FFF2-40B4-BE49-F238E27FC236}">
                  <a16:creationId xmlns:a16="http://schemas.microsoft.com/office/drawing/2014/main" id="{CA75C049-BADB-435A-A567-B0432B674A44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ṥḻíďe">
              <a:extLst>
                <a:ext uri="{FF2B5EF4-FFF2-40B4-BE49-F238E27FC236}">
                  <a16:creationId xmlns:a16="http://schemas.microsoft.com/office/drawing/2014/main" id="{559C0C5E-7AC7-4C72-821B-7145F81B58AC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işľîḋê">
              <a:extLst>
                <a:ext uri="{FF2B5EF4-FFF2-40B4-BE49-F238E27FC236}">
                  <a16:creationId xmlns:a16="http://schemas.microsoft.com/office/drawing/2014/main" id="{C4A4C0F0-902A-42EF-BEB6-3D89340BF5CA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śḷíďè">
              <a:extLst>
                <a:ext uri="{FF2B5EF4-FFF2-40B4-BE49-F238E27FC236}">
                  <a16:creationId xmlns:a16="http://schemas.microsoft.com/office/drawing/2014/main" id="{106D197A-0E9D-4968-862B-D9ABC9D45570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ṥḷiḓè">
              <a:extLst>
                <a:ext uri="{FF2B5EF4-FFF2-40B4-BE49-F238E27FC236}">
                  <a16:creationId xmlns:a16="http://schemas.microsoft.com/office/drawing/2014/main" id="{8421937A-9942-4654-971A-C3F80260FD78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ṥliďe">
              <a:extLst>
                <a:ext uri="{FF2B5EF4-FFF2-40B4-BE49-F238E27FC236}">
                  <a16:creationId xmlns:a16="http://schemas.microsoft.com/office/drawing/2014/main" id="{78233E14-F1F4-48E5-80C1-A71E38D30039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$ļídé">
              <a:extLst>
                <a:ext uri="{FF2B5EF4-FFF2-40B4-BE49-F238E27FC236}">
                  <a16:creationId xmlns:a16="http://schemas.microsoft.com/office/drawing/2014/main" id="{9F838816-453B-4CD4-9C6F-EE01E5651D7F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şļíḍé">
              <a:extLst>
                <a:ext uri="{FF2B5EF4-FFF2-40B4-BE49-F238E27FC236}">
                  <a16:creationId xmlns:a16="http://schemas.microsoft.com/office/drawing/2014/main" id="{F2FE6396-F62B-481C-9349-5EEFB92B058F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$líḋè">
              <a:extLst>
                <a:ext uri="{FF2B5EF4-FFF2-40B4-BE49-F238E27FC236}">
                  <a16:creationId xmlns:a16="http://schemas.microsoft.com/office/drawing/2014/main" id="{59A02249-2436-4192-9480-64A78733024D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$1îḑe">
              <a:extLst>
                <a:ext uri="{FF2B5EF4-FFF2-40B4-BE49-F238E27FC236}">
                  <a16:creationId xmlns:a16="http://schemas.microsoft.com/office/drawing/2014/main" id="{F4477F8A-0C9E-4BAA-BE87-2C353E46C0B8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ṥḻíḋè">
              <a:extLst>
                <a:ext uri="{FF2B5EF4-FFF2-40B4-BE49-F238E27FC236}">
                  <a16:creationId xmlns:a16="http://schemas.microsoft.com/office/drawing/2014/main" id="{44DE3282-ABD0-4B4A-8E35-FFCFDEE20043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š1íde">
              <a:extLst>
                <a:ext uri="{FF2B5EF4-FFF2-40B4-BE49-F238E27FC236}">
                  <a16:creationId xmlns:a16="http://schemas.microsoft.com/office/drawing/2014/main" id="{BBF95884-0227-4D62-9975-44AB1A1D2F3A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sliḋê">
              <a:extLst>
                <a:ext uri="{FF2B5EF4-FFF2-40B4-BE49-F238E27FC236}">
                  <a16:creationId xmlns:a16="http://schemas.microsoft.com/office/drawing/2014/main" id="{F6BB22DA-1E98-476A-A195-6E6E77CB1E56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s1iḍè">
              <a:extLst>
                <a:ext uri="{FF2B5EF4-FFF2-40B4-BE49-F238E27FC236}">
                  <a16:creationId xmlns:a16="http://schemas.microsoft.com/office/drawing/2014/main" id="{9C70E460-0679-4055-AEE0-1B24E9ED9939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ṧlïḍé">
              <a:extLst>
                <a:ext uri="{FF2B5EF4-FFF2-40B4-BE49-F238E27FC236}">
                  <a16:creationId xmlns:a16="http://schemas.microsoft.com/office/drawing/2014/main" id="{28697C9E-B852-437D-B6BF-61CF38581D87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Sļîḋé">
              <a:extLst>
                <a:ext uri="{FF2B5EF4-FFF2-40B4-BE49-F238E27FC236}">
                  <a16:creationId xmlns:a16="http://schemas.microsoft.com/office/drawing/2014/main" id="{956DED69-A942-4EEB-A55F-D923CFD603ED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ṥḷíḑé">
              <a:extLst>
                <a:ext uri="{FF2B5EF4-FFF2-40B4-BE49-F238E27FC236}">
                  <a16:creationId xmlns:a16="http://schemas.microsoft.com/office/drawing/2014/main" id="{C1FA4019-BEC4-4AEB-98EF-A65622465A1C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ṡ1ide">
              <a:extLst>
                <a:ext uri="{FF2B5EF4-FFF2-40B4-BE49-F238E27FC236}">
                  <a16:creationId xmlns:a16="http://schemas.microsoft.com/office/drawing/2014/main" id="{ECE81DCE-FC79-4A06-87AF-654C84ACCBDC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iŝḻíḓé">
              <a:extLst>
                <a:ext uri="{FF2B5EF4-FFF2-40B4-BE49-F238E27FC236}">
                  <a16:creationId xmlns:a16="http://schemas.microsoft.com/office/drawing/2014/main" id="{FBEC6165-D698-4BC9-B36C-CF22BCA88D9A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1íḋè">
              <a:extLst>
                <a:ext uri="{FF2B5EF4-FFF2-40B4-BE49-F238E27FC236}">
                  <a16:creationId xmlns:a16="http://schemas.microsoft.com/office/drawing/2014/main" id="{C5DE906D-32E1-4997-B7F4-D5B34A349DB1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şļíḋê">
              <a:extLst>
                <a:ext uri="{FF2B5EF4-FFF2-40B4-BE49-F238E27FC236}">
                  <a16:creationId xmlns:a16="http://schemas.microsoft.com/office/drawing/2014/main" id="{F0D56D12-9DDE-4881-9059-5AE264628D12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ṥḻîḍê">
              <a:extLst>
                <a:ext uri="{FF2B5EF4-FFF2-40B4-BE49-F238E27FC236}">
                  <a16:creationId xmlns:a16="http://schemas.microsoft.com/office/drawing/2014/main" id="{B116B787-A99C-4A31-BA60-91C8E8B5DF35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ṩļíḓe">
              <a:extLst>
                <a:ext uri="{FF2B5EF4-FFF2-40B4-BE49-F238E27FC236}">
                  <a16:creationId xmlns:a16="http://schemas.microsoft.com/office/drawing/2014/main" id="{61D690D6-A531-4745-BB28-77A64CE528EF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şḷiḓé">
              <a:extLst>
                <a:ext uri="{FF2B5EF4-FFF2-40B4-BE49-F238E27FC236}">
                  <a16:creationId xmlns:a16="http://schemas.microsoft.com/office/drawing/2014/main" id="{FA30F018-A88A-4AC7-A4C9-C9485D92173D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ŝliḑe">
              <a:extLst>
                <a:ext uri="{FF2B5EF4-FFF2-40B4-BE49-F238E27FC236}">
                  <a16:creationId xmlns:a16="http://schemas.microsoft.com/office/drawing/2014/main" id="{D1F45007-CC29-4023-AAD3-C65EEB2BAA17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ṡlídé">
              <a:extLst>
                <a:ext uri="{FF2B5EF4-FFF2-40B4-BE49-F238E27FC236}">
                  <a16:creationId xmlns:a16="http://schemas.microsoft.com/office/drawing/2014/main" id="{55EAC45C-8E48-4B0E-8282-B148D2521B14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1iḓé">
              <a:extLst>
                <a:ext uri="{FF2B5EF4-FFF2-40B4-BE49-F238E27FC236}">
                  <a16:creationId xmlns:a16="http://schemas.microsoft.com/office/drawing/2014/main" id="{7F395277-1DBA-40C9-A811-47F3232ADC82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ṥlidè">
              <a:extLst>
                <a:ext uri="{FF2B5EF4-FFF2-40B4-BE49-F238E27FC236}">
                  <a16:creationId xmlns:a16="http://schemas.microsoft.com/office/drawing/2014/main" id="{4BAD4580-F6E2-4255-AA06-AD216C6AB025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ṥlïdè">
              <a:extLst>
                <a:ext uri="{FF2B5EF4-FFF2-40B4-BE49-F238E27FC236}">
                  <a16:creationId xmlns:a16="http://schemas.microsoft.com/office/drawing/2014/main" id="{2EBEE1D0-0E97-4134-8017-9485A9894676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şlïḓé">
              <a:extLst>
                <a:ext uri="{FF2B5EF4-FFF2-40B4-BE49-F238E27FC236}">
                  <a16:creationId xmlns:a16="http://schemas.microsoft.com/office/drawing/2014/main" id="{A7375962-9D81-4780-992C-D3EECEE4AFE0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ṥḻïde">
              <a:extLst>
                <a:ext uri="{FF2B5EF4-FFF2-40B4-BE49-F238E27FC236}">
                  <a16:creationId xmlns:a16="http://schemas.microsoft.com/office/drawing/2014/main" id="{1FF4EEE4-17A5-449A-BB7E-A8295B6FA561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šľiḍé">
              <a:extLst>
                <a:ext uri="{FF2B5EF4-FFF2-40B4-BE49-F238E27FC236}">
                  <a16:creationId xmlns:a16="http://schemas.microsoft.com/office/drawing/2014/main" id="{0961551D-4D42-4872-8C2D-38AB4E20A5D1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$liďe">
              <a:extLst>
                <a:ext uri="{FF2B5EF4-FFF2-40B4-BE49-F238E27FC236}">
                  <a16:creationId xmlns:a16="http://schemas.microsoft.com/office/drawing/2014/main" id="{158205F4-5EED-4273-A64D-CA94BA0E192D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ṣļïde">
              <a:extLst>
                <a:ext uri="{FF2B5EF4-FFF2-40B4-BE49-F238E27FC236}">
                  <a16:creationId xmlns:a16="http://schemas.microsoft.com/office/drawing/2014/main" id="{ACE69177-8AD2-474F-B37F-94DC4BBB8D4D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ŝlïḍe">
              <a:extLst>
                <a:ext uri="{FF2B5EF4-FFF2-40B4-BE49-F238E27FC236}">
                  <a16:creationId xmlns:a16="http://schemas.microsoft.com/office/drawing/2014/main" id="{27EBB3EF-EB63-40F2-881A-FAD9C2EC48C8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śľíḍe">
              <a:extLst>
                <a:ext uri="{FF2B5EF4-FFF2-40B4-BE49-F238E27FC236}">
                  <a16:creationId xmlns:a16="http://schemas.microsoft.com/office/drawing/2014/main" id="{F15FC9A3-B732-4181-95DE-267C5CF2E940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ṡļiḑè">
              <a:extLst>
                <a:ext uri="{FF2B5EF4-FFF2-40B4-BE49-F238E27FC236}">
                  <a16:creationId xmlns:a16="http://schemas.microsoft.com/office/drawing/2014/main" id="{C55C9323-F279-4DDD-BD86-4BF5B9D79067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ş1îďê">
              <a:extLst>
                <a:ext uri="{FF2B5EF4-FFF2-40B4-BE49-F238E27FC236}">
                  <a16:creationId xmlns:a16="http://schemas.microsoft.com/office/drawing/2014/main" id="{6BDD9A4F-DAFE-43F9-958C-9226FA0A1D70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ṣḻïḍe">
              <a:extLst>
                <a:ext uri="{FF2B5EF4-FFF2-40B4-BE49-F238E27FC236}">
                  <a16:creationId xmlns:a16="http://schemas.microsoft.com/office/drawing/2014/main" id="{9FBA39F2-D217-4FEA-A0BC-7A72A4CA1DD2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šľïďè">
              <a:extLst>
                <a:ext uri="{FF2B5EF4-FFF2-40B4-BE49-F238E27FC236}">
                  <a16:creationId xmlns:a16="http://schemas.microsoft.com/office/drawing/2014/main" id="{6524B41D-4DA4-4CE6-93DF-51430B005901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ṥľiḑe">
              <a:extLst>
                <a:ext uri="{FF2B5EF4-FFF2-40B4-BE49-F238E27FC236}">
                  <a16:creationId xmlns:a16="http://schemas.microsoft.com/office/drawing/2014/main" id="{4CA665F0-430B-4071-862B-96E800526229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ṥḷiḑé">
              <a:extLst>
                <a:ext uri="{FF2B5EF4-FFF2-40B4-BE49-F238E27FC236}">
                  <a16:creationId xmlns:a16="http://schemas.microsoft.com/office/drawing/2014/main" id="{6E8C6C81-A6DC-4090-AABD-326FFE9889F2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$1íďe">
              <a:extLst>
                <a:ext uri="{FF2B5EF4-FFF2-40B4-BE49-F238E27FC236}">
                  <a16:creationId xmlns:a16="http://schemas.microsoft.com/office/drawing/2014/main" id="{14DE2733-2F89-46D8-8217-DF795E975F79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$ḷíḓê">
              <a:extLst>
                <a:ext uri="{FF2B5EF4-FFF2-40B4-BE49-F238E27FC236}">
                  <a16:creationId xmlns:a16="http://schemas.microsoft.com/office/drawing/2014/main" id="{6DC442F3-AD5B-4936-8622-E2D310D33B0A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ṡḻíḍè">
              <a:extLst>
                <a:ext uri="{FF2B5EF4-FFF2-40B4-BE49-F238E27FC236}">
                  <a16:creationId xmlns:a16="http://schemas.microsoft.com/office/drawing/2014/main" id="{F608C279-19DB-43B2-B52E-8058C8C95152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ŝľiḑe">
              <a:extLst>
                <a:ext uri="{FF2B5EF4-FFF2-40B4-BE49-F238E27FC236}">
                  <a16:creationId xmlns:a16="http://schemas.microsoft.com/office/drawing/2014/main" id="{06FDE97F-90F8-4A87-B530-38876C5E3A58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ṧľïḍè">
              <a:extLst>
                <a:ext uri="{FF2B5EF4-FFF2-40B4-BE49-F238E27FC236}">
                  <a16:creationId xmlns:a16="http://schemas.microsoft.com/office/drawing/2014/main" id="{BAD5E368-0D58-425A-8DED-F7A706B83CD0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1íḋe">
              <a:extLst>
                <a:ext uri="{FF2B5EF4-FFF2-40B4-BE49-F238E27FC236}">
                  <a16:creationId xmlns:a16="http://schemas.microsoft.com/office/drawing/2014/main" id="{B7653CD4-C918-49DC-9656-BC43ABD9C69F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ṧ1íḓé">
              <a:extLst>
                <a:ext uri="{FF2B5EF4-FFF2-40B4-BE49-F238E27FC236}">
                  <a16:creationId xmlns:a16="http://schemas.microsoft.com/office/drawing/2014/main" id="{598C459A-860C-491A-AC63-CA8938A8CE5E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$ḷîde">
              <a:extLst>
                <a:ext uri="{FF2B5EF4-FFF2-40B4-BE49-F238E27FC236}">
                  <a16:creationId xmlns:a16="http://schemas.microsoft.com/office/drawing/2014/main" id="{8E8CF225-E447-4966-B2A2-A71418F5D875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š1íḋê">
              <a:extLst>
                <a:ext uri="{FF2B5EF4-FFF2-40B4-BE49-F238E27FC236}">
                  <a16:creationId xmlns:a16="http://schemas.microsoft.com/office/drawing/2014/main" id="{8A5CD851-95E3-4842-B3CE-421A30ACE6EC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ṩļïḍe">
              <a:extLst>
                <a:ext uri="{FF2B5EF4-FFF2-40B4-BE49-F238E27FC236}">
                  <a16:creationId xmlns:a16="http://schemas.microsoft.com/office/drawing/2014/main" id="{C9674591-AA2B-4C01-91D2-5804FF0F4CE0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ḻîḍé">
              <a:extLst>
                <a:ext uri="{FF2B5EF4-FFF2-40B4-BE49-F238E27FC236}">
                  <a16:creationId xmlns:a16="http://schemas.microsoft.com/office/drawing/2014/main" id="{E4DA5F1D-2CA5-4F13-A243-8836BF902EC3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ṧ1îḍé">
              <a:extLst>
                <a:ext uri="{FF2B5EF4-FFF2-40B4-BE49-F238E27FC236}">
                  <a16:creationId xmlns:a16="http://schemas.microsoft.com/office/drawing/2014/main" id="{E47A5F46-3C43-4942-BD8C-DA73B3390DF3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śḻîḓè">
              <a:extLst>
                <a:ext uri="{FF2B5EF4-FFF2-40B4-BE49-F238E27FC236}">
                  <a16:creationId xmlns:a16="http://schemas.microsoft.com/office/drawing/2014/main" id="{CC283A42-4D8A-4B43-8DB1-72947E2020B1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ṡḷiḓè">
              <a:extLst>
                <a:ext uri="{FF2B5EF4-FFF2-40B4-BE49-F238E27FC236}">
                  <a16:creationId xmlns:a16="http://schemas.microsoft.com/office/drawing/2014/main" id="{B5F76122-165D-4D78-BB5C-222E0C7DBE55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ṧḷídê">
              <a:extLst>
                <a:ext uri="{FF2B5EF4-FFF2-40B4-BE49-F238E27FC236}">
                  <a16:creationId xmlns:a16="http://schemas.microsoft.com/office/drawing/2014/main" id="{4DD72BD6-C396-45EA-8179-21679773A23F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Sľiḓê">
              <a:extLst>
                <a:ext uri="{FF2B5EF4-FFF2-40B4-BE49-F238E27FC236}">
                  <a16:creationId xmlns:a16="http://schemas.microsoft.com/office/drawing/2014/main" id="{D419C135-DBC8-4EDB-831E-C811BD964310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ḻiḓe">
              <a:extLst>
                <a:ext uri="{FF2B5EF4-FFF2-40B4-BE49-F238E27FC236}">
                  <a16:creationId xmlns:a16="http://schemas.microsoft.com/office/drawing/2014/main" id="{1D2A388A-DFB3-42CE-917E-9EB8FE353D56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ṥļíďê">
              <a:extLst>
                <a:ext uri="{FF2B5EF4-FFF2-40B4-BE49-F238E27FC236}">
                  <a16:creationId xmlns:a16="http://schemas.microsoft.com/office/drawing/2014/main" id="{F037D401-A39C-467A-892F-B3405F1E1690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ḷíḑê">
              <a:extLst>
                <a:ext uri="{FF2B5EF4-FFF2-40B4-BE49-F238E27FC236}">
                  <a16:creationId xmlns:a16="http://schemas.microsoft.com/office/drawing/2014/main" id="{A99DFDFB-2ADF-42D1-8C72-B211AFB98EDC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ṥľíḋé">
              <a:extLst>
                <a:ext uri="{FF2B5EF4-FFF2-40B4-BE49-F238E27FC236}">
                  <a16:creationId xmlns:a16="http://schemas.microsoft.com/office/drawing/2014/main" id="{CA925DBB-2569-4805-AC28-DA55A594D6D7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ṩḷidè">
              <a:extLst>
                <a:ext uri="{FF2B5EF4-FFF2-40B4-BE49-F238E27FC236}">
                  <a16:creationId xmlns:a16="http://schemas.microsoft.com/office/drawing/2014/main" id="{D3DEEF63-29CD-49D4-A4ED-2E2BA17A1F57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ṡļiḓé">
              <a:extLst>
                <a:ext uri="{FF2B5EF4-FFF2-40B4-BE49-F238E27FC236}">
                  <a16:creationId xmlns:a16="http://schemas.microsoft.com/office/drawing/2014/main" id="{ED953F68-DA12-4100-8CDA-AEFF3AA67213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ṡļîde">
              <a:extLst>
                <a:ext uri="{FF2B5EF4-FFF2-40B4-BE49-F238E27FC236}">
                  <a16:creationId xmlns:a16="http://schemas.microsoft.com/office/drawing/2014/main" id="{614839EC-881C-4C69-9A81-EFE69B59D9F3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ṧḻïḍé">
              <a:extLst>
                <a:ext uri="{FF2B5EF4-FFF2-40B4-BE49-F238E27FC236}">
                  <a16:creationId xmlns:a16="http://schemas.microsoft.com/office/drawing/2014/main" id="{B1E70B75-68E9-4B2F-BE9B-80FC07173FF2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$ľîḓe">
              <a:extLst>
                <a:ext uri="{FF2B5EF4-FFF2-40B4-BE49-F238E27FC236}">
                  <a16:creationId xmlns:a16="http://schemas.microsoft.com/office/drawing/2014/main" id="{AF5C84FB-4C58-440B-9FE2-23544C2EE099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ḷidè">
              <a:extLst>
                <a:ext uri="{FF2B5EF4-FFF2-40B4-BE49-F238E27FC236}">
                  <a16:creationId xmlns:a16="http://schemas.microsoft.com/office/drawing/2014/main" id="{4826B533-73DC-4571-809F-0CC5B20ACFE9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şľiḋé">
              <a:extLst>
                <a:ext uri="{FF2B5EF4-FFF2-40B4-BE49-F238E27FC236}">
                  <a16:creationId xmlns:a16="http://schemas.microsoft.com/office/drawing/2014/main" id="{CC051163-CFA3-42E6-94F3-8A25291CC700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ṧḷiďe">
              <a:extLst>
                <a:ext uri="{FF2B5EF4-FFF2-40B4-BE49-F238E27FC236}">
                  <a16:creationId xmlns:a16="http://schemas.microsoft.com/office/drawing/2014/main" id="{5793B7AA-D483-41C0-8343-ACDB004046FF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ṣļíḍé">
              <a:extLst>
                <a:ext uri="{FF2B5EF4-FFF2-40B4-BE49-F238E27FC236}">
                  <a16:creationId xmlns:a16="http://schemas.microsoft.com/office/drawing/2014/main" id="{4C4EC322-C2D4-496E-8928-781C80DB2AF1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S1idê">
              <a:extLst>
                <a:ext uri="{FF2B5EF4-FFF2-40B4-BE49-F238E27FC236}">
                  <a16:creationId xmlns:a16="http://schemas.microsoft.com/office/drawing/2014/main" id="{34DF0BEE-99DE-44E6-9DE8-EC9F8C43D7E6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ŝļîḓè">
              <a:extLst>
                <a:ext uri="{FF2B5EF4-FFF2-40B4-BE49-F238E27FC236}">
                  <a16:creationId xmlns:a16="http://schemas.microsoft.com/office/drawing/2014/main" id="{5567D3AD-2E0D-409E-A512-D5A836559BB7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$líde">
              <a:extLst>
                <a:ext uri="{FF2B5EF4-FFF2-40B4-BE49-F238E27FC236}">
                  <a16:creationId xmlns:a16="http://schemas.microsoft.com/office/drawing/2014/main" id="{25D95AE3-37A2-4C76-A3B5-AFEF0D09CE31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ŝļíḑé">
              <a:extLst>
                <a:ext uri="{FF2B5EF4-FFF2-40B4-BE49-F238E27FC236}">
                  <a16:creationId xmlns:a16="http://schemas.microsoft.com/office/drawing/2014/main" id="{B67E62C0-FAA2-436A-BAA9-6AA655273310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sliḋe">
              <a:extLst>
                <a:ext uri="{FF2B5EF4-FFF2-40B4-BE49-F238E27FC236}">
                  <a16:creationId xmlns:a16="http://schemas.microsoft.com/office/drawing/2014/main" id="{E1F14B57-6377-4611-9C6E-C2F3C994065F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sḻiḍe">
              <a:extLst>
                <a:ext uri="{FF2B5EF4-FFF2-40B4-BE49-F238E27FC236}">
                  <a16:creationId xmlns:a16="http://schemas.microsoft.com/office/drawing/2014/main" id="{92FC965F-7324-45CB-800E-3C3B9E621421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ṩḻíḍè">
              <a:extLst>
                <a:ext uri="{FF2B5EF4-FFF2-40B4-BE49-F238E27FC236}">
                  <a16:creationId xmlns:a16="http://schemas.microsoft.com/office/drawing/2014/main" id="{DE299354-EC57-4CC9-8CA6-3AA21A17D061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ṧḻídé">
              <a:extLst>
                <a:ext uri="{FF2B5EF4-FFF2-40B4-BE49-F238E27FC236}">
                  <a16:creationId xmlns:a16="http://schemas.microsoft.com/office/drawing/2014/main" id="{C2415891-1E5D-4903-BEFD-7E5C3C35176D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şļîḑê">
              <a:extLst>
                <a:ext uri="{FF2B5EF4-FFF2-40B4-BE49-F238E27FC236}">
                  <a16:creationId xmlns:a16="http://schemas.microsoft.com/office/drawing/2014/main" id="{5D0E2643-1BED-4FCE-BD7D-900CA9646BE3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ṡľîḋê">
              <a:extLst>
                <a:ext uri="{FF2B5EF4-FFF2-40B4-BE49-F238E27FC236}">
                  <a16:creationId xmlns:a16="http://schemas.microsoft.com/office/drawing/2014/main" id="{77AB7629-261D-4676-81C9-C65DA5E82AD6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ṣļíďé">
              <a:extLst>
                <a:ext uri="{FF2B5EF4-FFF2-40B4-BE49-F238E27FC236}">
                  <a16:creationId xmlns:a16="http://schemas.microsoft.com/office/drawing/2014/main" id="{1732D04D-CAC1-4C45-B695-F96E45995961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ṧḷiḋé">
              <a:extLst>
                <a:ext uri="{FF2B5EF4-FFF2-40B4-BE49-F238E27FC236}">
                  <a16:creationId xmlns:a16="http://schemas.microsoft.com/office/drawing/2014/main" id="{AEA651A9-2CC2-4610-9BF7-F0BE89C24F5A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$ľiḍê">
              <a:extLst>
                <a:ext uri="{FF2B5EF4-FFF2-40B4-BE49-F238E27FC236}">
                  <a16:creationId xmlns:a16="http://schemas.microsoft.com/office/drawing/2014/main" id="{5DEA5345-D77C-4ED5-BBC2-387C60B4C9CC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îṡ1îḋè">
              <a:extLst>
                <a:ext uri="{FF2B5EF4-FFF2-40B4-BE49-F238E27FC236}">
                  <a16:creationId xmlns:a16="http://schemas.microsoft.com/office/drawing/2014/main" id="{17AB4B6C-6A1F-4CEE-BEE7-75BBB5B0285C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Sļiḋe">
              <a:extLst>
                <a:ext uri="{FF2B5EF4-FFF2-40B4-BE49-F238E27FC236}">
                  <a16:creationId xmlns:a16="http://schemas.microsoft.com/office/drawing/2014/main" id="{DEF07BE9-6C5B-4DF2-BB02-DA2CF68C0AB6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ṣlïḓé">
              <a:extLst>
                <a:ext uri="{FF2B5EF4-FFF2-40B4-BE49-F238E27FC236}">
                  <a16:creationId xmlns:a16="http://schemas.microsoft.com/office/drawing/2014/main" id="{D8052451-1EA6-4C3D-AA44-FE64CC6FBEBE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ṥḷídè">
              <a:extLst>
                <a:ext uri="{FF2B5EF4-FFF2-40B4-BE49-F238E27FC236}">
                  <a16:creationId xmlns:a16="http://schemas.microsoft.com/office/drawing/2014/main" id="{845C124C-7CBE-4822-A933-291498101920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šḷïḍè">
              <a:extLst>
                <a:ext uri="{FF2B5EF4-FFF2-40B4-BE49-F238E27FC236}">
                  <a16:creationId xmlns:a16="http://schemas.microsoft.com/office/drawing/2014/main" id="{E17B3FCD-0622-446C-834D-1165F036D8F5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ṧḻîďê">
              <a:extLst>
                <a:ext uri="{FF2B5EF4-FFF2-40B4-BE49-F238E27FC236}">
                  <a16:creationId xmlns:a16="http://schemas.microsoft.com/office/drawing/2014/main" id="{C9D835DC-9EF7-496F-831A-E840CAEDEC0C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$ľiḓê">
              <a:extLst>
                <a:ext uri="{FF2B5EF4-FFF2-40B4-BE49-F238E27FC236}">
                  <a16:creationId xmlns:a16="http://schemas.microsoft.com/office/drawing/2014/main" id="{048F9B3C-FAA2-4329-9F8A-767FB4883B2C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sļîḍé">
              <a:extLst>
                <a:ext uri="{FF2B5EF4-FFF2-40B4-BE49-F238E27FC236}">
                  <a16:creationId xmlns:a16="http://schemas.microsoft.com/office/drawing/2014/main" id="{2175A16C-8C24-448F-BE1D-BDD939C9811D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$ľîḋê">
              <a:extLst>
                <a:ext uri="{FF2B5EF4-FFF2-40B4-BE49-F238E27FC236}">
                  <a16:creationId xmlns:a16="http://schemas.microsoft.com/office/drawing/2014/main" id="{03673021-97E0-4463-AE5D-129CE6EEA31A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ślîḍè">
              <a:extLst>
                <a:ext uri="{FF2B5EF4-FFF2-40B4-BE49-F238E27FC236}">
                  <a16:creationId xmlns:a16="http://schemas.microsoft.com/office/drawing/2014/main" id="{101D0600-3F7E-4DED-853C-EA221E31F777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ṣḷiďè">
              <a:extLst>
                <a:ext uri="{FF2B5EF4-FFF2-40B4-BE49-F238E27FC236}">
                  <a16:creationId xmlns:a16="http://schemas.microsoft.com/office/drawing/2014/main" id="{C6708651-1595-4AF1-B683-D42AEE451AA4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şḷídé">
              <a:extLst>
                <a:ext uri="{FF2B5EF4-FFF2-40B4-BE49-F238E27FC236}">
                  <a16:creationId xmlns:a16="http://schemas.microsoft.com/office/drawing/2014/main" id="{48C5964D-1878-44D5-AEF4-1CBF393033BC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ŝḷïde">
              <a:extLst>
                <a:ext uri="{FF2B5EF4-FFF2-40B4-BE49-F238E27FC236}">
                  <a16:creationId xmlns:a16="http://schemas.microsoft.com/office/drawing/2014/main" id="{B142DF08-D362-42C1-BE8C-E33CCD6C4A38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ṡľiḑe">
              <a:extLst>
                <a:ext uri="{FF2B5EF4-FFF2-40B4-BE49-F238E27FC236}">
                  <a16:creationId xmlns:a16="http://schemas.microsoft.com/office/drawing/2014/main" id="{EFFE1C80-1E73-4DC8-AFFD-FFE9BD5D9023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ŝļiḓé">
              <a:extLst>
                <a:ext uri="{FF2B5EF4-FFF2-40B4-BE49-F238E27FC236}">
                  <a16:creationId xmlns:a16="http://schemas.microsoft.com/office/drawing/2014/main" id="{22F42DBD-4EC4-408E-ABA0-1DE742AA2632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$ḷïḓe">
              <a:extLst>
                <a:ext uri="{FF2B5EF4-FFF2-40B4-BE49-F238E27FC236}">
                  <a16:creationId xmlns:a16="http://schemas.microsoft.com/office/drawing/2014/main" id="{DA8DA7FB-277E-45ED-9B37-7A0045EE4F36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Sliḍé">
              <a:extLst>
                <a:ext uri="{FF2B5EF4-FFF2-40B4-BE49-F238E27FC236}">
                  <a16:creationId xmlns:a16="http://schemas.microsoft.com/office/drawing/2014/main" id="{ECF05BE6-1BDC-48BA-8EB9-BA0A337F6EA6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slïḋé">
              <a:extLst>
                <a:ext uri="{FF2B5EF4-FFF2-40B4-BE49-F238E27FC236}">
                  <a16:creationId xmlns:a16="http://schemas.microsoft.com/office/drawing/2014/main" id="{2957DCE9-6B64-4127-9786-106D93AAAD5E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s1ide">
              <a:extLst>
                <a:ext uri="{FF2B5EF4-FFF2-40B4-BE49-F238E27FC236}">
                  <a16:creationId xmlns:a16="http://schemas.microsoft.com/office/drawing/2014/main" id="{6D9EC955-1583-430A-A88B-6648645AAC56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ṡ1îde">
              <a:extLst>
                <a:ext uri="{FF2B5EF4-FFF2-40B4-BE49-F238E27FC236}">
                  <a16:creationId xmlns:a16="http://schemas.microsoft.com/office/drawing/2014/main" id="{3581ECFD-E7F5-40E9-AADE-DA42C59754AD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Slïḑê">
              <a:extLst>
                <a:ext uri="{FF2B5EF4-FFF2-40B4-BE49-F238E27FC236}">
                  <a16:creationId xmlns:a16="http://schemas.microsoft.com/office/drawing/2014/main" id="{484166FC-5FCE-4F65-B929-FB720FA20308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ṡḻîḑe">
              <a:extLst>
                <a:ext uri="{FF2B5EF4-FFF2-40B4-BE49-F238E27FC236}">
                  <a16:creationId xmlns:a16="http://schemas.microsoft.com/office/drawing/2014/main" id="{AB0557CC-929D-4BC0-A2FF-3F7BFE71B542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ïṣḻïḋè">
              <a:extLst>
                <a:ext uri="{FF2B5EF4-FFF2-40B4-BE49-F238E27FC236}">
                  <a16:creationId xmlns:a16="http://schemas.microsoft.com/office/drawing/2014/main" id="{82F13FCC-48D8-4A61-91D0-D0F443B9E753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ï$ľidé">
              <a:extLst>
                <a:ext uri="{FF2B5EF4-FFF2-40B4-BE49-F238E27FC236}">
                  <a16:creationId xmlns:a16="http://schemas.microsoft.com/office/drawing/2014/main" id="{5F132C66-0BAF-497F-92DD-3003A7A65984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ṥlîďè">
              <a:extLst>
                <a:ext uri="{FF2B5EF4-FFF2-40B4-BE49-F238E27FC236}">
                  <a16:creationId xmlns:a16="http://schemas.microsoft.com/office/drawing/2014/main" id="{425DA565-20DC-459C-BC1C-B9A9D536CAC5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ḻiḋè">
              <a:extLst>
                <a:ext uri="{FF2B5EF4-FFF2-40B4-BE49-F238E27FC236}">
                  <a16:creationId xmlns:a16="http://schemas.microsoft.com/office/drawing/2014/main" id="{A6B9A4EA-1770-421A-B2E5-E39C91F0411F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şļíďê">
              <a:extLst>
                <a:ext uri="{FF2B5EF4-FFF2-40B4-BE49-F238E27FC236}">
                  <a16:creationId xmlns:a16="http://schemas.microsoft.com/office/drawing/2014/main" id="{E02C0D5F-BD51-4133-B1CA-F178F7B2222A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śļïḍè">
              <a:extLst>
                <a:ext uri="{FF2B5EF4-FFF2-40B4-BE49-F238E27FC236}">
                  <a16:creationId xmlns:a16="http://schemas.microsoft.com/office/drawing/2014/main" id="{BE05D32A-E993-405C-BC67-3AA99D76B5DA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$lîḑê">
              <a:extLst>
                <a:ext uri="{FF2B5EF4-FFF2-40B4-BE49-F238E27FC236}">
                  <a16:creationId xmlns:a16="http://schemas.microsoft.com/office/drawing/2014/main" id="{FE7A5B0C-F4B9-4765-97EC-960CD547C0C9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š1îḍe">
              <a:extLst>
                <a:ext uri="{FF2B5EF4-FFF2-40B4-BE49-F238E27FC236}">
                  <a16:creationId xmlns:a16="http://schemas.microsoft.com/office/drawing/2014/main" id="{66C57FC2-DAB6-44A6-8297-E5B48BE8FEDD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$ľîḓê">
              <a:extLst>
                <a:ext uri="{FF2B5EF4-FFF2-40B4-BE49-F238E27FC236}">
                  <a16:creationId xmlns:a16="http://schemas.microsoft.com/office/drawing/2014/main" id="{A4C62AF6-CC40-4E3E-AE6D-64D89B296481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ŝľîḑè">
              <a:extLst>
                <a:ext uri="{FF2B5EF4-FFF2-40B4-BE49-F238E27FC236}">
                  <a16:creationId xmlns:a16="http://schemas.microsoft.com/office/drawing/2014/main" id="{B2206652-BDA0-4227-9711-A2C259781C1A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ṩlíḍé">
              <a:extLst>
                <a:ext uri="{FF2B5EF4-FFF2-40B4-BE49-F238E27FC236}">
                  <a16:creationId xmlns:a16="http://schemas.microsoft.com/office/drawing/2014/main" id="{A3884C60-6A2C-4522-8419-D3D29B9146F8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ṣ1ïḑê">
              <a:extLst>
                <a:ext uri="{FF2B5EF4-FFF2-40B4-BE49-F238E27FC236}">
                  <a16:creationId xmlns:a16="http://schemas.microsoft.com/office/drawing/2014/main" id="{AE32D76C-174A-44B3-91DE-F9017F6EE895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ṡ1ïḍè">
              <a:extLst>
                <a:ext uri="{FF2B5EF4-FFF2-40B4-BE49-F238E27FC236}">
                  <a16:creationId xmlns:a16="http://schemas.microsoft.com/office/drawing/2014/main" id="{ADBD11D8-5DC2-4934-82C4-F5583F7FF3E3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ṣļíḓé">
              <a:extLst>
                <a:ext uri="{FF2B5EF4-FFF2-40B4-BE49-F238E27FC236}">
                  <a16:creationId xmlns:a16="http://schemas.microsoft.com/office/drawing/2014/main" id="{FB07088E-E7D4-496E-BD41-1164C829235C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îšļïḓé">
              <a:extLst>
                <a:ext uri="{FF2B5EF4-FFF2-40B4-BE49-F238E27FC236}">
                  <a16:creationId xmlns:a16="http://schemas.microsoft.com/office/drawing/2014/main" id="{FCDAD5C3-EBBA-472A-8BF9-85BF9FBECDE1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ṥļïḓe">
              <a:extLst>
                <a:ext uri="{FF2B5EF4-FFF2-40B4-BE49-F238E27FC236}">
                  <a16:creationId xmlns:a16="http://schemas.microsoft.com/office/drawing/2014/main" id="{DAF19624-4784-4D57-917A-EF03A7816A38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îśľíḓê">
              <a:extLst>
                <a:ext uri="{FF2B5EF4-FFF2-40B4-BE49-F238E27FC236}">
                  <a16:creationId xmlns:a16="http://schemas.microsoft.com/office/drawing/2014/main" id="{BAC6F3FC-80B2-4F25-96A6-579BED3F725F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šļîḑè">
              <a:extLst>
                <a:ext uri="{FF2B5EF4-FFF2-40B4-BE49-F238E27FC236}">
                  <a16:creationId xmlns:a16="http://schemas.microsoft.com/office/drawing/2014/main" id="{DA2E624A-2683-410C-844D-8CABE63121D3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î$liḋê">
              <a:extLst>
                <a:ext uri="{FF2B5EF4-FFF2-40B4-BE49-F238E27FC236}">
                  <a16:creationId xmlns:a16="http://schemas.microsoft.com/office/drawing/2014/main" id="{73464FA2-EC6C-4852-8D1B-9F9917B4C4CD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ṡḷîḓé">
              <a:extLst>
                <a:ext uri="{FF2B5EF4-FFF2-40B4-BE49-F238E27FC236}">
                  <a16:creationId xmlns:a16="http://schemas.microsoft.com/office/drawing/2014/main" id="{3C085453-6ADD-49FD-8A03-C592F41E927B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$ḻíḓe">
              <a:extLst>
                <a:ext uri="{FF2B5EF4-FFF2-40B4-BE49-F238E27FC236}">
                  <a16:creationId xmlns:a16="http://schemas.microsoft.com/office/drawing/2014/main" id="{27DADE61-A824-4E0E-8232-5EA485B253DB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sļïḍe">
              <a:extLst>
                <a:ext uri="{FF2B5EF4-FFF2-40B4-BE49-F238E27FC236}">
                  <a16:creationId xmlns:a16="http://schemas.microsoft.com/office/drawing/2014/main" id="{46467DC1-0BF7-40EE-B23C-3FF5DD20FC37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ïSḻîḑê">
              <a:extLst>
                <a:ext uri="{FF2B5EF4-FFF2-40B4-BE49-F238E27FC236}">
                  <a16:creationId xmlns:a16="http://schemas.microsoft.com/office/drawing/2014/main" id="{3C416240-FD6F-4F18-AFAB-A937FBD60CB4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şlidè">
              <a:extLst>
                <a:ext uri="{FF2B5EF4-FFF2-40B4-BE49-F238E27FC236}">
                  <a16:creationId xmlns:a16="http://schemas.microsoft.com/office/drawing/2014/main" id="{2D094774-CC5C-4653-A249-CCBEDECF4BE0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ṧľîḋè">
              <a:extLst>
                <a:ext uri="{FF2B5EF4-FFF2-40B4-BE49-F238E27FC236}">
                  <a16:creationId xmlns:a16="http://schemas.microsoft.com/office/drawing/2014/main" id="{DE4A207D-3323-4FA7-B0F6-440A8A46BFAB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şľîdè">
              <a:extLst>
                <a:ext uri="{FF2B5EF4-FFF2-40B4-BE49-F238E27FC236}">
                  <a16:creationId xmlns:a16="http://schemas.microsoft.com/office/drawing/2014/main" id="{144BEF0E-DDB9-4934-984D-B009BC8294F7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ïṩ1îḑè">
              <a:extLst>
                <a:ext uri="{FF2B5EF4-FFF2-40B4-BE49-F238E27FC236}">
                  <a16:creationId xmlns:a16="http://schemas.microsoft.com/office/drawing/2014/main" id="{A213C38E-D089-40F0-8CD4-83AFC9BD9AA9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ṧḻiḋe">
              <a:extLst>
                <a:ext uri="{FF2B5EF4-FFF2-40B4-BE49-F238E27FC236}">
                  <a16:creationId xmlns:a16="http://schemas.microsoft.com/office/drawing/2014/main" id="{2623B5AB-2DF5-48B6-BF55-DBC9A7292467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ïSḻîḑê">
              <a:extLst>
                <a:ext uri="{FF2B5EF4-FFF2-40B4-BE49-F238E27FC236}">
                  <a16:creationId xmlns:a16="http://schemas.microsoft.com/office/drawing/2014/main" id="{07598CB4-0232-4E4E-A04E-6085FDF0D242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S1íde">
              <a:extLst>
                <a:ext uri="{FF2B5EF4-FFF2-40B4-BE49-F238E27FC236}">
                  <a16:creationId xmlns:a16="http://schemas.microsoft.com/office/drawing/2014/main" id="{35E4B7F5-BF21-4078-AEDB-299810412C82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ṡḻíḍè">
              <a:extLst>
                <a:ext uri="{FF2B5EF4-FFF2-40B4-BE49-F238E27FC236}">
                  <a16:creationId xmlns:a16="http://schemas.microsoft.com/office/drawing/2014/main" id="{127C7E00-0E3C-4B1A-93DA-96E8F2C6A1C8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5" name="î$ḻíḓe">
            <a:extLst>
              <a:ext uri="{FF2B5EF4-FFF2-40B4-BE49-F238E27FC236}">
                <a16:creationId xmlns:a16="http://schemas.microsoft.com/office/drawing/2014/main" id="{C5D3DEE4-1DE6-4FE3-BF7B-737BAC3167E5}"/>
              </a:ext>
            </a:extLst>
          </p:cNvPr>
          <p:cNvSpPr/>
          <p:nvPr/>
        </p:nvSpPr>
        <p:spPr>
          <a:xfrm>
            <a:off x="1133653" y="675456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200" b="1" kern="0" dirty="0">
                <a:ln w="6350">
                  <a:noFill/>
                </a:ln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r>
              <a:rPr lang="en-US" altLang="zh-CN" sz="3200" b="1" kern="0" dirty="0">
                <a:ln w="6350">
                  <a:noFill/>
                </a:ln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zh-CN" altLang="en-US" sz="3200" dirty="0">
                <a:solidFill>
                  <a:schemeClr val="accent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156" name="ïṡľïḍè">
            <a:extLst>
              <a:ext uri="{FF2B5EF4-FFF2-40B4-BE49-F238E27FC236}">
                <a16:creationId xmlns:a16="http://schemas.microsoft.com/office/drawing/2014/main" id="{BE2C9918-D15B-4DB3-B2F4-93CC1B384692}"/>
              </a:ext>
            </a:extLst>
          </p:cNvPr>
          <p:cNvSpPr txBox="1">
            <a:spLocks/>
          </p:cNvSpPr>
          <p:nvPr/>
        </p:nvSpPr>
        <p:spPr>
          <a:xfrm>
            <a:off x="1106034" y="6312607"/>
            <a:ext cx="4584698" cy="31087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indent="0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spc="600">
                <a:solidFill>
                  <a:schemeClr val="tx2"/>
                </a:solidFill>
                <a:cs typeface="+mn-ea"/>
              </a:defRPr>
            </a:lvl1pPr>
            <a:lvl2pPr marL="68576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294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1600120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298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zh-CN" dirty="0">
                <a:sym typeface="+mn-lt"/>
              </a:rPr>
              <a:t>WWW.HUST.EDU.CN</a:t>
            </a:r>
          </a:p>
        </p:txBody>
      </p:sp>
      <p:sp>
        <p:nvSpPr>
          <p:cNvPr id="159" name="îśļiḓe">
            <a:extLst>
              <a:ext uri="{FF2B5EF4-FFF2-40B4-BE49-F238E27FC236}">
                <a16:creationId xmlns:a16="http://schemas.microsoft.com/office/drawing/2014/main" id="{60763CFF-3EB4-43CC-97BD-05C98FD6B704}"/>
              </a:ext>
            </a:extLst>
          </p:cNvPr>
          <p:cNvSpPr>
            <a:spLocks/>
          </p:cNvSpPr>
          <p:nvPr/>
        </p:nvSpPr>
        <p:spPr bwMode="auto">
          <a:xfrm>
            <a:off x="1093936" y="1794748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60" name="íŝľîḍe">
            <a:extLst>
              <a:ext uri="{FF2B5EF4-FFF2-40B4-BE49-F238E27FC236}">
                <a16:creationId xmlns:a16="http://schemas.microsoft.com/office/drawing/2014/main" id="{A4A3C551-09CB-4C4A-90F8-DB1DDF6B3B07}"/>
              </a:ext>
            </a:extLst>
          </p:cNvPr>
          <p:cNvSpPr>
            <a:spLocks/>
          </p:cNvSpPr>
          <p:nvPr/>
        </p:nvSpPr>
        <p:spPr bwMode="auto">
          <a:xfrm>
            <a:off x="1093936" y="1794748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61" name="íṣľïďe">
            <a:extLst>
              <a:ext uri="{FF2B5EF4-FFF2-40B4-BE49-F238E27FC236}">
                <a16:creationId xmlns:a16="http://schemas.microsoft.com/office/drawing/2014/main" id="{2C0F36B3-BFFF-4274-AAB0-1FA0296ED2DF}"/>
              </a:ext>
            </a:extLst>
          </p:cNvPr>
          <p:cNvSpPr/>
          <p:nvPr/>
        </p:nvSpPr>
        <p:spPr>
          <a:xfrm>
            <a:off x="2871363" y="2044935"/>
            <a:ext cx="2295925" cy="23223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62" name="îṥlíḍe">
            <a:extLst>
              <a:ext uri="{FF2B5EF4-FFF2-40B4-BE49-F238E27FC236}">
                <a16:creationId xmlns:a16="http://schemas.microsoft.com/office/drawing/2014/main" id="{F7862C4A-1DD1-446B-BB5D-BF861EF2CFC4}"/>
              </a:ext>
            </a:extLst>
          </p:cNvPr>
          <p:cNvSpPr/>
          <p:nvPr/>
        </p:nvSpPr>
        <p:spPr>
          <a:xfrm>
            <a:off x="2553120" y="2338061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bg1"/>
                </a:solidFill>
              </a:rPr>
              <a:t>点击此处添加副标题</a:t>
            </a:r>
            <a:endParaRPr lang="en-US" altLang="zh-CN" sz="900" spc="300" dirty="0">
              <a:solidFill>
                <a:schemeClr val="bg1"/>
              </a:solidFill>
            </a:endParaRPr>
          </a:p>
        </p:txBody>
      </p:sp>
      <p:sp>
        <p:nvSpPr>
          <p:cNvPr id="163" name="iṥlîḓe">
            <a:extLst>
              <a:ext uri="{FF2B5EF4-FFF2-40B4-BE49-F238E27FC236}">
                <a16:creationId xmlns:a16="http://schemas.microsoft.com/office/drawing/2014/main" id="{2EC75E83-C69D-4E81-B021-1750F07EEBF2}"/>
              </a:ext>
            </a:extLst>
          </p:cNvPr>
          <p:cNvSpPr>
            <a:spLocks noChangeAspect="1"/>
          </p:cNvSpPr>
          <p:nvPr/>
        </p:nvSpPr>
        <p:spPr bwMode="auto">
          <a:xfrm>
            <a:off x="2655862" y="2156213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64" name="íṣļïḓê">
            <a:extLst>
              <a:ext uri="{FF2B5EF4-FFF2-40B4-BE49-F238E27FC236}">
                <a16:creationId xmlns:a16="http://schemas.microsoft.com/office/drawing/2014/main" id="{93E0450A-6CFE-493B-A493-E2F057AC3340}"/>
              </a:ext>
            </a:extLst>
          </p:cNvPr>
          <p:cNvSpPr/>
          <p:nvPr/>
        </p:nvSpPr>
        <p:spPr>
          <a:xfrm>
            <a:off x="1347865" y="2105016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65" name="íṡḷïḓé">
            <a:extLst>
              <a:ext uri="{FF2B5EF4-FFF2-40B4-BE49-F238E27FC236}">
                <a16:creationId xmlns:a16="http://schemas.microsoft.com/office/drawing/2014/main" id="{A33DF621-7D20-43CD-BB6A-059186B622A4}"/>
              </a:ext>
            </a:extLst>
          </p:cNvPr>
          <p:cNvSpPr>
            <a:spLocks/>
          </p:cNvSpPr>
          <p:nvPr/>
        </p:nvSpPr>
        <p:spPr bwMode="auto">
          <a:xfrm>
            <a:off x="1093935" y="3142715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66" name="iSḷïḋe">
            <a:extLst>
              <a:ext uri="{FF2B5EF4-FFF2-40B4-BE49-F238E27FC236}">
                <a16:creationId xmlns:a16="http://schemas.microsoft.com/office/drawing/2014/main" id="{D76BC428-8E69-4F1E-A96C-65D87B1FD76F}"/>
              </a:ext>
            </a:extLst>
          </p:cNvPr>
          <p:cNvSpPr>
            <a:spLocks/>
          </p:cNvSpPr>
          <p:nvPr/>
        </p:nvSpPr>
        <p:spPr bwMode="auto">
          <a:xfrm>
            <a:off x="1093935" y="3142715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67" name="ïşľíḋê">
            <a:extLst>
              <a:ext uri="{FF2B5EF4-FFF2-40B4-BE49-F238E27FC236}">
                <a16:creationId xmlns:a16="http://schemas.microsoft.com/office/drawing/2014/main" id="{3D2A1162-15BC-4E55-A9D0-A67EACDF5A32}"/>
              </a:ext>
            </a:extLst>
          </p:cNvPr>
          <p:cNvSpPr/>
          <p:nvPr/>
        </p:nvSpPr>
        <p:spPr>
          <a:xfrm>
            <a:off x="2871361" y="3392902"/>
            <a:ext cx="2295926" cy="256084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68" name="ïsḷîde">
            <a:extLst>
              <a:ext uri="{FF2B5EF4-FFF2-40B4-BE49-F238E27FC236}">
                <a16:creationId xmlns:a16="http://schemas.microsoft.com/office/drawing/2014/main" id="{08D73A3D-966F-45B7-94DE-4E4A935DB0DA}"/>
              </a:ext>
            </a:extLst>
          </p:cNvPr>
          <p:cNvSpPr/>
          <p:nvPr/>
        </p:nvSpPr>
        <p:spPr>
          <a:xfrm>
            <a:off x="2553119" y="3686028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tx2"/>
                </a:solidFill>
              </a:rPr>
              <a:t>点击此处添加副标题</a:t>
            </a:r>
            <a:endParaRPr lang="en-US" altLang="zh-CN" sz="900" spc="300" dirty="0">
              <a:solidFill>
                <a:schemeClr val="tx2"/>
              </a:solidFill>
            </a:endParaRPr>
          </a:p>
        </p:txBody>
      </p:sp>
      <p:sp>
        <p:nvSpPr>
          <p:cNvPr id="169" name="ïṧḻiḋé">
            <a:extLst>
              <a:ext uri="{FF2B5EF4-FFF2-40B4-BE49-F238E27FC236}">
                <a16:creationId xmlns:a16="http://schemas.microsoft.com/office/drawing/2014/main" id="{96021895-B137-449E-9D8D-F6E7D6F1F3EC}"/>
              </a:ext>
            </a:extLst>
          </p:cNvPr>
          <p:cNvSpPr>
            <a:spLocks noChangeAspect="1"/>
          </p:cNvSpPr>
          <p:nvPr/>
        </p:nvSpPr>
        <p:spPr bwMode="auto">
          <a:xfrm>
            <a:off x="2655861" y="3504180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70" name="íṩḻîḑé">
            <a:extLst>
              <a:ext uri="{FF2B5EF4-FFF2-40B4-BE49-F238E27FC236}">
                <a16:creationId xmlns:a16="http://schemas.microsoft.com/office/drawing/2014/main" id="{16F252E9-7B75-4511-B5D5-04B2660C8C5F}"/>
              </a:ext>
            </a:extLst>
          </p:cNvPr>
          <p:cNvSpPr/>
          <p:nvPr/>
        </p:nvSpPr>
        <p:spPr>
          <a:xfrm>
            <a:off x="1347864" y="3452983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71" name="íṧḷîḍè">
            <a:extLst>
              <a:ext uri="{FF2B5EF4-FFF2-40B4-BE49-F238E27FC236}">
                <a16:creationId xmlns:a16="http://schemas.microsoft.com/office/drawing/2014/main" id="{3FB04175-2F9C-4400-A7A6-567D9BE70535}"/>
              </a:ext>
            </a:extLst>
          </p:cNvPr>
          <p:cNvSpPr>
            <a:spLocks/>
          </p:cNvSpPr>
          <p:nvPr/>
        </p:nvSpPr>
        <p:spPr bwMode="auto">
          <a:xfrm>
            <a:off x="5766054" y="3164899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72" name="i$liďê">
            <a:extLst>
              <a:ext uri="{FF2B5EF4-FFF2-40B4-BE49-F238E27FC236}">
                <a16:creationId xmlns:a16="http://schemas.microsoft.com/office/drawing/2014/main" id="{EF455FD4-59B3-4649-9306-291AFFDFC1B0}"/>
              </a:ext>
            </a:extLst>
          </p:cNvPr>
          <p:cNvSpPr>
            <a:spLocks/>
          </p:cNvSpPr>
          <p:nvPr/>
        </p:nvSpPr>
        <p:spPr bwMode="auto">
          <a:xfrm>
            <a:off x="5766054" y="3164899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73" name="ïşľïďé">
            <a:extLst>
              <a:ext uri="{FF2B5EF4-FFF2-40B4-BE49-F238E27FC236}">
                <a16:creationId xmlns:a16="http://schemas.microsoft.com/office/drawing/2014/main" id="{7D0E18CC-6F27-4BE6-94F2-61F566B3CB76}"/>
              </a:ext>
            </a:extLst>
          </p:cNvPr>
          <p:cNvSpPr/>
          <p:nvPr/>
        </p:nvSpPr>
        <p:spPr>
          <a:xfrm>
            <a:off x="7543480" y="3415085"/>
            <a:ext cx="2295926" cy="256084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74" name="išlíďê">
            <a:extLst>
              <a:ext uri="{FF2B5EF4-FFF2-40B4-BE49-F238E27FC236}">
                <a16:creationId xmlns:a16="http://schemas.microsoft.com/office/drawing/2014/main" id="{181BE7D6-6993-423B-B135-DD3091716CC7}"/>
              </a:ext>
            </a:extLst>
          </p:cNvPr>
          <p:cNvSpPr/>
          <p:nvPr/>
        </p:nvSpPr>
        <p:spPr>
          <a:xfrm>
            <a:off x="7225238" y="3708212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bg1"/>
                </a:solidFill>
              </a:rPr>
              <a:t>点击此处添加副标题</a:t>
            </a:r>
            <a:endParaRPr lang="en-US" altLang="zh-CN" sz="900" spc="300" dirty="0">
              <a:solidFill>
                <a:schemeClr val="bg1"/>
              </a:solidFill>
            </a:endParaRPr>
          </a:p>
        </p:txBody>
      </p:sp>
      <p:sp>
        <p:nvSpPr>
          <p:cNvPr id="175" name="ïšḷiḍé">
            <a:extLst>
              <a:ext uri="{FF2B5EF4-FFF2-40B4-BE49-F238E27FC236}">
                <a16:creationId xmlns:a16="http://schemas.microsoft.com/office/drawing/2014/main" id="{84F6BE0E-5087-4741-9126-91580C5DA76E}"/>
              </a:ext>
            </a:extLst>
          </p:cNvPr>
          <p:cNvSpPr>
            <a:spLocks noChangeAspect="1"/>
          </p:cNvSpPr>
          <p:nvPr/>
        </p:nvSpPr>
        <p:spPr bwMode="auto">
          <a:xfrm>
            <a:off x="7327980" y="3526364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76" name="íśľïďè">
            <a:extLst>
              <a:ext uri="{FF2B5EF4-FFF2-40B4-BE49-F238E27FC236}">
                <a16:creationId xmlns:a16="http://schemas.microsoft.com/office/drawing/2014/main" id="{15B37932-34FF-45A6-A10B-EB498142BF9C}"/>
              </a:ext>
            </a:extLst>
          </p:cNvPr>
          <p:cNvSpPr/>
          <p:nvPr/>
        </p:nvSpPr>
        <p:spPr>
          <a:xfrm>
            <a:off x="6019982" y="3475167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77" name="iṩḷíḍê">
            <a:extLst>
              <a:ext uri="{FF2B5EF4-FFF2-40B4-BE49-F238E27FC236}">
                <a16:creationId xmlns:a16="http://schemas.microsoft.com/office/drawing/2014/main" id="{DF6ACBFA-BA57-4755-B0B1-2C270D7C5AC1}"/>
              </a:ext>
            </a:extLst>
          </p:cNvPr>
          <p:cNvSpPr>
            <a:spLocks/>
          </p:cNvSpPr>
          <p:nvPr/>
        </p:nvSpPr>
        <p:spPr bwMode="auto">
          <a:xfrm>
            <a:off x="5766053" y="1774371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78" name="ïŝḻiḋè">
            <a:extLst>
              <a:ext uri="{FF2B5EF4-FFF2-40B4-BE49-F238E27FC236}">
                <a16:creationId xmlns:a16="http://schemas.microsoft.com/office/drawing/2014/main" id="{1D1541E9-2242-4A71-AEF5-088CC8375337}"/>
              </a:ext>
            </a:extLst>
          </p:cNvPr>
          <p:cNvSpPr>
            <a:spLocks/>
          </p:cNvSpPr>
          <p:nvPr/>
        </p:nvSpPr>
        <p:spPr bwMode="auto">
          <a:xfrm>
            <a:off x="5766053" y="1774371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79" name="íṣļíḍé">
            <a:extLst>
              <a:ext uri="{FF2B5EF4-FFF2-40B4-BE49-F238E27FC236}">
                <a16:creationId xmlns:a16="http://schemas.microsoft.com/office/drawing/2014/main" id="{DFCF1F0A-D86C-44A7-B366-8EA62E3C72AC}"/>
              </a:ext>
            </a:extLst>
          </p:cNvPr>
          <p:cNvSpPr/>
          <p:nvPr/>
        </p:nvSpPr>
        <p:spPr>
          <a:xfrm>
            <a:off x="7543480" y="2024558"/>
            <a:ext cx="2408563" cy="26730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80" name="íşḻïḓé">
            <a:extLst>
              <a:ext uri="{FF2B5EF4-FFF2-40B4-BE49-F238E27FC236}">
                <a16:creationId xmlns:a16="http://schemas.microsoft.com/office/drawing/2014/main" id="{AB7D0F53-EC79-4CFC-B2C9-C304F32EEBC3}"/>
              </a:ext>
            </a:extLst>
          </p:cNvPr>
          <p:cNvSpPr/>
          <p:nvPr/>
        </p:nvSpPr>
        <p:spPr>
          <a:xfrm>
            <a:off x="7225237" y="2317684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tx2"/>
                </a:solidFill>
              </a:rPr>
              <a:t>点击此处添加副标题</a:t>
            </a:r>
            <a:endParaRPr lang="en-US" altLang="zh-CN" sz="900" spc="300" dirty="0">
              <a:solidFill>
                <a:schemeClr val="tx2"/>
              </a:solidFill>
            </a:endParaRPr>
          </a:p>
        </p:txBody>
      </p:sp>
      <p:sp>
        <p:nvSpPr>
          <p:cNvPr id="181" name="ïsḷîḓé">
            <a:extLst>
              <a:ext uri="{FF2B5EF4-FFF2-40B4-BE49-F238E27FC236}">
                <a16:creationId xmlns:a16="http://schemas.microsoft.com/office/drawing/2014/main" id="{919CC640-6695-4F9D-9AA7-7A4F4F900C7B}"/>
              </a:ext>
            </a:extLst>
          </p:cNvPr>
          <p:cNvSpPr>
            <a:spLocks noChangeAspect="1"/>
          </p:cNvSpPr>
          <p:nvPr/>
        </p:nvSpPr>
        <p:spPr bwMode="auto">
          <a:xfrm>
            <a:off x="7327979" y="2135836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82" name="íSḻïḓè">
            <a:extLst>
              <a:ext uri="{FF2B5EF4-FFF2-40B4-BE49-F238E27FC236}">
                <a16:creationId xmlns:a16="http://schemas.microsoft.com/office/drawing/2014/main" id="{F8E3615A-59DA-40DB-B955-673968D541C8}"/>
              </a:ext>
            </a:extLst>
          </p:cNvPr>
          <p:cNvSpPr/>
          <p:nvPr/>
        </p:nvSpPr>
        <p:spPr>
          <a:xfrm>
            <a:off x="6019981" y="2084639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83" name="ïṧļíḑe">
            <a:extLst>
              <a:ext uri="{FF2B5EF4-FFF2-40B4-BE49-F238E27FC236}">
                <a16:creationId xmlns:a16="http://schemas.microsoft.com/office/drawing/2014/main" id="{4F8628CB-8971-4772-B836-FDC292E3083D}"/>
              </a:ext>
            </a:extLst>
          </p:cNvPr>
          <p:cNvSpPr>
            <a:spLocks/>
          </p:cNvSpPr>
          <p:nvPr/>
        </p:nvSpPr>
        <p:spPr bwMode="auto">
          <a:xfrm>
            <a:off x="1093936" y="4634099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84" name="iṣļíḓê">
            <a:extLst>
              <a:ext uri="{FF2B5EF4-FFF2-40B4-BE49-F238E27FC236}">
                <a16:creationId xmlns:a16="http://schemas.microsoft.com/office/drawing/2014/main" id="{8DA10763-CEBC-4965-886A-F8255588C265}"/>
              </a:ext>
            </a:extLst>
          </p:cNvPr>
          <p:cNvSpPr>
            <a:spLocks/>
          </p:cNvSpPr>
          <p:nvPr/>
        </p:nvSpPr>
        <p:spPr bwMode="auto">
          <a:xfrm>
            <a:off x="1093936" y="4634099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85" name="iSḷîḑe">
            <a:extLst>
              <a:ext uri="{FF2B5EF4-FFF2-40B4-BE49-F238E27FC236}">
                <a16:creationId xmlns:a16="http://schemas.microsoft.com/office/drawing/2014/main" id="{34CE3A26-D281-4A87-B716-898E16E66DF7}"/>
              </a:ext>
            </a:extLst>
          </p:cNvPr>
          <p:cNvSpPr/>
          <p:nvPr/>
        </p:nvSpPr>
        <p:spPr>
          <a:xfrm>
            <a:off x="2871362" y="4884286"/>
            <a:ext cx="2295926" cy="256084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86" name="îśḷiḍe">
            <a:extLst>
              <a:ext uri="{FF2B5EF4-FFF2-40B4-BE49-F238E27FC236}">
                <a16:creationId xmlns:a16="http://schemas.microsoft.com/office/drawing/2014/main" id="{EAC72B12-D94D-4DB1-8F8F-6153B605E0E3}"/>
              </a:ext>
            </a:extLst>
          </p:cNvPr>
          <p:cNvSpPr/>
          <p:nvPr/>
        </p:nvSpPr>
        <p:spPr>
          <a:xfrm>
            <a:off x="2553120" y="5177412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bg1"/>
                </a:solidFill>
              </a:rPr>
              <a:t>点击此处添加副标题</a:t>
            </a:r>
            <a:endParaRPr lang="en-US" altLang="zh-CN" sz="900" spc="300" dirty="0">
              <a:solidFill>
                <a:schemeClr val="bg1"/>
              </a:solidFill>
            </a:endParaRPr>
          </a:p>
        </p:txBody>
      </p:sp>
      <p:sp>
        <p:nvSpPr>
          <p:cNvPr id="187" name="iśḻiḓè">
            <a:extLst>
              <a:ext uri="{FF2B5EF4-FFF2-40B4-BE49-F238E27FC236}">
                <a16:creationId xmlns:a16="http://schemas.microsoft.com/office/drawing/2014/main" id="{13E61086-1DD6-4BC5-91C6-00E63C7998D8}"/>
              </a:ext>
            </a:extLst>
          </p:cNvPr>
          <p:cNvSpPr>
            <a:spLocks noChangeAspect="1"/>
          </p:cNvSpPr>
          <p:nvPr/>
        </p:nvSpPr>
        <p:spPr bwMode="auto">
          <a:xfrm>
            <a:off x="2655862" y="4995564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88" name="íṩḻiḍé">
            <a:extLst>
              <a:ext uri="{FF2B5EF4-FFF2-40B4-BE49-F238E27FC236}">
                <a16:creationId xmlns:a16="http://schemas.microsoft.com/office/drawing/2014/main" id="{5FDAA360-C736-4886-A745-B094B91577E8}"/>
              </a:ext>
            </a:extLst>
          </p:cNvPr>
          <p:cNvSpPr/>
          <p:nvPr/>
        </p:nvSpPr>
        <p:spPr>
          <a:xfrm>
            <a:off x="1347865" y="4944367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89" name="išlîḓe">
            <a:extLst>
              <a:ext uri="{FF2B5EF4-FFF2-40B4-BE49-F238E27FC236}">
                <a16:creationId xmlns:a16="http://schemas.microsoft.com/office/drawing/2014/main" id="{D19473CC-0389-4715-9D4A-E1A45DC8D024}"/>
              </a:ext>
            </a:extLst>
          </p:cNvPr>
          <p:cNvSpPr>
            <a:spLocks/>
          </p:cNvSpPr>
          <p:nvPr/>
        </p:nvSpPr>
        <p:spPr bwMode="auto">
          <a:xfrm>
            <a:off x="5766053" y="4613722"/>
            <a:ext cx="5544323" cy="1112000"/>
          </a:xfrm>
          <a:custGeom>
            <a:avLst/>
            <a:gdLst>
              <a:gd name="T0" fmla="*/ 1719 w 1843"/>
              <a:gd name="T1" fmla="*/ 85 h 487"/>
              <a:gd name="T2" fmla="*/ 247 w 1843"/>
              <a:gd name="T3" fmla="*/ 85 h 487"/>
              <a:gd name="T4" fmla="*/ 228 w 1843"/>
              <a:gd name="T5" fmla="*/ 86 h 487"/>
              <a:gd name="T6" fmla="*/ 228 w 1843"/>
              <a:gd name="T7" fmla="*/ 42 h 487"/>
              <a:gd name="T8" fmla="*/ 175 w 1843"/>
              <a:gd name="T9" fmla="*/ 22 h 487"/>
              <a:gd name="T10" fmla="*/ 9 w 1843"/>
              <a:gd name="T11" fmla="*/ 225 h 487"/>
              <a:gd name="T12" fmla="*/ 9 w 1843"/>
              <a:gd name="T13" fmla="*/ 263 h 487"/>
              <a:gd name="T14" fmla="*/ 175 w 1843"/>
              <a:gd name="T15" fmla="*/ 465 h 487"/>
              <a:gd name="T16" fmla="*/ 228 w 1843"/>
              <a:gd name="T17" fmla="*/ 446 h 487"/>
              <a:gd name="T18" fmla="*/ 228 w 1843"/>
              <a:gd name="T19" fmla="*/ 401 h 487"/>
              <a:gd name="T20" fmla="*/ 247 w 1843"/>
              <a:gd name="T21" fmla="*/ 403 h 487"/>
              <a:gd name="T22" fmla="*/ 1719 w 1843"/>
              <a:gd name="T23" fmla="*/ 403 h 487"/>
              <a:gd name="T24" fmla="*/ 1843 w 1843"/>
              <a:gd name="T25" fmla="*/ 279 h 487"/>
              <a:gd name="T26" fmla="*/ 1843 w 1843"/>
              <a:gd name="T27" fmla="*/ 209 h 487"/>
              <a:gd name="T28" fmla="*/ 1719 w 1843"/>
              <a:gd name="T29" fmla="*/ 85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43" h="487">
                <a:moveTo>
                  <a:pt x="1719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93" y="487"/>
                  <a:pt x="228" y="475"/>
                  <a:pt x="228" y="446"/>
                </a:cubicBezTo>
                <a:cubicBezTo>
                  <a:pt x="228" y="401"/>
                  <a:pt x="228" y="401"/>
                  <a:pt x="228" y="401"/>
                </a:cubicBezTo>
                <a:cubicBezTo>
                  <a:pt x="234" y="402"/>
                  <a:pt x="241" y="403"/>
                  <a:pt x="247" y="403"/>
                </a:cubicBezTo>
                <a:cubicBezTo>
                  <a:pt x="1719" y="403"/>
                  <a:pt x="1719" y="403"/>
                  <a:pt x="1719" y="403"/>
                </a:cubicBezTo>
                <a:cubicBezTo>
                  <a:pt x="1787" y="403"/>
                  <a:pt x="1843" y="347"/>
                  <a:pt x="1843" y="279"/>
                </a:cubicBezTo>
                <a:cubicBezTo>
                  <a:pt x="1843" y="209"/>
                  <a:pt x="1843" y="209"/>
                  <a:pt x="1843" y="209"/>
                </a:cubicBezTo>
                <a:cubicBezTo>
                  <a:pt x="1843" y="140"/>
                  <a:pt x="1787" y="85"/>
                  <a:pt x="1719" y="8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90" name="iṥľïḍê">
            <a:extLst>
              <a:ext uri="{FF2B5EF4-FFF2-40B4-BE49-F238E27FC236}">
                <a16:creationId xmlns:a16="http://schemas.microsoft.com/office/drawing/2014/main" id="{BAB1D6A8-9CAA-4CD2-9B73-40A61A6DC7BA}"/>
              </a:ext>
            </a:extLst>
          </p:cNvPr>
          <p:cNvSpPr>
            <a:spLocks/>
          </p:cNvSpPr>
          <p:nvPr/>
        </p:nvSpPr>
        <p:spPr bwMode="auto">
          <a:xfrm>
            <a:off x="5766053" y="4613722"/>
            <a:ext cx="1459184" cy="1078038"/>
          </a:xfrm>
          <a:custGeom>
            <a:avLst/>
            <a:gdLst>
              <a:gd name="T0" fmla="*/ 485 w 485"/>
              <a:gd name="T1" fmla="*/ 85 h 472"/>
              <a:gd name="T2" fmla="*/ 247 w 485"/>
              <a:gd name="T3" fmla="*/ 85 h 472"/>
              <a:gd name="T4" fmla="*/ 228 w 485"/>
              <a:gd name="T5" fmla="*/ 86 h 472"/>
              <a:gd name="T6" fmla="*/ 228 w 485"/>
              <a:gd name="T7" fmla="*/ 42 h 472"/>
              <a:gd name="T8" fmla="*/ 175 w 485"/>
              <a:gd name="T9" fmla="*/ 22 h 472"/>
              <a:gd name="T10" fmla="*/ 9 w 485"/>
              <a:gd name="T11" fmla="*/ 225 h 472"/>
              <a:gd name="T12" fmla="*/ 9 w 485"/>
              <a:gd name="T13" fmla="*/ 263 h 472"/>
              <a:gd name="T14" fmla="*/ 175 w 485"/>
              <a:gd name="T15" fmla="*/ 465 h 472"/>
              <a:gd name="T16" fmla="*/ 182 w 485"/>
              <a:gd name="T17" fmla="*/ 472 h 472"/>
              <a:gd name="T18" fmla="*/ 485 w 485"/>
              <a:gd name="T19" fmla="*/ 85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5" h="472">
                <a:moveTo>
                  <a:pt x="485" y="85"/>
                </a:moveTo>
                <a:cubicBezTo>
                  <a:pt x="247" y="85"/>
                  <a:pt x="247" y="85"/>
                  <a:pt x="247" y="85"/>
                </a:cubicBezTo>
                <a:cubicBezTo>
                  <a:pt x="241" y="85"/>
                  <a:pt x="234" y="86"/>
                  <a:pt x="228" y="86"/>
                </a:cubicBezTo>
                <a:cubicBezTo>
                  <a:pt x="228" y="42"/>
                  <a:pt x="228" y="42"/>
                  <a:pt x="228" y="42"/>
                </a:cubicBezTo>
                <a:cubicBezTo>
                  <a:pt x="228" y="13"/>
                  <a:pt x="193" y="0"/>
                  <a:pt x="175" y="22"/>
                </a:cubicBezTo>
                <a:cubicBezTo>
                  <a:pt x="9" y="225"/>
                  <a:pt x="9" y="225"/>
                  <a:pt x="9" y="225"/>
                </a:cubicBezTo>
                <a:cubicBezTo>
                  <a:pt x="0" y="236"/>
                  <a:pt x="0" y="252"/>
                  <a:pt x="9" y="263"/>
                </a:cubicBezTo>
                <a:cubicBezTo>
                  <a:pt x="175" y="465"/>
                  <a:pt x="175" y="465"/>
                  <a:pt x="175" y="465"/>
                </a:cubicBezTo>
                <a:cubicBezTo>
                  <a:pt x="177" y="468"/>
                  <a:pt x="179" y="470"/>
                  <a:pt x="182" y="472"/>
                </a:cubicBezTo>
                <a:cubicBezTo>
                  <a:pt x="221" y="334"/>
                  <a:pt x="304" y="173"/>
                  <a:pt x="485" y="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76200" dist="38100" algn="l" rotWithShape="0">
              <a:schemeClr val="tx2">
                <a:alpha val="5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600"/>
          </a:p>
        </p:txBody>
      </p:sp>
      <p:sp>
        <p:nvSpPr>
          <p:cNvPr id="191" name="ïṣľïḋè">
            <a:extLst>
              <a:ext uri="{FF2B5EF4-FFF2-40B4-BE49-F238E27FC236}">
                <a16:creationId xmlns:a16="http://schemas.microsoft.com/office/drawing/2014/main" id="{A9EF690B-E331-4B17-A8F2-F0C748FD9083}"/>
              </a:ext>
            </a:extLst>
          </p:cNvPr>
          <p:cNvSpPr/>
          <p:nvPr/>
        </p:nvSpPr>
        <p:spPr>
          <a:xfrm>
            <a:off x="7543479" y="4863909"/>
            <a:ext cx="2295926" cy="256084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192" name="îṧlíḋè">
            <a:extLst>
              <a:ext uri="{FF2B5EF4-FFF2-40B4-BE49-F238E27FC236}">
                <a16:creationId xmlns:a16="http://schemas.microsoft.com/office/drawing/2014/main" id="{077C0DD0-2A66-43AC-A7CA-B9A1B3D53723}"/>
              </a:ext>
            </a:extLst>
          </p:cNvPr>
          <p:cNvSpPr/>
          <p:nvPr/>
        </p:nvSpPr>
        <p:spPr>
          <a:xfrm>
            <a:off x="7225237" y="5157035"/>
            <a:ext cx="2349112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900" spc="300" dirty="0">
                <a:solidFill>
                  <a:schemeClr val="tx2"/>
                </a:solidFill>
              </a:rPr>
              <a:t>点击此处添加副标题</a:t>
            </a:r>
            <a:endParaRPr lang="en-US" altLang="zh-CN" sz="900" spc="300" dirty="0">
              <a:solidFill>
                <a:schemeClr val="tx2"/>
              </a:solidFill>
            </a:endParaRPr>
          </a:p>
        </p:txBody>
      </p:sp>
      <p:sp>
        <p:nvSpPr>
          <p:cNvPr id="193" name="išḻiďè">
            <a:extLst>
              <a:ext uri="{FF2B5EF4-FFF2-40B4-BE49-F238E27FC236}">
                <a16:creationId xmlns:a16="http://schemas.microsoft.com/office/drawing/2014/main" id="{C14E30C7-A1C9-41D4-8B05-874D9B9A27F8}"/>
              </a:ext>
            </a:extLst>
          </p:cNvPr>
          <p:cNvSpPr>
            <a:spLocks noChangeAspect="1"/>
          </p:cNvSpPr>
          <p:nvPr/>
        </p:nvSpPr>
        <p:spPr bwMode="auto">
          <a:xfrm>
            <a:off x="7327979" y="4975187"/>
            <a:ext cx="273406" cy="232954"/>
          </a:xfrm>
          <a:custGeom>
            <a:avLst/>
            <a:gdLst>
              <a:gd name="connsiteX0" fmla="*/ 351345 w 606227"/>
              <a:gd name="connsiteY0" fmla="*/ 426074 h 533192"/>
              <a:gd name="connsiteX1" fmla="*/ 407490 w 606227"/>
              <a:gd name="connsiteY1" fmla="*/ 426074 h 533192"/>
              <a:gd name="connsiteX2" fmla="*/ 446467 w 606227"/>
              <a:gd name="connsiteY2" fmla="*/ 533192 h 533192"/>
              <a:gd name="connsiteX3" fmla="*/ 390229 w 606227"/>
              <a:gd name="connsiteY3" fmla="*/ 533192 h 533192"/>
              <a:gd name="connsiteX4" fmla="*/ 198757 w 606227"/>
              <a:gd name="connsiteY4" fmla="*/ 426074 h 533192"/>
              <a:gd name="connsiteX5" fmla="*/ 255023 w 606227"/>
              <a:gd name="connsiteY5" fmla="*/ 426074 h 533192"/>
              <a:gd name="connsiteX6" fmla="*/ 216119 w 606227"/>
              <a:gd name="connsiteY6" fmla="*/ 533192 h 533192"/>
              <a:gd name="connsiteX7" fmla="*/ 159760 w 606227"/>
              <a:gd name="connsiteY7" fmla="*/ 533192 h 533192"/>
              <a:gd name="connsiteX8" fmla="*/ 304170 w 606227"/>
              <a:gd name="connsiteY8" fmla="*/ 146113 h 533192"/>
              <a:gd name="connsiteX9" fmla="*/ 292193 w 606227"/>
              <a:gd name="connsiteY9" fmla="*/ 158070 h 533192"/>
              <a:gd name="connsiteX10" fmla="*/ 292193 w 606227"/>
              <a:gd name="connsiteY10" fmla="*/ 298304 h 533192"/>
              <a:gd name="connsiteX11" fmla="*/ 248833 w 606227"/>
              <a:gd name="connsiteY11" fmla="*/ 298304 h 533192"/>
              <a:gd name="connsiteX12" fmla="*/ 248833 w 606227"/>
              <a:gd name="connsiteY12" fmla="*/ 220448 h 533192"/>
              <a:gd name="connsiteX13" fmla="*/ 236856 w 606227"/>
              <a:gd name="connsiteY13" fmla="*/ 208491 h 533192"/>
              <a:gd name="connsiteX14" fmla="*/ 224786 w 606227"/>
              <a:gd name="connsiteY14" fmla="*/ 220448 h 533192"/>
              <a:gd name="connsiteX15" fmla="*/ 224786 w 606227"/>
              <a:gd name="connsiteY15" fmla="*/ 297841 h 533192"/>
              <a:gd name="connsiteX16" fmla="*/ 190153 w 606227"/>
              <a:gd name="connsiteY16" fmla="*/ 297841 h 533192"/>
              <a:gd name="connsiteX17" fmla="*/ 178176 w 606227"/>
              <a:gd name="connsiteY17" fmla="*/ 309797 h 533192"/>
              <a:gd name="connsiteX18" fmla="*/ 190153 w 606227"/>
              <a:gd name="connsiteY18" fmla="*/ 321846 h 533192"/>
              <a:gd name="connsiteX19" fmla="*/ 418187 w 606227"/>
              <a:gd name="connsiteY19" fmla="*/ 321846 h 533192"/>
              <a:gd name="connsiteX20" fmla="*/ 430165 w 606227"/>
              <a:gd name="connsiteY20" fmla="*/ 309797 h 533192"/>
              <a:gd name="connsiteX21" fmla="*/ 418187 w 606227"/>
              <a:gd name="connsiteY21" fmla="*/ 297841 h 533192"/>
              <a:gd name="connsiteX22" fmla="*/ 383555 w 606227"/>
              <a:gd name="connsiteY22" fmla="*/ 297841 h 533192"/>
              <a:gd name="connsiteX23" fmla="*/ 383555 w 606227"/>
              <a:gd name="connsiteY23" fmla="*/ 186339 h 533192"/>
              <a:gd name="connsiteX24" fmla="*/ 371485 w 606227"/>
              <a:gd name="connsiteY24" fmla="*/ 174382 h 533192"/>
              <a:gd name="connsiteX25" fmla="*/ 359508 w 606227"/>
              <a:gd name="connsiteY25" fmla="*/ 186339 h 533192"/>
              <a:gd name="connsiteX26" fmla="*/ 359508 w 606227"/>
              <a:gd name="connsiteY26" fmla="*/ 297841 h 533192"/>
              <a:gd name="connsiteX27" fmla="*/ 316148 w 606227"/>
              <a:gd name="connsiteY27" fmla="*/ 297841 h 533192"/>
              <a:gd name="connsiteX28" fmla="*/ 316148 w 606227"/>
              <a:gd name="connsiteY28" fmla="*/ 158070 h 533192"/>
              <a:gd name="connsiteX29" fmla="*/ 304170 w 606227"/>
              <a:gd name="connsiteY29" fmla="*/ 146113 h 533192"/>
              <a:gd name="connsiteX30" fmla="*/ 47632 w 606227"/>
              <a:gd name="connsiteY30" fmla="*/ 64920 h 533192"/>
              <a:gd name="connsiteX31" fmla="*/ 558666 w 606227"/>
              <a:gd name="connsiteY31" fmla="*/ 64920 h 533192"/>
              <a:gd name="connsiteX32" fmla="*/ 558666 w 606227"/>
              <a:gd name="connsiteY32" fmla="*/ 335749 h 533192"/>
              <a:gd name="connsiteX33" fmla="*/ 498036 w 606227"/>
              <a:gd name="connsiteY33" fmla="*/ 396366 h 533192"/>
              <a:gd name="connsiteX34" fmla="*/ 108354 w 606227"/>
              <a:gd name="connsiteY34" fmla="*/ 396366 h 533192"/>
              <a:gd name="connsiteX35" fmla="*/ 47632 w 606227"/>
              <a:gd name="connsiteY35" fmla="*/ 335749 h 533192"/>
              <a:gd name="connsiteX36" fmla="*/ 0 w 606227"/>
              <a:gd name="connsiteY36" fmla="*/ 0 h 533192"/>
              <a:gd name="connsiteX37" fmla="*/ 606227 w 606227"/>
              <a:gd name="connsiteY37" fmla="*/ 0 h 533192"/>
              <a:gd name="connsiteX38" fmla="*/ 606227 w 606227"/>
              <a:gd name="connsiteY38" fmla="*/ 35565 h 533192"/>
              <a:gd name="connsiteX39" fmla="*/ 0 w 606227"/>
              <a:gd name="connsiteY39" fmla="*/ 35565 h 53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6227" h="533192">
                <a:moveTo>
                  <a:pt x="351345" y="426074"/>
                </a:moveTo>
                <a:lnTo>
                  <a:pt x="407490" y="426074"/>
                </a:lnTo>
                <a:lnTo>
                  <a:pt x="446467" y="533192"/>
                </a:lnTo>
                <a:lnTo>
                  <a:pt x="390229" y="533192"/>
                </a:lnTo>
                <a:close/>
                <a:moveTo>
                  <a:pt x="198757" y="426074"/>
                </a:moveTo>
                <a:lnTo>
                  <a:pt x="255023" y="426074"/>
                </a:lnTo>
                <a:lnTo>
                  <a:pt x="216119" y="533192"/>
                </a:lnTo>
                <a:lnTo>
                  <a:pt x="159760" y="533192"/>
                </a:lnTo>
                <a:close/>
                <a:moveTo>
                  <a:pt x="304170" y="146113"/>
                </a:moveTo>
                <a:cubicBezTo>
                  <a:pt x="297485" y="146113"/>
                  <a:pt x="292193" y="151396"/>
                  <a:pt x="292193" y="158070"/>
                </a:cubicBezTo>
                <a:lnTo>
                  <a:pt x="292193" y="298304"/>
                </a:lnTo>
                <a:lnTo>
                  <a:pt x="248833" y="298304"/>
                </a:lnTo>
                <a:lnTo>
                  <a:pt x="248833" y="220448"/>
                </a:lnTo>
                <a:cubicBezTo>
                  <a:pt x="248833" y="213774"/>
                  <a:pt x="243541" y="208491"/>
                  <a:pt x="236856" y="208491"/>
                </a:cubicBezTo>
                <a:cubicBezTo>
                  <a:pt x="230171" y="208491"/>
                  <a:pt x="224786" y="213774"/>
                  <a:pt x="224786" y="220448"/>
                </a:cubicBezTo>
                <a:lnTo>
                  <a:pt x="224786" y="297841"/>
                </a:lnTo>
                <a:lnTo>
                  <a:pt x="190153" y="297841"/>
                </a:lnTo>
                <a:cubicBezTo>
                  <a:pt x="183375" y="297841"/>
                  <a:pt x="177990" y="303031"/>
                  <a:pt x="178176" y="309797"/>
                </a:cubicBezTo>
                <a:cubicBezTo>
                  <a:pt x="178176" y="316470"/>
                  <a:pt x="183468" y="321846"/>
                  <a:pt x="190153" y="321846"/>
                </a:cubicBezTo>
                <a:lnTo>
                  <a:pt x="418187" y="321846"/>
                </a:lnTo>
                <a:cubicBezTo>
                  <a:pt x="424872" y="321846"/>
                  <a:pt x="430165" y="316470"/>
                  <a:pt x="430165" y="309797"/>
                </a:cubicBezTo>
                <a:cubicBezTo>
                  <a:pt x="430165" y="303124"/>
                  <a:pt x="424872" y="297841"/>
                  <a:pt x="418187" y="297841"/>
                </a:cubicBezTo>
                <a:lnTo>
                  <a:pt x="383555" y="297841"/>
                </a:lnTo>
                <a:lnTo>
                  <a:pt x="383555" y="186339"/>
                </a:lnTo>
                <a:cubicBezTo>
                  <a:pt x="383555" y="179666"/>
                  <a:pt x="378170" y="174382"/>
                  <a:pt x="371485" y="174382"/>
                </a:cubicBezTo>
                <a:cubicBezTo>
                  <a:pt x="364800" y="174382"/>
                  <a:pt x="359508" y="179666"/>
                  <a:pt x="359508" y="186339"/>
                </a:cubicBezTo>
                <a:lnTo>
                  <a:pt x="359508" y="297841"/>
                </a:lnTo>
                <a:lnTo>
                  <a:pt x="316148" y="297841"/>
                </a:lnTo>
                <a:lnTo>
                  <a:pt x="316148" y="158070"/>
                </a:lnTo>
                <a:cubicBezTo>
                  <a:pt x="316148" y="151396"/>
                  <a:pt x="310855" y="146113"/>
                  <a:pt x="304170" y="146113"/>
                </a:cubicBezTo>
                <a:close/>
                <a:moveTo>
                  <a:pt x="47632" y="64920"/>
                </a:moveTo>
                <a:lnTo>
                  <a:pt x="558666" y="64920"/>
                </a:lnTo>
                <a:lnTo>
                  <a:pt x="558666" y="335749"/>
                </a:lnTo>
                <a:cubicBezTo>
                  <a:pt x="558666" y="369394"/>
                  <a:pt x="531740" y="396366"/>
                  <a:pt x="498036" y="396366"/>
                </a:cubicBezTo>
                <a:lnTo>
                  <a:pt x="108354" y="396366"/>
                </a:lnTo>
                <a:cubicBezTo>
                  <a:pt x="74651" y="396366"/>
                  <a:pt x="47632" y="369394"/>
                  <a:pt x="47632" y="335749"/>
                </a:cubicBezTo>
                <a:close/>
                <a:moveTo>
                  <a:pt x="0" y="0"/>
                </a:moveTo>
                <a:lnTo>
                  <a:pt x="606227" y="0"/>
                </a:lnTo>
                <a:lnTo>
                  <a:pt x="606227" y="35565"/>
                </a:lnTo>
                <a:lnTo>
                  <a:pt x="0" y="3556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94" name="ïşļiḑé">
            <a:extLst>
              <a:ext uri="{FF2B5EF4-FFF2-40B4-BE49-F238E27FC236}">
                <a16:creationId xmlns:a16="http://schemas.microsoft.com/office/drawing/2014/main" id="{84C97EEB-81D7-455D-BF8A-C4A106E0A088}"/>
              </a:ext>
            </a:extLst>
          </p:cNvPr>
          <p:cNvSpPr/>
          <p:nvPr/>
        </p:nvSpPr>
        <p:spPr>
          <a:xfrm>
            <a:off x="6019981" y="4923990"/>
            <a:ext cx="790364" cy="23598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</a:t>
            </a:r>
          </a:p>
        </p:txBody>
      </p:sp>
      <p:cxnSp>
        <p:nvCxnSpPr>
          <p:cNvPr id="195" name="ïşļîďê">
            <a:extLst>
              <a:ext uri="{FF2B5EF4-FFF2-40B4-BE49-F238E27FC236}">
                <a16:creationId xmlns:a16="http://schemas.microsoft.com/office/drawing/2014/main" id="{D12E89DF-13BF-4D14-ACDE-43A8193700D0}"/>
              </a:ext>
            </a:extLst>
          </p:cNvPr>
          <p:cNvCxnSpPr>
            <a:cxnSpLocks/>
          </p:cNvCxnSpPr>
          <p:nvPr/>
        </p:nvCxnSpPr>
        <p:spPr>
          <a:xfrm>
            <a:off x="3578544" y="978947"/>
            <a:ext cx="582080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6" name="ïsḻiḍe">
            <a:extLst>
              <a:ext uri="{FF2B5EF4-FFF2-40B4-BE49-F238E27FC236}">
                <a16:creationId xmlns:a16="http://schemas.microsoft.com/office/drawing/2014/main" id="{865C5EA5-CCDF-4DF0-ACE0-BCC72AA8A7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88710" y="760254"/>
            <a:ext cx="1879390" cy="37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35" name="íşľiḍe">
            <a:extLst>
              <a:ext uri="{FF2B5EF4-FFF2-40B4-BE49-F238E27FC236}">
                <a16:creationId xmlns:a16="http://schemas.microsoft.com/office/drawing/2014/main" id="{77BE3DCA-B5C1-4609-B100-844C0EE7ED3D}"/>
              </a:ext>
            </a:extLst>
          </p:cNvPr>
          <p:cNvSpPr/>
          <p:nvPr/>
        </p:nvSpPr>
        <p:spPr bwMode="auto">
          <a:xfrm>
            <a:off x="1002504" y="3059905"/>
            <a:ext cx="2909888" cy="571500"/>
          </a:xfrm>
          <a:prstGeom prst="round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chemeClr val="bg1"/>
                </a:solidFill>
              </a:rPr>
              <a:t>Text</a:t>
            </a:r>
            <a:endParaRPr lang="en-US" u="sng" dirty="0">
              <a:solidFill>
                <a:schemeClr val="bg1"/>
              </a:solidFill>
            </a:endParaRPr>
          </a:p>
        </p:txBody>
      </p:sp>
      <p:cxnSp>
        <p:nvCxnSpPr>
          <p:cNvPr id="36" name="ïṡḻiḋe">
            <a:extLst>
              <a:ext uri="{FF2B5EF4-FFF2-40B4-BE49-F238E27FC236}">
                <a16:creationId xmlns:a16="http://schemas.microsoft.com/office/drawing/2014/main" id="{0D3B6D55-9109-4BFE-A9E3-F17C95D7E635}"/>
              </a:ext>
            </a:extLst>
          </p:cNvPr>
          <p:cNvCxnSpPr/>
          <p:nvPr/>
        </p:nvCxnSpPr>
        <p:spPr>
          <a:xfrm>
            <a:off x="2455067" y="2580480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$ḷïḋe">
            <a:extLst>
              <a:ext uri="{FF2B5EF4-FFF2-40B4-BE49-F238E27FC236}">
                <a16:creationId xmlns:a16="http://schemas.microsoft.com/office/drawing/2014/main" id="{9C10198C-3C59-453A-8806-338C5DA1D2CB}"/>
              </a:ext>
            </a:extLst>
          </p:cNvPr>
          <p:cNvSpPr/>
          <p:nvPr/>
        </p:nvSpPr>
        <p:spPr bwMode="auto">
          <a:xfrm>
            <a:off x="2455068" y="3694905"/>
            <a:ext cx="2908300" cy="57308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chemeClr val="bg1"/>
                </a:solidFill>
              </a:rPr>
              <a:t>Text</a:t>
            </a:r>
            <a:endParaRPr lang="en-US" u="sng" dirty="0">
              <a:solidFill>
                <a:schemeClr val="bg1"/>
              </a:solidFill>
            </a:endParaRPr>
          </a:p>
        </p:txBody>
      </p:sp>
      <p:cxnSp>
        <p:nvCxnSpPr>
          <p:cNvPr id="34" name="îš1ïďê">
            <a:extLst>
              <a:ext uri="{FF2B5EF4-FFF2-40B4-BE49-F238E27FC236}">
                <a16:creationId xmlns:a16="http://schemas.microsoft.com/office/drawing/2014/main" id="{3EEA2E33-8493-4252-A5DD-EA6683EEBE65}"/>
              </a:ext>
            </a:extLst>
          </p:cNvPr>
          <p:cNvCxnSpPr/>
          <p:nvPr/>
        </p:nvCxnSpPr>
        <p:spPr>
          <a:xfrm>
            <a:off x="3909217" y="4306093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šľídé">
            <a:extLst>
              <a:ext uri="{FF2B5EF4-FFF2-40B4-BE49-F238E27FC236}">
                <a16:creationId xmlns:a16="http://schemas.microsoft.com/office/drawing/2014/main" id="{77BE3DCA-B5C1-4609-B100-844C0EE7ED3D}"/>
              </a:ext>
            </a:extLst>
          </p:cNvPr>
          <p:cNvSpPr/>
          <p:nvPr/>
        </p:nvSpPr>
        <p:spPr bwMode="auto">
          <a:xfrm>
            <a:off x="3909218" y="3059905"/>
            <a:ext cx="2909888" cy="571500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>
                <a:solidFill>
                  <a:schemeClr val="bg1"/>
                </a:solidFill>
              </a:rPr>
              <a:t>Text</a:t>
            </a:r>
            <a:endParaRPr lang="en-US" u="sng">
              <a:solidFill>
                <a:schemeClr val="bg1"/>
              </a:solidFill>
            </a:endParaRPr>
          </a:p>
        </p:txBody>
      </p:sp>
      <p:cxnSp>
        <p:nvCxnSpPr>
          <p:cNvPr id="32" name="íş1íde">
            <a:extLst>
              <a:ext uri="{FF2B5EF4-FFF2-40B4-BE49-F238E27FC236}">
                <a16:creationId xmlns:a16="http://schemas.microsoft.com/office/drawing/2014/main" id="{B3BB21F0-47BB-40F1-849F-D1831802EFD8}"/>
              </a:ext>
            </a:extLst>
          </p:cNvPr>
          <p:cNvCxnSpPr/>
          <p:nvPr/>
        </p:nvCxnSpPr>
        <p:spPr>
          <a:xfrm>
            <a:off x="5361781" y="2580480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slíďè">
            <a:extLst>
              <a:ext uri="{FF2B5EF4-FFF2-40B4-BE49-F238E27FC236}">
                <a16:creationId xmlns:a16="http://schemas.microsoft.com/office/drawing/2014/main" id="{9C10198C-3C59-453A-8806-338C5DA1D2CB}"/>
              </a:ext>
            </a:extLst>
          </p:cNvPr>
          <p:cNvSpPr/>
          <p:nvPr/>
        </p:nvSpPr>
        <p:spPr bwMode="auto">
          <a:xfrm>
            <a:off x="5361782" y="3694905"/>
            <a:ext cx="2908300" cy="57308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chemeClr val="bg1"/>
                </a:solidFill>
              </a:rPr>
              <a:t>Text</a:t>
            </a:r>
            <a:endParaRPr lang="en-US" u="sng" dirty="0">
              <a:solidFill>
                <a:schemeClr val="bg1"/>
              </a:solidFill>
            </a:endParaRPr>
          </a:p>
        </p:txBody>
      </p:sp>
      <p:cxnSp>
        <p:nvCxnSpPr>
          <p:cNvPr id="30" name="iṩļïḓè">
            <a:extLst>
              <a:ext uri="{FF2B5EF4-FFF2-40B4-BE49-F238E27FC236}">
                <a16:creationId xmlns:a16="http://schemas.microsoft.com/office/drawing/2014/main" id="{D006CB67-CB46-4238-AD31-19597C6E2225}"/>
              </a:ext>
            </a:extLst>
          </p:cNvPr>
          <p:cNvCxnSpPr/>
          <p:nvPr/>
        </p:nvCxnSpPr>
        <p:spPr>
          <a:xfrm>
            <a:off x="6815931" y="4306093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ïsľíḋe">
            <a:extLst>
              <a:ext uri="{FF2B5EF4-FFF2-40B4-BE49-F238E27FC236}">
                <a16:creationId xmlns:a16="http://schemas.microsoft.com/office/drawing/2014/main" id="{77BE3DCA-B5C1-4609-B100-844C0EE7ED3D}"/>
              </a:ext>
            </a:extLst>
          </p:cNvPr>
          <p:cNvSpPr/>
          <p:nvPr/>
        </p:nvSpPr>
        <p:spPr bwMode="auto">
          <a:xfrm>
            <a:off x="6815932" y="3059905"/>
            <a:ext cx="2909888" cy="5715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chemeClr val="bg1"/>
                </a:solidFill>
              </a:rPr>
              <a:t>Text</a:t>
            </a:r>
            <a:endParaRPr lang="en-US" u="sng" dirty="0">
              <a:solidFill>
                <a:schemeClr val="bg1"/>
              </a:solidFill>
            </a:endParaRPr>
          </a:p>
        </p:txBody>
      </p:sp>
      <p:cxnSp>
        <p:nvCxnSpPr>
          <p:cNvPr id="28" name="íṥ1íḋé">
            <a:extLst>
              <a:ext uri="{FF2B5EF4-FFF2-40B4-BE49-F238E27FC236}">
                <a16:creationId xmlns:a16="http://schemas.microsoft.com/office/drawing/2014/main" id="{6D7F6C1C-D737-4FD8-962D-B6B856386811}"/>
              </a:ext>
            </a:extLst>
          </p:cNvPr>
          <p:cNvCxnSpPr/>
          <p:nvPr/>
        </p:nvCxnSpPr>
        <p:spPr>
          <a:xfrm>
            <a:off x="8268495" y="2580480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îŝľíḓè">
            <a:extLst>
              <a:ext uri="{FF2B5EF4-FFF2-40B4-BE49-F238E27FC236}">
                <a16:creationId xmlns:a16="http://schemas.microsoft.com/office/drawing/2014/main" id="{9C10198C-3C59-453A-8806-338C5DA1D2CB}"/>
              </a:ext>
            </a:extLst>
          </p:cNvPr>
          <p:cNvSpPr/>
          <p:nvPr/>
        </p:nvSpPr>
        <p:spPr bwMode="auto">
          <a:xfrm>
            <a:off x="8268496" y="3694905"/>
            <a:ext cx="2908300" cy="5730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u="sng" dirty="0">
                <a:solidFill>
                  <a:schemeClr val="bg1"/>
                </a:solidFill>
              </a:rPr>
              <a:t>Text</a:t>
            </a:r>
            <a:endParaRPr lang="en-US" u="sng" dirty="0">
              <a:solidFill>
                <a:schemeClr val="bg1"/>
              </a:solidFill>
            </a:endParaRPr>
          </a:p>
        </p:txBody>
      </p:sp>
      <p:cxnSp>
        <p:nvCxnSpPr>
          <p:cNvPr id="26" name="iš1îde">
            <a:extLst>
              <a:ext uri="{FF2B5EF4-FFF2-40B4-BE49-F238E27FC236}">
                <a16:creationId xmlns:a16="http://schemas.microsoft.com/office/drawing/2014/main" id="{03A6E600-2A88-4CF4-A3FC-BA942BC7F11C}"/>
              </a:ext>
            </a:extLst>
          </p:cNvPr>
          <p:cNvCxnSpPr/>
          <p:nvPr/>
        </p:nvCxnSpPr>
        <p:spPr>
          <a:xfrm>
            <a:off x="9722645" y="4306093"/>
            <a:ext cx="0" cy="441325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ïsḻïḑè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3875993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islïḑ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6783343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5" name="iSļiďé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9689421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iṡḻïḓ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5330303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8236383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2424223" y="3662474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9" name="iṥḻîḋe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1514424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0" name="íṧ1ídé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4421138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1" name="îSḻîḓé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7327852" y="120229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2" name="isľïďê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2966194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3" name="ïṧľíḑé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5872908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4" name="ïšļídè">
            <a:extLst>
              <a:ext uri="{FF2B5EF4-FFF2-40B4-BE49-F238E27FC236}">
                <a16:creationId xmlns:a16="http://schemas.microsoft.com/office/drawing/2014/main" id="{F649F7C3-B51F-48B3-9F99-2D3EF335F2E5}"/>
              </a:ext>
            </a:extLst>
          </p:cNvPr>
          <p:cNvSpPr/>
          <p:nvPr/>
        </p:nvSpPr>
        <p:spPr bwMode="auto">
          <a:xfrm>
            <a:off x="8779622" y="4758346"/>
            <a:ext cx="1886049" cy="136725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dk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dk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dk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dk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dk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dk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dk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dk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dk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endParaRPr lang="en-US" altLang="zh-CN" sz="1100" dirty="0"/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42352120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1ï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ṩḷiḓé">
            <a:extLst>
              <a:ext uri="{FF2B5EF4-FFF2-40B4-BE49-F238E27FC236}">
                <a16:creationId xmlns:a16="http://schemas.microsoft.com/office/drawing/2014/main" id="{9EB369DF-ED65-480F-ACEA-5CB6D7942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ŝľídè">
            <a:extLst>
              <a:ext uri="{FF2B5EF4-FFF2-40B4-BE49-F238E27FC236}">
                <a16:creationId xmlns:a16="http://schemas.microsoft.com/office/drawing/2014/main" id="{CB1D375B-D0F4-4F18-95DD-65F85931C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śļiďè">
            <a:extLst>
              <a:ext uri="{FF2B5EF4-FFF2-40B4-BE49-F238E27FC236}">
                <a16:creationId xmlns:a16="http://schemas.microsoft.com/office/drawing/2014/main" id="{E6E33BF1-CF3C-4AC4-AABF-797831AA2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89" name="îş1î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A211057-6392-4E21-A4A4-E32A34CC6FA7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1" y="1130300"/>
            <a:ext cx="10853737" cy="4851731"/>
            <a:chOff x="666751" y="1130300"/>
            <a:chExt cx="10853737" cy="4851731"/>
          </a:xfrm>
        </p:grpSpPr>
        <p:sp>
          <p:nvSpPr>
            <p:cNvPr id="90" name="is1ídè">
              <a:extLst>
                <a:ext uri="{FF2B5EF4-FFF2-40B4-BE49-F238E27FC236}">
                  <a16:creationId xmlns:a16="http://schemas.microsoft.com/office/drawing/2014/main" id="{3FA88A88-D9D3-4912-8A55-031B75FB7492}"/>
                </a:ext>
              </a:extLst>
            </p:cNvPr>
            <p:cNvSpPr/>
            <p:nvPr/>
          </p:nvSpPr>
          <p:spPr>
            <a:xfrm>
              <a:off x="666751" y="1778705"/>
              <a:ext cx="3114674" cy="3114674"/>
            </a:xfrm>
            <a:prstGeom prst="ellips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grpSp>
          <p:nvGrpSpPr>
            <p:cNvPr id="91" name="îṩḷíḓè">
              <a:extLst>
                <a:ext uri="{FF2B5EF4-FFF2-40B4-BE49-F238E27FC236}">
                  <a16:creationId xmlns:a16="http://schemas.microsoft.com/office/drawing/2014/main" id="{8D341078-C0B1-44D6-83E0-43C821AD83C2}"/>
                </a:ext>
              </a:extLst>
            </p:cNvPr>
            <p:cNvGrpSpPr/>
            <p:nvPr/>
          </p:nvGrpSpPr>
          <p:grpSpPr>
            <a:xfrm>
              <a:off x="5746916" y="1130300"/>
              <a:ext cx="5771983" cy="1358891"/>
              <a:chOff x="2856011" y="1611904"/>
              <a:chExt cx="6488014" cy="1358891"/>
            </a:xfrm>
          </p:grpSpPr>
          <p:sp>
            <p:nvSpPr>
              <p:cNvPr id="115" name="iṧ1ïḍê">
                <a:extLst>
                  <a:ext uri="{FF2B5EF4-FFF2-40B4-BE49-F238E27FC236}">
                    <a16:creationId xmlns:a16="http://schemas.microsoft.com/office/drawing/2014/main" id="{682B251B-0663-4D50-9CFB-7B0040A3CBAB}"/>
                  </a:ext>
                </a:extLst>
              </p:cNvPr>
              <p:cNvSpPr txBox="1"/>
              <p:nvPr/>
            </p:nvSpPr>
            <p:spPr>
              <a:xfrm>
                <a:off x="2856011" y="1611904"/>
                <a:ext cx="6488014" cy="58192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SzPct val="25000"/>
                </a:pPr>
                <a:r>
                  <a:rPr lang="en-US" sz="2400" dirty="0">
                    <a:solidFill>
                      <a:srgbClr val="3A3838"/>
                    </a:solidFill>
                  </a:rPr>
                  <a:t>Unified fonts make reading more fluent.</a:t>
                </a:r>
              </a:p>
            </p:txBody>
          </p:sp>
          <p:sp>
            <p:nvSpPr>
              <p:cNvPr id="116" name="iṡḷiḓé">
                <a:extLst>
                  <a:ext uri="{FF2B5EF4-FFF2-40B4-BE49-F238E27FC236}">
                    <a16:creationId xmlns:a16="http://schemas.microsoft.com/office/drawing/2014/main" id="{F25168D9-0BD7-4DC6-85ED-4C4D6948589E}"/>
                  </a:ext>
                </a:extLst>
              </p:cNvPr>
              <p:cNvSpPr txBox="1"/>
              <p:nvPr/>
            </p:nvSpPr>
            <p:spPr>
              <a:xfrm>
                <a:off x="2856012" y="2193831"/>
                <a:ext cx="6488011" cy="7769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  <p:grpSp>
          <p:nvGrpSpPr>
            <p:cNvPr id="92" name="ïṩļîdè">
              <a:extLst>
                <a:ext uri="{FF2B5EF4-FFF2-40B4-BE49-F238E27FC236}">
                  <a16:creationId xmlns:a16="http://schemas.microsoft.com/office/drawing/2014/main" id="{8DD5FC62-E840-40DA-887D-6D030C4B099A}"/>
                </a:ext>
              </a:extLst>
            </p:cNvPr>
            <p:cNvGrpSpPr/>
            <p:nvPr/>
          </p:nvGrpSpPr>
          <p:grpSpPr>
            <a:xfrm>
              <a:off x="5746917" y="2977351"/>
              <a:ext cx="717384" cy="717384"/>
              <a:chOff x="4350253" y="2977352"/>
              <a:chExt cx="717384" cy="717384"/>
            </a:xfrm>
          </p:grpSpPr>
          <p:sp>
            <p:nvSpPr>
              <p:cNvPr id="113" name="ïṩḷíďé">
                <a:extLst>
                  <a:ext uri="{FF2B5EF4-FFF2-40B4-BE49-F238E27FC236}">
                    <a16:creationId xmlns:a16="http://schemas.microsoft.com/office/drawing/2014/main" id="{23F97C7E-671D-4089-B640-CBA5EF4F297F}"/>
                  </a:ext>
                </a:extLst>
              </p:cNvPr>
              <p:cNvSpPr/>
              <p:nvPr/>
            </p:nvSpPr>
            <p:spPr>
              <a:xfrm>
                <a:off x="4350253" y="2977352"/>
                <a:ext cx="717384" cy="71738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14" name="îṡļiďé">
                <a:extLst>
                  <a:ext uri="{FF2B5EF4-FFF2-40B4-BE49-F238E27FC236}">
                    <a16:creationId xmlns:a16="http://schemas.microsoft.com/office/drawing/2014/main" id="{0539B07A-882C-44CC-BCC8-ABE53E3AC56E}"/>
                  </a:ext>
                </a:extLst>
              </p:cNvPr>
              <p:cNvSpPr/>
              <p:nvPr/>
            </p:nvSpPr>
            <p:spPr bwMode="auto">
              <a:xfrm>
                <a:off x="4571877" y="3201424"/>
                <a:ext cx="274134" cy="269238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3" name="îṩļide">
              <a:extLst>
                <a:ext uri="{FF2B5EF4-FFF2-40B4-BE49-F238E27FC236}">
                  <a16:creationId xmlns:a16="http://schemas.microsoft.com/office/drawing/2014/main" id="{F9547C3F-2FC8-48F8-92C2-6B7A59DE82E4}"/>
                </a:ext>
              </a:extLst>
            </p:cNvPr>
            <p:cNvGrpSpPr/>
            <p:nvPr/>
          </p:nvGrpSpPr>
          <p:grpSpPr>
            <a:xfrm>
              <a:off x="6662299" y="2948445"/>
              <a:ext cx="4858189" cy="775197"/>
              <a:chOff x="5130801" y="2820874"/>
              <a:chExt cx="3632195" cy="775197"/>
            </a:xfrm>
          </p:grpSpPr>
          <p:sp>
            <p:nvSpPr>
              <p:cNvPr id="111" name="íšľiḍè">
                <a:extLst>
                  <a:ext uri="{FF2B5EF4-FFF2-40B4-BE49-F238E27FC236}">
                    <a16:creationId xmlns:a16="http://schemas.microsoft.com/office/drawing/2014/main" id="{BA83E2A7-85EF-4AD1-B9A4-D05FAD75C3C4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12" name="íšľíḑé">
                <a:extLst>
                  <a:ext uri="{FF2B5EF4-FFF2-40B4-BE49-F238E27FC236}">
                    <a16:creationId xmlns:a16="http://schemas.microsoft.com/office/drawing/2014/main" id="{AC97B8DE-B8C6-49C3-8FE6-EB31E3B89B70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4" name="îşliḍe">
              <a:extLst>
                <a:ext uri="{FF2B5EF4-FFF2-40B4-BE49-F238E27FC236}">
                  <a16:creationId xmlns:a16="http://schemas.microsoft.com/office/drawing/2014/main" id="{C29F0DD6-B164-4BC9-8B4D-CBDCD6E479E7}"/>
                </a:ext>
              </a:extLst>
            </p:cNvPr>
            <p:cNvGrpSpPr/>
            <p:nvPr/>
          </p:nvGrpSpPr>
          <p:grpSpPr>
            <a:xfrm>
              <a:off x="5746917" y="4106546"/>
              <a:ext cx="717384" cy="717384"/>
              <a:chOff x="4350253" y="4131179"/>
              <a:chExt cx="717384" cy="717384"/>
            </a:xfrm>
          </p:grpSpPr>
          <p:sp>
            <p:nvSpPr>
              <p:cNvPr id="109" name="îṥḷíḋe">
                <a:extLst>
                  <a:ext uri="{FF2B5EF4-FFF2-40B4-BE49-F238E27FC236}">
                    <a16:creationId xmlns:a16="http://schemas.microsoft.com/office/drawing/2014/main" id="{C9BABF1A-01D6-49E1-A124-23DA7A0D6541}"/>
                  </a:ext>
                </a:extLst>
              </p:cNvPr>
              <p:cNvSpPr/>
              <p:nvPr/>
            </p:nvSpPr>
            <p:spPr>
              <a:xfrm>
                <a:off x="4350253" y="4131179"/>
                <a:ext cx="717384" cy="71738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10" name="íSľiḑe">
                <a:extLst>
                  <a:ext uri="{FF2B5EF4-FFF2-40B4-BE49-F238E27FC236}">
                    <a16:creationId xmlns:a16="http://schemas.microsoft.com/office/drawing/2014/main" id="{189D7AB3-1A0E-42AC-8F1B-43F58468B13A}"/>
                  </a:ext>
                </a:extLst>
              </p:cNvPr>
              <p:cNvSpPr/>
              <p:nvPr/>
            </p:nvSpPr>
            <p:spPr bwMode="auto">
              <a:xfrm>
                <a:off x="4577225" y="4348225"/>
                <a:ext cx="263439" cy="283292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5" name="iṣľíde">
              <a:extLst>
                <a:ext uri="{FF2B5EF4-FFF2-40B4-BE49-F238E27FC236}">
                  <a16:creationId xmlns:a16="http://schemas.microsoft.com/office/drawing/2014/main" id="{1A7D67E8-A229-4742-ACF2-C83AB708435E}"/>
                </a:ext>
              </a:extLst>
            </p:cNvPr>
            <p:cNvGrpSpPr/>
            <p:nvPr/>
          </p:nvGrpSpPr>
          <p:grpSpPr>
            <a:xfrm>
              <a:off x="6662299" y="4077640"/>
              <a:ext cx="4858189" cy="775197"/>
              <a:chOff x="5130801" y="2820874"/>
              <a:chExt cx="3632195" cy="775197"/>
            </a:xfrm>
          </p:grpSpPr>
          <p:sp>
            <p:nvSpPr>
              <p:cNvPr id="107" name="ïṣ1íďe">
                <a:extLst>
                  <a:ext uri="{FF2B5EF4-FFF2-40B4-BE49-F238E27FC236}">
                    <a16:creationId xmlns:a16="http://schemas.microsoft.com/office/drawing/2014/main" id="{D2F4F359-44EA-4624-908C-CCBC8F86308C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08" name="íśḷiḍê">
                <a:extLst>
                  <a:ext uri="{FF2B5EF4-FFF2-40B4-BE49-F238E27FC236}">
                    <a16:creationId xmlns:a16="http://schemas.microsoft.com/office/drawing/2014/main" id="{9CCD2B87-0B33-4DC0-9D27-B9872195122B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6" name="íṩḻíḑé">
              <a:extLst>
                <a:ext uri="{FF2B5EF4-FFF2-40B4-BE49-F238E27FC236}">
                  <a16:creationId xmlns:a16="http://schemas.microsoft.com/office/drawing/2014/main" id="{E8482EA8-EF69-49E7-A5B1-C021D1D2C493}"/>
                </a:ext>
              </a:extLst>
            </p:cNvPr>
            <p:cNvGrpSpPr/>
            <p:nvPr/>
          </p:nvGrpSpPr>
          <p:grpSpPr>
            <a:xfrm>
              <a:off x="5746917" y="5235740"/>
              <a:ext cx="717384" cy="717384"/>
              <a:chOff x="4338300" y="5235741"/>
              <a:chExt cx="717384" cy="717384"/>
            </a:xfrm>
          </p:grpSpPr>
          <p:sp>
            <p:nvSpPr>
              <p:cNvPr id="105" name="ísḷíďè">
                <a:extLst>
                  <a:ext uri="{FF2B5EF4-FFF2-40B4-BE49-F238E27FC236}">
                    <a16:creationId xmlns:a16="http://schemas.microsoft.com/office/drawing/2014/main" id="{F975BE1C-A89A-4F28-B3A8-AD66B2E512C6}"/>
                  </a:ext>
                </a:extLst>
              </p:cNvPr>
              <p:cNvSpPr/>
              <p:nvPr/>
            </p:nvSpPr>
            <p:spPr>
              <a:xfrm>
                <a:off x="4338300" y="5235741"/>
                <a:ext cx="717384" cy="71738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06" name="ïṡliḋe">
                <a:extLst>
                  <a:ext uri="{FF2B5EF4-FFF2-40B4-BE49-F238E27FC236}">
                    <a16:creationId xmlns:a16="http://schemas.microsoft.com/office/drawing/2014/main" id="{85046E86-4307-4223-85EC-82254DC02F7C}"/>
                  </a:ext>
                </a:extLst>
              </p:cNvPr>
              <p:cNvSpPr/>
              <p:nvPr/>
            </p:nvSpPr>
            <p:spPr bwMode="auto">
              <a:xfrm>
                <a:off x="4582090" y="5454554"/>
                <a:ext cx="229801" cy="279758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7" name="iśḻiḋê">
              <a:extLst>
                <a:ext uri="{FF2B5EF4-FFF2-40B4-BE49-F238E27FC236}">
                  <a16:creationId xmlns:a16="http://schemas.microsoft.com/office/drawing/2014/main" id="{301A6040-2EE9-4C04-9B7F-A141AE7A2FEF}"/>
                </a:ext>
              </a:extLst>
            </p:cNvPr>
            <p:cNvGrpSpPr/>
            <p:nvPr/>
          </p:nvGrpSpPr>
          <p:grpSpPr>
            <a:xfrm>
              <a:off x="6662299" y="5206834"/>
              <a:ext cx="4858189" cy="775197"/>
              <a:chOff x="5130801" y="2820874"/>
              <a:chExt cx="3632195" cy="775197"/>
            </a:xfrm>
          </p:grpSpPr>
          <p:sp>
            <p:nvSpPr>
              <p:cNvPr id="103" name="i$ļîdê">
                <a:extLst>
                  <a:ext uri="{FF2B5EF4-FFF2-40B4-BE49-F238E27FC236}">
                    <a16:creationId xmlns:a16="http://schemas.microsoft.com/office/drawing/2014/main" id="{FB40820D-6F37-4245-8417-67F5EC5DAF6F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04" name="í$ḷîḓe">
                <a:extLst>
                  <a:ext uri="{FF2B5EF4-FFF2-40B4-BE49-F238E27FC236}">
                    <a16:creationId xmlns:a16="http://schemas.microsoft.com/office/drawing/2014/main" id="{E8FC3F37-AB0D-4C8F-8C41-F1B8F51A3878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98" name="íŝ1ïḋê">
              <a:extLst>
                <a:ext uri="{FF2B5EF4-FFF2-40B4-BE49-F238E27FC236}">
                  <a16:creationId xmlns:a16="http://schemas.microsoft.com/office/drawing/2014/main" id="{630A299F-8A71-4C34-B8B4-DC6FAF7C82AB}"/>
                </a:ext>
              </a:extLst>
            </p:cNvPr>
            <p:cNvCxnSpPr>
              <a:cxnSpLocks/>
            </p:cNvCxnSpPr>
            <p:nvPr/>
          </p:nvCxnSpPr>
          <p:spPr>
            <a:xfrm>
              <a:off x="6762750" y="3900641"/>
              <a:ext cx="454818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îṥḷîḑé">
              <a:extLst>
                <a:ext uri="{FF2B5EF4-FFF2-40B4-BE49-F238E27FC236}">
                  <a16:creationId xmlns:a16="http://schemas.microsoft.com/office/drawing/2014/main" id="{D3574D95-4969-4C7A-B712-CC7DCEDF6F44}"/>
                </a:ext>
              </a:extLst>
            </p:cNvPr>
            <p:cNvCxnSpPr>
              <a:cxnSpLocks/>
            </p:cNvCxnSpPr>
            <p:nvPr/>
          </p:nvCxnSpPr>
          <p:spPr>
            <a:xfrm>
              <a:off x="6762750" y="5029836"/>
              <a:ext cx="454818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ïs1îďe">
              <a:extLst>
                <a:ext uri="{FF2B5EF4-FFF2-40B4-BE49-F238E27FC236}">
                  <a16:creationId xmlns:a16="http://schemas.microsoft.com/office/drawing/2014/main" id="{8BD9D585-8955-4084-BEDB-788DFD9D8A38}"/>
                </a:ext>
              </a:extLst>
            </p:cNvPr>
            <p:cNvCxnSpPr/>
            <p:nvPr/>
          </p:nvCxnSpPr>
          <p:spPr>
            <a:xfrm>
              <a:off x="3781425" y="3336042"/>
              <a:ext cx="1965492" cy="1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iṡ1iḋè">
              <a:extLst>
                <a:ext uri="{FF2B5EF4-FFF2-40B4-BE49-F238E27FC236}">
                  <a16:creationId xmlns:a16="http://schemas.microsoft.com/office/drawing/2014/main" id="{711BB373-5138-4116-AABD-A31A986B196D}"/>
                </a:ext>
              </a:extLst>
            </p:cNvPr>
            <p:cNvCxnSpPr/>
            <p:nvPr/>
          </p:nvCxnSpPr>
          <p:spPr>
            <a:xfrm>
              <a:off x="3781425" y="3336042"/>
              <a:ext cx="1965492" cy="1129196"/>
            </a:xfrm>
            <a:prstGeom prst="bentConnector3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iṥ1ïdé">
              <a:extLst>
                <a:ext uri="{FF2B5EF4-FFF2-40B4-BE49-F238E27FC236}">
                  <a16:creationId xmlns:a16="http://schemas.microsoft.com/office/drawing/2014/main" id="{0998FA4F-3896-4662-8767-79947C245496}"/>
                </a:ext>
              </a:extLst>
            </p:cNvPr>
            <p:cNvCxnSpPr/>
            <p:nvPr/>
          </p:nvCxnSpPr>
          <p:spPr>
            <a:xfrm>
              <a:off x="3781425" y="3336042"/>
              <a:ext cx="1965492" cy="2258390"/>
            </a:xfrm>
            <a:prstGeom prst="bentConnector3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843441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ṡ1ïḑé">
            <a:extLst>
              <a:ext uri="{FF2B5EF4-FFF2-40B4-BE49-F238E27FC236}">
                <a16:creationId xmlns:a16="http://schemas.microsoft.com/office/drawing/2014/main" id="{EE0E449E-A22D-457D-8112-BA8B704D1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ṥļïďê">
            <a:extLst>
              <a:ext uri="{FF2B5EF4-FFF2-40B4-BE49-F238E27FC236}">
                <a16:creationId xmlns:a16="http://schemas.microsoft.com/office/drawing/2014/main" id="{841D2E97-6900-4AFD-B919-D012417212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lîḑè">
            <a:extLst>
              <a:ext uri="{FF2B5EF4-FFF2-40B4-BE49-F238E27FC236}">
                <a16:creationId xmlns:a16="http://schemas.microsoft.com/office/drawing/2014/main" id="{72A0C721-EA3D-435B-BADB-BBD5867E6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5" name="ïsľîḓ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7107F13-AD4E-446D-9C11-DAD800C6AC4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0" y="1298666"/>
            <a:ext cx="12192000" cy="5559334"/>
            <a:chOff x="0" y="1298666"/>
            <a:chExt cx="12192000" cy="5559334"/>
          </a:xfrm>
        </p:grpSpPr>
        <p:sp>
          <p:nvSpPr>
            <p:cNvPr id="6" name="ïŝľïďè">
              <a:extLst>
                <a:ext uri="{FF2B5EF4-FFF2-40B4-BE49-F238E27FC236}">
                  <a16:creationId xmlns:a16="http://schemas.microsoft.com/office/drawing/2014/main" id="{990EB01B-561E-4CDD-B483-CC794E85EA28}"/>
                </a:ext>
              </a:extLst>
            </p:cNvPr>
            <p:cNvSpPr/>
            <p:nvPr/>
          </p:nvSpPr>
          <p:spPr>
            <a:xfrm>
              <a:off x="0" y="3127989"/>
              <a:ext cx="12192000" cy="37300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7" name="ïṥlîḓè">
              <a:extLst>
                <a:ext uri="{FF2B5EF4-FFF2-40B4-BE49-F238E27FC236}">
                  <a16:creationId xmlns:a16="http://schemas.microsoft.com/office/drawing/2014/main" id="{091BE961-5846-4969-BF53-766DF9BC21DB}"/>
                </a:ext>
              </a:extLst>
            </p:cNvPr>
            <p:cNvGrpSpPr/>
            <p:nvPr/>
          </p:nvGrpSpPr>
          <p:grpSpPr>
            <a:xfrm>
              <a:off x="1101292" y="1298666"/>
              <a:ext cx="2169621" cy="2177590"/>
              <a:chOff x="1651689" y="1298666"/>
              <a:chExt cx="2169621" cy="2177590"/>
            </a:xfrm>
          </p:grpSpPr>
          <p:grpSp>
            <p:nvGrpSpPr>
              <p:cNvPr id="51" name="isḻíďé">
                <a:extLst>
                  <a:ext uri="{FF2B5EF4-FFF2-40B4-BE49-F238E27FC236}">
                    <a16:creationId xmlns:a16="http://schemas.microsoft.com/office/drawing/2014/main" id="{AE582BDE-2FF3-429B-87D4-D980D2903435}"/>
                  </a:ext>
                </a:extLst>
              </p:cNvPr>
              <p:cNvGrpSpPr/>
              <p:nvPr/>
            </p:nvGrpSpPr>
            <p:grpSpPr>
              <a:xfrm>
                <a:off x="1981049" y="1298666"/>
                <a:ext cx="1510909" cy="1055688"/>
                <a:chOff x="1086342" y="5061311"/>
                <a:chExt cx="1510909" cy="1055688"/>
              </a:xfrm>
            </p:grpSpPr>
            <p:grpSp>
              <p:nvGrpSpPr>
                <p:cNvPr id="53" name="ïsļidè">
                  <a:extLst>
                    <a:ext uri="{FF2B5EF4-FFF2-40B4-BE49-F238E27FC236}">
                      <a16:creationId xmlns:a16="http://schemas.microsoft.com/office/drawing/2014/main" id="{D3573858-3048-454F-B6A3-C0F201001C1E}"/>
                    </a:ext>
                  </a:extLst>
                </p:cNvPr>
                <p:cNvGrpSpPr/>
                <p:nvPr/>
              </p:nvGrpSpPr>
              <p:grpSpPr>
                <a:xfrm>
                  <a:off x="1086342" y="5061311"/>
                  <a:ext cx="1510909" cy="1055688"/>
                  <a:chOff x="2144713" y="2039938"/>
                  <a:chExt cx="1511300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57" name="íSḷíḋê">
                    <a:extLst>
                      <a:ext uri="{FF2B5EF4-FFF2-40B4-BE49-F238E27FC236}">
                        <a16:creationId xmlns:a16="http://schemas.microsoft.com/office/drawing/2014/main" id="{AEAB45FD-78E6-41E0-871A-E764488B7438}"/>
                      </a:ext>
                    </a:extLst>
                  </p:cNvPr>
                  <p:cNvSpPr/>
                  <p:nvPr/>
                </p:nvSpPr>
                <p:spPr>
                  <a:xfrm>
                    <a:off x="2603500" y="2039938"/>
                    <a:ext cx="274638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8" name="ïṡḷíďê">
                    <a:extLst>
                      <a:ext uri="{FF2B5EF4-FFF2-40B4-BE49-F238E27FC236}">
                        <a16:creationId xmlns:a16="http://schemas.microsoft.com/office/drawing/2014/main" id="{0F50B648-BDA5-4018-8693-2FC04516FA4C}"/>
                      </a:ext>
                    </a:extLst>
                  </p:cNvPr>
                  <p:cNvSpPr/>
                  <p:nvPr/>
                </p:nvSpPr>
                <p:spPr>
                  <a:xfrm>
                    <a:off x="3141663" y="2095501"/>
                    <a:ext cx="279400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9" name="í$ļídè">
                    <a:extLst>
                      <a:ext uri="{FF2B5EF4-FFF2-40B4-BE49-F238E27FC236}">
                        <a16:creationId xmlns:a16="http://schemas.microsoft.com/office/drawing/2014/main" id="{59320CA8-9453-4858-9392-4223CCAD33BB}"/>
                      </a:ext>
                    </a:extLst>
                  </p:cNvPr>
                  <p:cNvSpPr/>
                  <p:nvPr/>
                </p:nvSpPr>
                <p:spPr>
                  <a:xfrm>
                    <a:off x="2922588" y="2039938"/>
                    <a:ext cx="219075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0" name="ïsḻïḑè">
                    <a:extLst>
                      <a:ext uri="{FF2B5EF4-FFF2-40B4-BE49-F238E27FC236}">
                        <a16:creationId xmlns:a16="http://schemas.microsoft.com/office/drawing/2014/main" id="{C52349DD-4996-4CF3-9BDD-D46967B1B9B1}"/>
                      </a:ext>
                    </a:extLst>
                  </p:cNvPr>
                  <p:cNvSpPr/>
                  <p:nvPr/>
                </p:nvSpPr>
                <p:spPr>
                  <a:xfrm>
                    <a:off x="3368675" y="2278063"/>
                    <a:ext cx="209550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1" name="íṥlïďé">
                    <a:extLst>
                      <a:ext uri="{FF2B5EF4-FFF2-40B4-BE49-F238E27FC236}">
                        <a16:creationId xmlns:a16="http://schemas.microsoft.com/office/drawing/2014/main" id="{EE8B4ABA-6BB2-4AD9-9972-2D0406B88877}"/>
                      </a:ext>
                    </a:extLst>
                  </p:cNvPr>
                  <p:cNvSpPr/>
                  <p:nvPr/>
                </p:nvSpPr>
                <p:spPr>
                  <a:xfrm>
                    <a:off x="2198688" y="2278063"/>
                    <a:ext cx="233363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2" name="iṧļiḑê">
                    <a:extLst>
                      <a:ext uri="{FF2B5EF4-FFF2-40B4-BE49-F238E27FC236}">
                        <a16:creationId xmlns:a16="http://schemas.microsoft.com/office/drawing/2014/main" id="{2D82B18E-56DC-4782-9F0F-014267583974}"/>
                      </a:ext>
                    </a:extLst>
                  </p:cNvPr>
                  <p:cNvSpPr/>
                  <p:nvPr/>
                </p:nvSpPr>
                <p:spPr>
                  <a:xfrm>
                    <a:off x="2381250" y="2119313"/>
                    <a:ext cx="23018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3" name="îṩlíḓè">
                    <a:extLst>
                      <a:ext uri="{FF2B5EF4-FFF2-40B4-BE49-F238E27FC236}">
                        <a16:creationId xmlns:a16="http://schemas.microsoft.com/office/drawing/2014/main" id="{93855F42-9AF5-4095-9953-A5E8B5C3F4D1}"/>
                      </a:ext>
                    </a:extLst>
                  </p:cNvPr>
                  <p:cNvSpPr/>
                  <p:nvPr/>
                </p:nvSpPr>
                <p:spPr>
                  <a:xfrm>
                    <a:off x="2144713" y="2557463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4" name="ïŝ1idê">
                    <a:extLst>
                      <a:ext uri="{FF2B5EF4-FFF2-40B4-BE49-F238E27FC236}">
                        <a16:creationId xmlns:a16="http://schemas.microsoft.com/office/drawing/2014/main" id="{E3D5F77D-8633-49F4-8EB1-3B839372F401}"/>
                      </a:ext>
                    </a:extLst>
                  </p:cNvPr>
                  <p:cNvSpPr/>
                  <p:nvPr/>
                </p:nvSpPr>
                <p:spPr>
                  <a:xfrm>
                    <a:off x="2144713" y="2819401"/>
                    <a:ext cx="166688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5" name="iṩ1iḍê">
                    <a:extLst>
                      <a:ext uri="{FF2B5EF4-FFF2-40B4-BE49-F238E27FC236}">
                        <a16:creationId xmlns:a16="http://schemas.microsoft.com/office/drawing/2014/main" id="{3ACAF746-ECED-4D2C-9C85-3C6A7FF9D840}"/>
                      </a:ext>
                    </a:extLst>
                  </p:cNvPr>
                  <p:cNvSpPr/>
                  <p:nvPr/>
                </p:nvSpPr>
                <p:spPr>
                  <a:xfrm>
                    <a:off x="3490913" y="2498726"/>
                    <a:ext cx="165100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6" name="îṥľíďê">
                    <a:extLst>
                      <a:ext uri="{FF2B5EF4-FFF2-40B4-BE49-F238E27FC236}">
                        <a16:creationId xmlns:a16="http://schemas.microsoft.com/office/drawing/2014/main" id="{45950FF0-7389-42D3-8B0F-C17966B914F2}"/>
                      </a:ext>
                    </a:extLst>
                  </p:cNvPr>
                  <p:cNvSpPr/>
                  <p:nvPr/>
                </p:nvSpPr>
                <p:spPr>
                  <a:xfrm>
                    <a:off x="3508375" y="2819401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54" name="î$ľiḋe">
                  <a:extLst>
                    <a:ext uri="{FF2B5EF4-FFF2-40B4-BE49-F238E27FC236}">
                      <a16:creationId xmlns:a16="http://schemas.microsoft.com/office/drawing/2014/main" id="{E775CFA5-B3C0-4C8A-A35E-73714F612B86}"/>
                    </a:ext>
                  </a:extLst>
                </p:cNvPr>
                <p:cNvGrpSpPr/>
                <p:nvPr/>
              </p:nvGrpSpPr>
              <p:grpSpPr>
                <a:xfrm rot="-4132320">
                  <a:off x="1475652" y="5406677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55" name="i$ļïḓé">
                    <a:extLst>
                      <a:ext uri="{FF2B5EF4-FFF2-40B4-BE49-F238E27FC236}">
                        <a16:creationId xmlns:a16="http://schemas.microsoft.com/office/drawing/2014/main" id="{2E40FE29-45D8-46DD-901D-4EF4B08C6619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6" name="iṡľîdê">
                    <a:extLst>
                      <a:ext uri="{FF2B5EF4-FFF2-40B4-BE49-F238E27FC236}">
                        <a16:creationId xmlns:a16="http://schemas.microsoft.com/office/drawing/2014/main" id="{B308DBAA-5640-4D5E-8228-C53FBBC4761D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52" name="íṩľíḓè">
                <a:extLst>
                  <a:ext uri="{FF2B5EF4-FFF2-40B4-BE49-F238E27FC236}">
                    <a16:creationId xmlns:a16="http://schemas.microsoft.com/office/drawing/2014/main" id="{E1F621A7-9C76-4A43-B825-EF9AA8D9025C}"/>
                  </a:ext>
                </a:extLst>
              </p:cNvPr>
              <p:cNvSpPr/>
              <p:nvPr/>
            </p:nvSpPr>
            <p:spPr bwMode="auto">
              <a:xfrm>
                <a:off x="1651689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8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íṧľîḍe">
              <a:extLst>
                <a:ext uri="{FF2B5EF4-FFF2-40B4-BE49-F238E27FC236}">
                  <a16:creationId xmlns:a16="http://schemas.microsoft.com/office/drawing/2014/main" id="{E96ED9BB-FC11-4269-81C1-E8161871535B}"/>
                </a:ext>
              </a:extLst>
            </p:cNvPr>
            <p:cNvGrpSpPr/>
            <p:nvPr/>
          </p:nvGrpSpPr>
          <p:grpSpPr>
            <a:xfrm>
              <a:off x="8921088" y="1298666"/>
              <a:ext cx="2169621" cy="2177590"/>
              <a:chOff x="8415128" y="1298666"/>
              <a:chExt cx="2169621" cy="2177590"/>
            </a:xfrm>
          </p:grpSpPr>
          <p:grpSp>
            <p:nvGrpSpPr>
              <p:cNvPr id="35" name="í$ļíďè">
                <a:extLst>
                  <a:ext uri="{FF2B5EF4-FFF2-40B4-BE49-F238E27FC236}">
                    <a16:creationId xmlns:a16="http://schemas.microsoft.com/office/drawing/2014/main" id="{8B69B088-1452-45B7-89A7-2866FBF2A96D}"/>
                  </a:ext>
                </a:extLst>
              </p:cNvPr>
              <p:cNvGrpSpPr/>
              <p:nvPr/>
            </p:nvGrpSpPr>
            <p:grpSpPr>
              <a:xfrm>
                <a:off x="8744488" y="1298666"/>
                <a:ext cx="1510909" cy="1184304"/>
                <a:chOff x="1112168" y="3510486"/>
                <a:chExt cx="1510909" cy="1184304"/>
              </a:xfrm>
            </p:grpSpPr>
            <p:grpSp>
              <p:nvGrpSpPr>
                <p:cNvPr id="37" name="ïṣľïḓê">
                  <a:extLst>
                    <a:ext uri="{FF2B5EF4-FFF2-40B4-BE49-F238E27FC236}">
                      <a16:creationId xmlns:a16="http://schemas.microsoft.com/office/drawing/2014/main" id="{982057F6-BC3C-4F5C-B190-062514312216}"/>
                    </a:ext>
                  </a:extLst>
                </p:cNvPr>
                <p:cNvGrpSpPr/>
                <p:nvPr/>
              </p:nvGrpSpPr>
              <p:grpSpPr>
                <a:xfrm>
                  <a:off x="1112168" y="3510486"/>
                  <a:ext cx="1510909" cy="1055688"/>
                  <a:chOff x="2144713" y="2039938"/>
                  <a:chExt cx="1511300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41" name="i$ḷîde">
                    <a:extLst>
                      <a:ext uri="{FF2B5EF4-FFF2-40B4-BE49-F238E27FC236}">
                        <a16:creationId xmlns:a16="http://schemas.microsoft.com/office/drawing/2014/main" id="{C82A97E2-9D27-4C50-9B0A-DD3F38A85767}"/>
                      </a:ext>
                    </a:extLst>
                  </p:cNvPr>
                  <p:cNvSpPr/>
                  <p:nvPr/>
                </p:nvSpPr>
                <p:spPr>
                  <a:xfrm>
                    <a:off x="2603500" y="2039938"/>
                    <a:ext cx="274638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2" name="îşľîdè">
                    <a:extLst>
                      <a:ext uri="{FF2B5EF4-FFF2-40B4-BE49-F238E27FC236}">
                        <a16:creationId xmlns:a16="http://schemas.microsoft.com/office/drawing/2014/main" id="{EC652E0B-E461-4F05-8F09-9B3F2C01E9D8}"/>
                      </a:ext>
                    </a:extLst>
                  </p:cNvPr>
                  <p:cNvSpPr/>
                  <p:nvPr/>
                </p:nvSpPr>
                <p:spPr>
                  <a:xfrm>
                    <a:off x="3141663" y="2095501"/>
                    <a:ext cx="279400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3" name="ísľiḓè">
                    <a:extLst>
                      <a:ext uri="{FF2B5EF4-FFF2-40B4-BE49-F238E27FC236}">
                        <a16:creationId xmlns:a16="http://schemas.microsoft.com/office/drawing/2014/main" id="{3397C951-A405-409B-BF19-A2218A363A63}"/>
                      </a:ext>
                    </a:extLst>
                  </p:cNvPr>
                  <p:cNvSpPr/>
                  <p:nvPr/>
                </p:nvSpPr>
                <p:spPr>
                  <a:xfrm>
                    <a:off x="2922588" y="2039938"/>
                    <a:ext cx="219075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4" name="ïṣḷîḍé">
                    <a:extLst>
                      <a:ext uri="{FF2B5EF4-FFF2-40B4-BE49-F238E27FC236}">
                        <a16:creationId xmlns:a16="http://schemas.microsoft.com/office/drawing/2014/main" id="{B17E80F6-ECAD-4658-8C6B-95D4890455E9}"/>
                      </a:ext>
                    </a:extLst>
                  </p:cNvPr>
                  <p:cNvSpPr/>
                  <p:nvPr/>
                </p:nvSpPr>
                <p:spPr>
                  <a:xfrm>
                    <a:off x="3368675" y="2278063"/>
                    <a:ext cx="209550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5" name="ïṣļïḓè">
                    <a:extLst>
                      <a:ext uri="{FF2B5EF4-FFF2-40B4-BE49-F238E27FC236}">
                        <a16:creationId xmlns:a16="http://schemas.microsoft.com/office/drawing/2014/main" id="{C69060CC-6B90-4ECB-890B-327B0C69AF95}"/>
                      </a:ext>
                    </a:extLst>
                  </p:cNvPr>
                  <p:cNvSpPr/>
                  <p:nvPr/>
                </p:nvSpPr>
                <p:spPr>
                  <a:xfrm>
                    <a:off x="2198688" y="2278063"/>
                    <a:ext cx="233363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6" name="îṡļíḋé">
                    <a:extLst>
                      <a:ext uri="{FF2B5EF4-FFF2-40B4-BE49-F238E27FC236}">
                        <a16:creationId xmlns:a16="http://schemas.microsoft.com/office/drawing/2014/main" id="{9D6CC999-A7EF-44D6-B971-94F905F50D27}"/>
                      </a:ext>
                    </a:extLst>
                  </p:cNvPr>
                  <p:cNvSpPr/>
                  <p:nvPr/>
                </p:nvSpPr>
                <p:spPr>
                  <a:xfrm>
                    <a:off x="2381250" y="2119313"/>
                    <a:ext cx="23018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7" name="îşḷídé">
                    <a:extLst>
                      <a:ext uri="{FF2B5EF4-FFF2-40B4-BE49-F238E27FC236}">
                        <a16:creationId xmlns:a16="http://schemas.microsoft.com/office/drawing/2014/main" id="{A1456EF3-2C5D-46B7-928B-344F2BF17F5C}"/>
                      </a:ext>
                    </a:extLst>
                  </p:cNvPr>
                  <p:cNvSpPr/>
                  <p:nvPr/>
                </p:nvSpPr>
                <p:spPr>
                  <a:xfrm>
                    <a:off x="2144713" y="2557463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8" name="îšlidé">
                    <a:extLst>
                      <a:ext uri="{FF2B5EF4-FFF2-40B4-BE49-F238E27FC236}">
                        <a16:creationId xmlns:a16="http://schemas.microsoft.com/office/drawing/2014/main" id="{EC5D1C2B-AE33-4FC4-A997-6E318FC2A7BF}"/>
                      </a:ext>
                    </a:extLst>
                  </p:cNvPr>
                  <p:cNvSpPr/>
                  <p:nvPr/>
                </p:nvSpPr>
                <p:spPr>
                  <a:xfrm>
                    <a:off x="2144713" y="2819401"/>
                    <a:ext cx="166688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9" name="iṧḻïde">
                    <a:extLst>
                      <a:ext uri="{FF2B5EF4-FFF2-40B4-BE49-F238E27FC236}">
                        <a16:creationId xmlns:a16="http://schemas.microsoft.com/office/drawing/2014/main" id="{4532C79B-F9CD-4C28-923A-E9ABFC4CF370}"/>
                      </a:ext>
                    </a:extLst>
                  </p:cNvPr>
                  <p:cNvSpPr/>
                  <p:nvPr/>
                </p:nvSpPr>
                <p:spPr>
                  <a:xfrm>
                    <a:off x="3490913" y="2498726"/>
                    <a:ext cx="165100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0" name="iṥḷiḑé">
                    <a:extLst>
                      <a:ext uri="{FF2B5EF4-FFF2-40B4-BE49-F238E27FC236}">
                        <a16:creationId xmlns:a16="http://schemas.microsoft.com/office/drawing/2014/main" id="{B050338A-F41B-4C6B-B43B-DE01BD7612BD}"/>
                      </a:ext>
                    </a:extLst>
                  </p:cNvPr>
                  <p:cNvSpPr/>
                  <p:nvPr/>
                </p:nvSpPr>
                <p:spPr>
                  <a:xfrm>
                    <a:off x="3508375" y="2819401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38" name="îŝliďé">
                  <a:extLst>
                    <a:ext uri="{FF2B5EF4-FFF2-40B4-BE49-F238E27FC236}">
                      <a16:creationId xmlns:a16="http://schemas.microsoft.com/office/drawing/2014/main" id="{F2ECE4EB-F01E-42A5-8D01-A7D8FDBBE697}"/>
                    </a:ext>
                  </a:extLst>
                </p:cNvPr>
                <p:cNvGrpSpPr/>
                <p:nvPr/>
              </p:nvGrpSpPr>
              <p:grpSpPr>
                <a:xfrm rot="463676">
                  <a:off x="1694912" y="4032975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39" name="ïšḻïḍé">
                    <a:extLst>
                      <a:ext uri="{FF2B5EF4-FFF2-40B4-BE49-F238E27FC236}">
                        <a16:creationId xmlns:a16="http://schemas.microsoft.com/office/drawing/2014/main" id="{FDD88356-053F-4AB2-9631-361B8CEEB34C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0" name="ïṥļidé">
                    <a:extLst>
                      <a:ext uri="{FF2B5EF4-FFF2-40B4-BE49-F238E27FC236}">
                        <a16:creationId xmlns:a16="http://schemas.microsoft.com/office/drawing/2014/main" id="{B8A560B9-75B7-4ABD-B6A3-AF063EFE9543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36" name="íšļïďê">
                <a:extLst>
                  <a:ext uri="{FF2B5EF4-FFF2-40B4-BE49-F238E27FC236}">
                    <a16:creationId xmlns:a16="http://schemas.microsoft.com/office/drawing/2014/main" id="{D7EC541C-146F-41FE-BFB5-580F6CC6BE1E}"/>
                  </a:ext>
                </a:extLst>
              </p:cNvPr>
              <p:cNvSpPr/>
              <p:nvPr/>
            </p:nvSpPr>
            <p:spPr bwMode="auto">
              <a:xfrm>
                <a:off x="8415128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16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íṣlíḍê">
              <a:extLst>
                <a:ext uri="{FF2B5EF4-FFF2-40B4-BE49-F238E27FC236}">
                  <a16:creationId xmlns:a16="http://schemas.microsoft.com/office/drawing/2014/main" id="{9827F00E-8145-4713-8AB1-484ED3A1E16F}"/>
                </a:ext>
              </a:extLst>
            </p:cNvPr>
            <p:cNvSpPr/>
            <p:nvPr/>
          </p:nvSpPr>
          <p:spPr bwMode="auto">
            <a:xfrm>
              <a:off x="673100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" name="ïṣľiḓè">
              <a:extLst>
                <a:ext uri="{FF2B5EF4-FFF2-40B4-BE49-F238E27FC236}">
                  <a16:creationId xmlns:a16="http://schemas.microsoft.com/office/drawing/2014/main" id="{7AFDE116-5166-4311-81C8-A9DAC68DB44F}"/>
                </a:ext>
              </a:extLst>
            </p:cNvPr>
            <p:cNvSpPr txBox="1"/>
            <p:nvPr/>
          </p:nvSpPr>
          <p:spPr bwMode="auto">
            <a:xfrm>
              <a:off x="673100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grpSp>
          <p:nvGrpSpPr>
            <p:cNvPr id="11" name="íṩḻîḋe">
              <a:extLst>
                <a:ext uri="{FF2B5EF4-FFF2-40B4-BE49-F238E27FC236}">
                  <a16:creationId xmlns:a16="http://schemas.microsoft.com/office/drawing/2014/main" id="{5796C050-5D61-4EC6-BC17-2981403F3C93}"/>
                </a:ext>
              </a:extLst>
            </p:cNvPr>
            <p:cNvGrpSpPr/>
            <p:nvPr/>
          </p:nvGrpSpPr>
          <p:grpSpPr>
            <a:xfrm>
              <a:off x="5011190" y="1298666"/>
              <a:ext cx="2169621" cy="2177590"/>
              <a:chOff x="5011189" y="1298666"/>
              <a:chExt cx="2169621" cy="2177590"/>
            </a:xfrm>
          </p:grpSpPr>
          <p:grpSp>
            <p:nvGrpSpPr>
              <p:cNvPr id="19" name="ïSľíḋé">
                <a:extLst>
                  <a:ext uri="{FF2B5EF4-FFF2-40B4-BE49-F238E27FC236}">
                    <a16:creationId xmlns:a16="http://schemas.microsoft.com/office/drawing/2014/main" id="{A2E0FA34-1192-4993-905D-D0514EC55D63}"/>
                  </a:ext>
                </a:extLst>
              </p:cNvPr>
              <p:cNvGrpSpPr/>
              <p:nvPr/>
            </p:nvGrpSpPr>
            <p:grpSpPr>
              <a:xfrm>
                <a:off x="5340546" y="1298666"/>
                <a:ext cx="1510907" cy="1055688"/>
                <a:chOff x="1112165" y="1916231"/>
                <a:chExt cx="1510907" cy="1055688"/>
              </a:xfrm>
            </p:grpSpPr>
            <p:grpSp>
              <p:nvGrpSpPr>
                <p:cNvPr id="21" name="îšľiḓé">
                  <a:extLst>
                    <a:ext uri="{FF2B5EF4-FFF2-40B4-BE49-F238E27FC236}">
                      <a16:creationId xmlns:a16="http://schemas.microsoft.com/office/drawing/2014/main" id="{4F606DAB-385C-4C5B-AD3D-57DFD190870C}"/>
                    </a:ext>
                  </a:extLst>
                </p:cNvPr>
                <p:cNvGrpSpPr/>
                <p:nvPr/>
              </p:nvGrpSpPr>
              <p:grpSpPr>
                <a:xfrm>
                  <a:off x="1112165" y="1916231"/>
                  <a:ext cx="1510907" cy="1055688"/>
                  <a:chOff x="1112165" y="1916231"/>
                  <a:chExt cx="1510907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25" name="ïŝḻíḑè">
                    <a:extLst>
                      <a:ext uri="{FF2B5EF4-FFF2-40B4-BE49-F238E27FC236}">
                        <a16:creationId xmlns:a16="http://schemas.microsoft.com/office/drawing/2014/main" id="{C46D68FF-7F0E-41B3-B403-93E0E0832C69}"/>
                      </a:ext>
                    </a:extLst>
                  </p:cNvPr>
                  <p:cNvSpPr/>
                  <p:nvPr/>
                </p:nvSpPr>
                <p:spPr>
                  <a:xfrm>
                    <a:off x="1570833" y="1916231"/>
                    <a:ext cx="274567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6" name="íṡļidé">
                    <a:extLst>
                      <a:ext uri="{FF2B5EF4-FFF2-40B4-BE49-F238E27FC236}">
                        <a16:creationId xmlns:a16="http://schemas.microsoft.com/office/drawing/2014/main" id="{A329E6B1-945D-495C-B86D-8A51E2E0C523}"/>
                      </a:ext>
                    </a:extLst>
                  </p:cNvPr>
                  <p:cNvSpPr/>
                  <p:nvPr/>
                </p:nvSpPr>
                <p:spPr>
                  <a:xfrm>
                    <a:off x="2108856" y="1971794"/>
                    <a:ext cx="279327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7" name="íṥḷíďé">
                    <a:extLst>
                      <a:ext uri="{FF2B5EF4-FFF2-40B4-BE49-F238E27FC236}">
                        <a16:creationId xmlns:a16="http://schemas.microsoft.com/office/drawing/2014/main" id="{603F2588-7CD7-44D7-84D9-6BB39CE67F9A}"/>
                      </a:ext>
                    </a:extLst>
                  </p:cNvPr>
                  <p:cNvSpPr/>
                  <p:nvPr/>
                </p:nvSpPr>
                <p:spPr>
                  <a:xfrm>
                    <a:off x="1889838" y="1916231"/>
                    <a:ext cx="219018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8" name="ïŝļídê">
                    <a:extLst>
                      <a:ext uri="{FF2B5EF4-FFF2-40B4-BE49-F238E27FC236}">
                        <a16:creationId xmlns:a16="http://schemas.microsoft.com/office/drawing/2014/main" id="{4F8D9135-EA0A-42A8-A4D9-68EB83C537FC}"/>
                      </a:ext>
                    </a:extLst>
                  </p:cNvPr>
                  <p:cNvSpPr/>
                  <p:nvPr/>
                </p:nvSpPr>
                <p:spPr>
                  <a:xfrm>
                    <a:off x="2335809" y="2154356"/>
                    <a:ext cx="209496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9" name="î$ľîďè">
                    <a:extLst>
                      <a:ext uri="{FF2B5EF4-FFF2-40B4-BE49-F238E27FC236}">
                        <a16:creationId xmlns:a16="http://schemas.microsoft.com/office/drawing/2014/main" id="{98840CFE-030D-42F9-9CAC-0EDA5E4316DE}"/>
                      </a:ext>
                    </a:extLst>
                  </p:cNvPr>
                  <p:cNvSpPr/>
                  <p:nvPr/>
                </p:nvSpPr>
                <p:spPr>
                  <a:xfrm>
                    <a:off x="1166126" y="2154356"/>
                    <a:ext cx="233302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0" name="íŝḷïḋe">
                    <a:extLst>
                      <a:ext uri="{FF2B5EF4-FFF2-40B4-BE49-F238E27FC236}">
                        <a16:creationId xmlns:a16="http://schemas.microsoft.com/office/drawing/2014/main" id="{EDF2838A-BCE8-48BA-A1F8-3CBE8AF96FF0}"/>
                      </a:ext>
                    </a:extLst>
                  </p:cNvPr>
                  <p:cNvSpPr/>
                  <p:nvPr/>
                </p:nvSpPr>
                <p:spPr>
                  <a:xfrm>
                    <a:off x="1348640" y="1995606"/>
                    <a:ext cx="23012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1" name="íSḻîḋê">
                    <a:extLst>
                      <a:ext uri="{FF2B5EF4-FFF2-40B4-BE49-F238E27FC236}">
                        <a16:creationId xmlns:a16="http://schemas.microsoft.com/office/drawing/2014/main" id="{79D300B0-8B5C-445D-9E83-7FC33C5A8717}"/>
                      </a:ext>
                    </a:extLst>
                  </p:cNvPr>
                  <p:cNvSpPr/>
                  <p:nvPr/>
                </p:nvSpPr>
                <p:spPr>
                  <a:xfrm>
                    <a:off x="1112165" y="2433756"/>
                    <a:ext cx="147600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2" name="îŝḻîďé">
                    <a:extLst>
                      <a:ext uri="{FF2B5EF4-FFF2-40B4-BE49-F238E27FC236}">
                        <a16:creationId xmlns:a16="http://schemas.microsoft.com/office/drawing/2014/main" id="{B5D33D98-33AD-40B5-8731-643970386E45}"/>
                      </a:ext>
                    </a:extLst>
                  </p:cNvPr>
                  <p:cNvSpPr/>
                  <p:nvPr/>
                </p:nvSpPr>
                <p:spPr>
                  <a:xfrm>
                    <a:off x="1112165" y="2695694"/>
                    <a:ext cx="166645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3" name="ïśḻïḋe">
                    <a:extLst>
                      <a:ext uri="{FF2B5EF4-FFF2-40B4-BE49-F238E27FC236}">
                        <a16:creationId xmlns:a16="http://schemas.microsoft.com/office/drawing/2014/main" id="{5CB60169-EAAF-42E1-8D08-CE6E393DE75B}"/>
                      </a:ext>
                    </a:extLst>
                  </p:cNvPr>
                  <p:cNvSpPr/>
                  <p:nvPr/>
                </p:nvSpPr>
                <p:spPr>
                  <a:xfrm>
                    <a:off x="2458015" y="2375019"/>
                    <a:ext cx="165057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4" name="iṣḷiḓè">
                    <a:extLst>
                      <a:ext uri="{FF2B5EF4-FFF2-40B4-BE49-F238E27FC236}">
                        <a16:creationId xmlns:a16="http://schemas.microsoft.com/office/drawing/2014/main" id="{DE55427D-250C-43C7-869A-54C252862C5F}"/>
                      </a:ext>
                    </a:extLst>
                  </p:cNvPr>
                  <p:cNvSpPr/>
                  <p:nvPr/>
                </p:nvSpPr>
                <p:spPr>
                  <a:xfrm>
                    <a:off x="2475472" y="2695694"/>
                    <a:ext cx="147600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22" name="ïṥļiḓè">
                  <a:extLst>
                    <a:ext uri="{FF2B5EF4-FFF2-40B4-BE49-F238E27FC236}">
                      <a16:creationId xmlns:a16="http://schemas.microsoft.com/office/drawing/2014/main" id="{860E9DA4-184F-4264-9065-2513180A87D6}"/>
                    </a:ext>
                  </a:extLst>
                </p:cNvPr>
                <p:cNvGrpSpPr/>
                <p:nvPr/>
              </p:nvGrpSpPr>
              <p:grpSpPr>
                <a:xfrm rot="-1489316">
                  <a:off x="1566779" y="2279879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23" name="ïṩľîďê">
                    <a:extLst>
                      <a:ext uri="{FF2B5EF4-FFF2-40B4-BE49-F238E27FC236}">
                        <a16:creationId xmlns:a16="http://schemas.microsoft.com/office/drawing/2014/main" id="{E860A465-90B4-48D1-B3A6-18310253BCA0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4" name="î$ľîḓè">
                    <a:extLst>
                      <a:ext uri="{FF2B5EF4-FFF2-40B4-BE49-F238E27FC236}">
                        <a16:creationId xmlns:a16="http://schemas.microsoft.com/office/drawing/2014/main" id="{13685B26-76A9-45CF-A5FB-F69B827E4BE2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20" name="ïšlïďé">
                <a:extLst>
                  <a:ext uri="{FF2B5EF4-FFF2-40B4-BE49-F238E27FC236}">
                    <a16:creationId xmlns:a16="http://schemas.microsoft.com/office/drawing/2014/main" id="{C93C3B74-D126-4A70-8F36-B7F4816D8BA3}"/>
                  </a:ext>
                </a:extLst>
              </p:cNvPr>
              <p:cNvSpPr/>
              <p:nvPr/>
            </p:nvSpPr>
            <p:spPr bwMode="auto">
              <a:xfrm>
                <a:off x="5011189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12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îṩľîḓé">
              <a:extLst>
                <a:ext uri="{FF2B5EF4-FFF2-40B4-BE49-F238E27FC236}">
                  <a16:creationId xmlns:a16="http://schemas.microsoft.com/office/drawing/2014/main" id="{038FC6B2-31FE-4DB7-A1B6-5FCDF0A46ED1}"/>
                </a:ext>
              </a:extLst>
            </p:cNvPr>
            <p:cNvSpPr/>
            <p:nvPr/>
          </p:nvSpPr>
          <p:spPr bwMode="auto">
            <a:xfrm>
              <a:off x="4582998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íṡľîḓé">
              <a:extLst>
                <a:ext uri="{FF2B5EF4-FFF2-40B4-BE49-F238E27FC236}">
                  <a16:creationId xmlns:a16="http://schemas.microsoft.com/office/drawing/2014/main" id="{F6806D8F-5159-44B4-987E-028A448ADD7C}"/>
                </a:ext>
              </a:extLst>
            </p:cNvPr>
            <p:cNvSpPr txBox="1"/>
            <p:nvPr/>
          </p:nvSpPr>
          <p:spPr bwMode="auto">
            <a:xfrm>
              <a:off x="4582998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4" name="íṥḻîḓé">
              <a:extLst>
                <a:ext uri="{FF2B5EF4-FFF2-40B4-BE49-F238E27FC236}">
                  <a16:creationId xmlns:a16="http://schemas.microsoft.com/office/drawing/2014/main" id="{090CD17C-0B02-4439-9DCE-26929461CA2A}"/>
                </a:ext>
              </a:extLst>
            </p:cNvPr>
            <p:cNvSpPr/>
            <p:nvPr/>
          </p:nvSpPr>
          <p:spPr bwMode="auto">
            <a:xfrm>
              <a:off x="8492896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i$ľïḋe">
              <a:extLst>
                <a:ext uri="{FF2B5EF4-FFF2-40B4-BE49-F238E27FC236}">
                  <a16:creationId xmlns:a16="http://schemas.microsoft.com/office/drawing/2014/main" id="{81F3937B-97AC-42DA-9F37-60CE25A642D0}"/>
                </a:ext>
              </a:extLst>
            </p:cNvPr>
            <p:cNvSpPr txBox="1"/>
            <p:nvPr/>
          </p:nvSpPr>
          <p:spPr bwMode="auto">
            <a:xfrm>
              <a:off x="8492896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6" name="îṩḻídê">
              <a:extLst>
                <a:ext uri="{FF2B5EF4-FFF2-40B4-BE49-F238E27FC236}">
                  <a16:creationId xmlns:a16="http://schemas.microsoft.com/office/drawing/2014/main" id="{E1CFA625-0317-4FE3-9DD1-20162C831ED6}"/>
                </a:ext>
              </a:extLst>
            </p:cNvPr>
            <p:cNvSpPr/>
            <p:nvPr/>
          </p:nvSpPr>
          <p:spPr bwMode="auto">
            <a:xfrm>
              <a:off x="673100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" name="iSļïḑè">
              <a:extLst>
                <a:ext uri="{FF2B5EF4-FFF2-40B4-BE49-F238E27FC236}">
                  <a16:creationId xmlns:a16="http://schemas.microsoft.com/office/drawing/2014/main" id="{227D3F7E-F1F2-4D2F-9E17-0617520D2EB1}"/>
                </a:ext>
              </a:extLst>
            </p:cNvPr>
            <p:cNvSpPr/>
            <p:nvPr/>
          </p:nvSpPr>
          <p:spPr bwMode="auto">
            <a:xfrm>
              <a:off x="4582998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8" name="ïsḷïḋé">
              <a:extLst>
                <a:ext uri="{FF2B5EF4-FFF2-40B4-BE49-F238E27FC236}">
                  <a16:creationId xmlns:a16="http://schemas.microsoft.com/office/drawing/2014/main" id="{B39D22B3-DD0C-4751-905F-7A259A8858E9}"/>
                </a:ext>
              </a:extLst>
            </p:cNvPr>
            <p:cNvSpPr/>
            <p:nvPr/>
          </p:nvSpPr>
          <p:spPr bwMode="auto">
            <a:xfrm>
              <a:off x="8492896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3709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ļî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ṡ1îḑé">
            <a:extLst>
              <a:ext uri="{FF2B5EF4-FFF2-40B4-BE49-F238E27FC236}">
                <a16:creationId xmlns:a16="http://schemas.microsoft.com/office/drawing/2014/main" id="{F75C49E4-CB53-4A02-A91A-1CB6CDE7D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ṥlíde">
            <a:extLst>
              <a:ext uri="{FF2B5EF4-FFF2-40B4-BE49-F238E27FC236}">
                <a16:creationId xmlns:a16="http://schemas.microsoft.com/office/drawing/2014/main" id="{F70807D1-5D0D-434D-AD5A-2538BA1F0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lîḑé">
            <a:extLst>
              <a:ext uri="{FF2B5EF4-FFF2-40B4-BE49-F238E27FC236}">
                <a16:creationId xmlns:a16="http://schemas.microsoft.com/office/drawing/2014/main" id="{B5E66CA8-35A1-4DBD-BFE0-BECEC52A4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175" name="iṩḻîḑ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CE8CD6A-A68C-463C-9275-39549968EF66}"/>
              </a:ext>
            </a:extLst>
          </p:cNvPr>
          <p:cNvGrpSpPr>
            <a:grpSpLocks noChangeAspect="1"/>
          </p:cNvGrpSpPr>
          <p:nvPr/>
        </p:nvGrpSpPr>
        <p:grpSpPr>
          <a:xfrm>
            <a:off x="1220655" y="1316356"/>
            <a:ext cx="9750690" cy="4830444"/>
            <a:chOff x="1220655" y="1316356"/>
            <a:chExt cx="9750690" cy="4830444"/>
          </a:xfrm>
        </p:grpSpPr>
        <p:grpSp>
          <p:nvGrpSpPr>
            <p:cNvPr id="176" name="îṩḻïḍe">
              <a:extLst>
                <a:ext uri="{FF2B5EF4-FFF2-40B4-BE49-F238E27FC236}">
                  <a16:creationId xmlns:a16="http://schemas.microsoft.com/office/drawing/2014/main" id="{7289493F-9A44-4A09-B689-1E54FA38E35D}"/>
                </a:ext>
              </a:extLst>
            </p:cNvPr>
            <p:cNvGrpSpPr/>
            <p:nvPr/>
          </p:nvGrpSpPr>
          <p:grpSpPr>
            <a:xfrm>
              <a:off x="2834461" y="1316356"/>
              <a:ext cx="6523075" cy="2565639"/>
              <a:chOff x="2411506" y="2189374"/>
              <a:chExt cx="7368988" cy="2898352"/>
            </a:xfrm>
          </p:grpSpPr>
          <p:sp>
            <p:nvSpPr>
              <p:cNvPr id="185" name="îSlîdê">
                <a:extLst>
                  <a:ext uri="{FF2B5EF4-FFF2-40B4-BE49-F238E27FC236}">
                    <a16:creationId xmlns:a16="http://schemas.microsoft.com/office/drawing/2014/main" id="{A7404955-5767-4A97-9203-E473342EAD14}"/>
                  </a:ext>
                </a:extLst>
              </p:cNvPr>
              <p:cNvSpPr/>
              <p:nvPr/>
            </p:nvSpPr>
            <p:spPr>
              <a:xfrm>
                <a:off x="3135081" y="2189374"/>
                <a:ext cx="2539166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6" name="îṡľïḓe">
                <a:extLst>
                  <a:ext uri="{FF2B5EF4-FFF2-40B4-BE49-F238E27FC236}">
                    <a16:creationId xmlns:a16="http://schemas.microsoft.com/office/drawing/2014/main" id="{1A0541CD-5B5C-4B4E-B3C6-07DF3AE26526}"/>
                  </a:ext>
                </a:extLst>
              </p:cNvPr>
              <p:cNvSpPr/>
              <p:nvPr/>
            </p:nvSpPr>
            <p:spPr>
              <a:xfrm>
                <a:off x="5603381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7" name="iṣ1îdè">
                <a:extLst>
                  <a:ext uri="{FF2B5EF4-FFF2-40B4-BE49-F238E27FC236}">
                    <a16:creationId xmlns:a16="http://schemas.microsoft.com/office/drawing/2014/main" id="{3E3FFB44-D921-44E9-B2F5-850426B1EAFF}"/>
                  </a:ext>
                </a:extLst>
              </p:cNvPr>
              <p:cNvSpPr/>
              <p:nvPr/>
            </p:nvSpPr>
            <p:spPr>
              <a:xfrm>
                <a:off x="348875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8" name="íSļïḑé">
                <a:extLst>
                  <a:ext uri="{FF2B5EF4-FFF2-40B4-BE49-F238E27FC236}">
                    <a16:creationId xmlns:a16="http://schemas.microsoft.com/office/drawing/2014/main" id="{139E0F85-4A5F-48F4-89A3-CFB03ED35228}"/>
                  </a:ext>
                </a:extLst>
              </p:cNvPr>
              <p:cNvSpPr/>
              <p:nvPr/>
            </p:nvSpPr>
            <p:spPr>
              <a:xfrm>
                <a:off x="526546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9" name="íŝḷíde">
                <a:extLst>
                  <a:ext uri="{FF2B5EF4-FFF2-40B4-BE49-F238E27FC236}">
                    <a16:creationId xmlns:a16="http://schemas.microsoft.com/office/drawing/2014/main" id="{43BF51CB-504F-4D70-8C2D-794C173C3C80}"/>
                  </a:ext>
                </a:extLst>
              </p:cNvPr>
              <p:cNvSpPr/>
              <p:nvPr/>
            </p:nvSpPr>
            <p:spPr>
              <a:xfrm>
                <a:off x="3806264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0" name="ïś1iḓe">
                <a:extLst>
                  <a:ext uri="{FF2B5EF4-FFF2-40B4-BE49-F238E27FC236}">
                    <a16:creationId xmlns:a16="http://schemas.microsoft.com/office/drawing/2014/main" id="{B1E78AA0-5949-4DF2-807E-F7CE65BEF438}"/>
                  </a:ext>
                </a:extLst>
              </p:cNvPr>
              <p:cNvSpPr/>
              <p:nvPr/>
            </p:nvSpPr>
            <p:spPr>
              <a:xfrm>
                <a:off x="3749363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1" name="ïşḻíḓe">
                <a:extLst>
                  <a:ext uri="{FF2B5EF4-FFF2-40B4-BE49-F238E27FC236}">
                    <a16:creationId xmlns:a16="http://schemas.microsoft.com/office/drawing/2014/main" id="{8229E475-6FDF-4C9A-B558-383AF61C48D8}"/>
                  </a:ext>
                </a:extLst>
              </p:cNvPr>
              <p:cNvSpPr/>
              <p:nvPr/>
            </p:nvSpPr>
            <p:spPr>
              <a:xfrm>
                <a:off x="3538035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2" name="í$ḷïḑê">
                <a:extLst>
                  <a:ext uri="{FF2B5EF4-FFF2-40B4-BE49-F238E27FC236}">
                    <a16:creationId xmlns:a16="http://schemas.microsoft.com/office/drawing/2014/main" id="{1E79EAA1-3818-40B9-B4AF-7C8ACEE1A910}"/>
                  </a:ext>
                </a:extLst>
              </p:cNvPr>
              <p:cNvSpPr/>
              <p:nvPr/>
            </p:nvSpPr>
            <p:spPr>
              <a:xfrm>
                <a:off x="3493328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3" name="î$ľîḑè">
                <a:extLst>
                  <a:ext uri="{FF2B5EF4-FFF2-40B4-BE49-F238E27FC236}">
                    <a16:creationId xmlns:a16="http://schemas.microsoft.com/office/drawing/2014/main" id="{E371FD61-C2D4-4501-BD7A-7BFDAE1D39E4}"/>
                  </a:ext>
                </a:extLst>
              </p:cNvPr>
              <p:cNvSpPr/>
              <p:nvPr/>
            </p:nvSpPr>
            <p:spPr>
              <a:xfrm>
                <a:off x="6161601" y="2189374"/>
                <a:ext cx="2539165" cy="14481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0" y="9674"/>
                      <a:pt x="5515" y="0"/>
                      <a:pt x="12314" y="0"/>
                    </a:cubicBezTo>
                    <a:cubicBezTo>
                      <a:pt x="16025" y="0"/>
                      <a:pt x="19354" y="2885"/>
                      <a:pt x="21600" y="742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4" name="îṣľîḍè">
                <a:extLst>
                  <a:ext uri="{FF2B5EF4-FFF2-40B4-BE49-F238E27FC236}">
                    <a16:creationId xmlns:a16="http://schemas.microsoft.com/office/drawing/2014/main" id="{75008423-9BC0-4FF1-9DBA-EF89198D4A0D}"/>
                  </a:ext>
                </a:extLst>
              </p:cNvPr>
              <p:cNvSpPr/>
              <p:nvPr/>
            </p:nvSpPr>
            <p:spPr>
              <a:xfrm>
                <a:off x="8629902" y="2620530"/>
                <a:ext cx="148718" cy="1537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96" y="0"/>
                    </a:moveTo>
                    <a:lnTo>
                      <a:pt x="0" y="14306"/>
                    </a:lnTo>
                    <a:lnTo>
                      <a:pt x="21600" y="21600"/>
                    </a:lnTo>
                    <a:lnTo>
                      <a:pt x="1739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5" name="iṡľidè">
                <a:extLst>
                  <a:ext uri="{FF2B5EF4-FFF2-40B4-BE49-F238E27FC236}">
                    <a16:creationId xmlns:a16="http://schemas.microsoft.com/office/drawing/2014/main" id="{8F0E1483-0487-4C06-B8DB-C300198F8F68}"/>
                  </a:ext>
                </a:extLst>
              </p:cNvPr>
              <p:cNvSpPr/>
              <p:nvPr/>
            </p:nvSpPr>
            <p:spPr>
              <a:xfrm>
                <a:off x="6515276" y="3552530"/>
                <a:ext cx="1854550" cy="11599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07" h="19790" extrusionOk="0">
                    <a:moveTo>
                      <a:pt x="21407" y="14360"/>
                    </a:moveTo>
                    <a:cubicBezTo>
                      <a:pt x="16510" y="21600"/>
                      <a:pt x="8567" y="21600"/>
                      <a:pt x="3670" y="14360"/>
                    </a:cubicBezTo>
                    <a:cubicBezTo>
                      <a:pt x="1004" y="10418"/>
                      <a:pt x="-193" y="5149"/>
                      <a:pt x="25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6" name="ïşḷiḑe">
                <a:extLst>
                  <a:ext uri="{FF2B5EF4-FFF2-40B4-BE49-F238E27FC236}">
                    <a16:creationId xmlns:a16="http://schemas.microsoft.com/office/drawing/2014/main" id="{F5B9FE29-5215-4AD7-9416-DA7B6A9542C6}"/>
                  </a:ext>
                </a:extLst>
              </p:cNvPr>
              <p:cNvSpPr/>
              <p:nvPr/>
            </p:nvSpPr>
            <p:spPr>
              <a:xfrm>
                <a:off x="8291982" y="4321527"/>
                <a:ext cx="153691" cy="1487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4494"/>
                    </a:moveTo>
                    <a:lnTo>
                      <a:pt x="14306" y="21600"/>
                    </a:lnTo>
                    <a:lnTo>
                      <a:pt x="21600" y="0"/>
                    </a:lnTo>
                    <a:lnTo>
                      <a:pt x="0" y="449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7" name="íšlíḑè">
                <a:extLst>
                  <a:ext uri="{FF2B5EF4-FFF2-40B4-BE49-F238E27FC236}">
                    <a16:creationId xmlns:a16="http://schemas.microsoft.com/office/drawing/2014/main" id="{7A3F20DA-EB58-4CAE-B337-8B3DFEBD4F2F}"/>
                  </a:ext>
                </a:extLst>
              </p:cNvPr>
              <p:cNvSpPr/>
              <p:nvPr/>
            </p:nvSpPr>
            <p:spPr>
              <a:xfrm>
                <a:off x="6832785" y="2541312"/>
                <a:ext cx="1856261" cy="11073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19713" extrusionOk="0">
                    <a:moveTo>
                      <a:pt x="0" y="5663"/>
                    </a:moveTo>
                    <a:cubicBezTo>
                      <a:pt x="4928" y="-1887"/>
                      <a:pt x="12922" y="-1887"/>
                      <a:pt x="17849" y="5663"/>
                    </a:cubicBezTo>
                    <a:cubicBezTo>
                      <a:pt x="20368" y="9521"/>
                      <a:pt x="21600" y="14638"/>
                      <a:pt x="21545" y="19713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8" name="iṩ1îḓê">
                <a:extLst>
                  <a:ext uri="{FF2B5EF4-FFF2-40B4-BE49-F238E27FC236}">
                    <a16:creationId xmlns:a16="http://schemas.microsoft.com/office/drawing/2014/main" id="{AD8C1F44-2494-411A-B29A-B09105CD13FF}"/>
                  </a:ext>
                </a:extLst>
              </p:cNvPr>
              <p:cNvSpPr/>
              <p:nvPr/>
            </p:nvSpPr>
            <p:spPr>
              <a:xfrm>
                <a:off x="6564556" y="3637538"/>
                <a:ext cx="2494386" cy="14501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1941"/>
                      <a:pt x="15986" y="21600"/>
                      <a:pt x="9044" y="21600"/>
                    </a:cubicBezTo>
                    <a:cubicBezTo>
                      <a:pt x="5492" y="21600"/>
                      <a:pt x="2266" y="19036"/>
                      <a:pt x="0" y="14927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9" name="ïśḷïḍe">
                <a:extLst>
                  <a:ext uri="{FF2B5EF4-FFF2-40B4-BE49-F238E27FC236}">
                    <a16:creationId xmlns:a16="http://schemas.microsoft.com/office/drawing/2014/main" id="{BD43F4F0-AAA6-4799-A2AA-3CB8CE89D89C}"/>
                  </a:ext>
                </a:extLst>
              </p:cNvPr>
              <p:cNvSpPr/>
              <p:nvPr/>
            </p:nvSpPr>
            <p:spPr>
              <a:xfrm>
                <a:off x="7162904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ext</a:t>
                </a:r>
                <a:endParaRPr lang="en-US" altLang="zh-CN" sz="1600" i="1" dirty="0"/>
              </a:p>
            </p:txBody>
          </p:sp>
          <p:sp>
            <p:nvSpPr>
              <p:cNvPr id="200" name="îṩľîḋè">
                <a:extLst>
                  <a:ext uri="{FF2B5EF4-FFF2-40B4-BE49-F238E27FC236}">
                    <a16:creationId xmlns:a16="http://schemas.microsoft.com/office/drawing/2014/main" id="{62E60596-A7BA-43CC-985C-DCF3AF17ED7B}"/>
                  </a:ext>
                </a:extLst>
              </p:cNvPr>
              <p:cNvSpPr/>
              <p:nvPr/>
            </p:nvSpPr>
            <p:spPr>
              <a:xfrm>
                <a:off x="4198896" y="3256785"/>
                <a:ext cx="763529" cy="763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i="1"/>
                  <a:t>Text</a:t>
                </a:r>
                <a:endParaRPr lang="en-US" altLang="zh-CN" sz="1600" i="1" dirty="0"/>
              </a:p>
            </p:txBody>
          </p:sp>
          <p:sp>
            <p:nvSpPr>
              <p:cNvPr id="201" name="ïS1íďé">
                <a:extLst>
                  <a:ext uri="{FF2B5EF4-FFF2-40B4-BE49-F238E27FC236}">
                    <a16:creationId xmlns:a16="http://schemas.microsoft.com/office/drawing/2014/main" id="{EAEADA59-B674-41BC-9C22-92121A0CA99D}"/>
                  </a:ext>
                </a:extLst>
              </p:cNvPr>
              <p:cNvSpPr/>
              <p:nvPr/>
            </p:nvSpPr>
            <p:spPr>
              <a:xfrm>
                <a:off x="2411506" y="2915985"/>
                <a:ext cx="1447152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2" name="iṣļiḋé">
                <a:extLst>
                  <a:ext uri="{FF2B5EF4-FFF2-40B4-BE49-F238E27FC236}">
                    <a16:creationId xmlns:a16="http://schemas.microsoft.com/office/drawing/2014/main" id="{7C916FD9-B8CD-46B5-B8FF-67E3AB97ABBE}"/>
                  </a:ext>
                </a:extLst>
              </p:cNvPr>
              <p:cNvSpPr/>
              <p:nvPr/>
            </p:nvSpPr>
            <p:spPr>
              <a:xfrm>
                <a:off x="5308845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/>
              </a:p>
            </p:txBody>
          </p:sp>
          <p:sp>
            <p:nvSpPr>
              <p:cNvPr id="203" name="iṡ1iḑe">
                <a:extLst>
                  <a:ext uri="{FF2B5EF4-FFF2-40B4-BE49-F238E27FC236}">
                    <a16:creationId xmlns:a16="http://schemas.microsoft.com/office/drawing/2014/main" id="{570AFB83-7FFA-40D2-834B-073B384A9C17}"/>
                  </a:ext>
                </a:extLst>
              </p:cNvPr>
              <p:cNvSpPr/>
              <p:nvPr/>
            </p:nvSpPr>
            <p:spPr>
              <a:xfrm>
                <a:off x="8335366" y="2915985"/>
                <a:ext cx="1445128" cy="14451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4" name="iśļîḍê">
                <a:extLst>
                  <a:ext uri="{FF2B5EF4-FFF2-40B4-BE49-F238E27FC236}">
                    <a16:creationId xmlns:a16="http://schemas.microsoft.com/office/drawing/2014/main" id="{23526DBC-D00F-4FBB-B3E3-53D7D9811DFC}"/>
                  </a:ext>
                </a:extLst>
              </p:cNvPr>
              <p:cNvSpPr/>
              <p:nvPr/>
            </p:nvSpPr>
            <p:spPr>
              <a:xfrm>
                <a:off x="6768136" y="2776344"/>
                <a:ext cx="150744" cy="15067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5878"/>
                    </a:moveTo>
                    <a:lnTo>
                      <a:pt x="5722" y="0"/>
                    </a:lnTo>
                    <a:lnTo>
                      <a:pt x="0" y="21600"/>
                    </a:lnTo>
                    <a:lnTo>
                      <a:pt x="21600" y="158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5" name="îsļîḍe">
                <a:extLst>
                  <a:ext uri="{FF2B5EF4-FFF2-40B4-BE49-F238E27FC236}">
                    <a16:creationId xmlns:a16="http://schemas.microsoft.com/office/drawing/2014/main" id="{4C9FE9D5-43F8-4ED2-93FE-905AC768EDA3}"/>
                  </a:ext>
                </a:extLst>
              </p:cNvPr>
              <p:cNvSpPr/>
              <p:nvPr/>
            </p:nvSpPr>
            <p:spPr>
              <a:xfrm>
                <a:off x="6515276" y="4599671"/>
                <a:ext cx="151720" cy="1507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826" y="21600"/>
                    </a:moveTo>
                    <a:lnTo>
                      <a:pt x="21600" y="5722"/>
                    </a:lnTo>
                    <a:lnTo>
                      <a:pt x="0" y="0"/>
                    </a:lnTo>
                    <a:lnTo>
                      <a:pt x="5826" y="2160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round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6" name="îŝļïḑè">
                <a:extLst>
                  <a:ext uri="{FF2B5EF4-FFF2-40B4-BE49-F238E27FC236}">
                    <a16:creationId xmlns:a16="http://schemas.microsoft.com/office/drawing/2014/main" id="{36958D3D-56DF-42CC-B430-A9878D5F1527}"/>
                  </a:ext>
                </a:extLst>
              </p:cNvPr>
              <p:cNvSpPr/>
              <p:nvPr/>
            </p:nvSpPr>
            <p:spPr>
              <a:xfrm>
                <a:off x="2768308" y="3333203"/>
                <a:ext cx="733546" cy="610688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íŝļíḑe">
                <a:extLst>
                  <a:ext uri="{FF2B5EF4-FFF2-40B4-BE49-F238E27FC236}">
                    <a16:creationId xmlns:a16="http://schemas.microsoft.com/office/drawing/2014/main" id="{4B73AFA0-A624-430B-B3C1-CDCC271CEAC3}"/>
                  </a:ext>
                </a:extLst>
              </p:cNvPr>
              <p:cNvSpPr/>
              <p:nvPr/>
            </p:nvSpPr>
            <p:spPr>
              <a:xfrm>
                <a:off x="5664635" y="3346488"/>
                <a:ext cx="733546" cy="584120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iṣ1iďe">
                <a:extLst>
                  <a:ext uri="{FF2B5EF4-FFF2-40B4-BE49-F238E27FC236}">
                    <a16:creationId xmlns:a16="http://schemas.microsoft.com/office/drawing/2014/main" id="{CC8BBE8B-70BE-4363-9F57-398B394D09B3}"/>
                  </a:ext>
                </a:extLst>
              </p:cNvPr>
              <p:cNvSpPr/>
              <p:nvPr/>
            </p:nvSpPr>
            <p:spPr>
              <a:xfrm>
                <a:off x="8786244" y="3271775"/>
                <a:ext cx="543367" cy="733546"/>
              </a:xfrm>
              <a:custGeom>
                <a:avLst/>
                <a:gdLst>
                  <a:gd name="connsiteX0" fmla="*/ 85725 w 381000"/>
                  <a:gd name="connsiteY0" fmla="*/ 38100 h 514350"/>
                  <a:gd name="connsiteX1" fmla="*/ 85725 w 381000"/>
                  <a:gd name="connsiteY1" fmla="*/ 57150 h 514350"/>
                  <a:gd name="connsiteX2" fmla="*/ 121920 w 381000"/>
                  <a:gd name="connsiteY2" fmla="*/ 95250 h 514350"/>
                  <a:gd name="connsiteX3" fmla="*/ 123825 w 381000"/>
                  <a:gd name="connsiteY3" fmla="*/ 95250 h 514350"/>
                  <a:gd name="connsiteX4" fmla="*/ 257175 w 381000"/>
                  <a:gd name="connsiteY4" fmla="*/ 95250 h 514350"/>
                  <a:gd name="connsiteX5" fmla="*/ 295275 w 381000"/>
                  <a:gd name="connsiteY5" fmla="*/ 59055 h 514350"/>
                  <a:gd name="connsiteX6" fmla="*/ 295275 w 381000"/>
                  <a:gd name="connsiteY6" fmla="*/ 57150 h 514350"/>
                  <a:gd name="connsiteX7" fmla="*/ 295275 w 381000"/>
                  <a:gd name="connsiteY7" fmla="*/ 38100 h 514350"/>
                  <a:gd name="connsiteX8" fmla="*/ 352425 w 381000"/>
                  <a:gd name="connsiteY8" fmla="*/ 38100 h 514350"/>
                  <a:gd name="connsiteX9" fmla="*/ 381000 w 381000"/>
                  <a:gd name="connsiteY9" fmla="*/ 66675 h 514350"/>
                  <a:gd name="connsiteX10" fmla="*/ 381000 w 381000"/>
                  <a:gd name="connsiteY10" fmla="*/ 485775 h 514350"/>
                  <a:gd name="connsiteX11" fmla="*/ 352425 w 381000"/>
                  <a:gd name="connsiteY11" fmla="*/ 514350 h 514350"/>
                  <a:gd name="connsiteX12" fmla="*/ 28575 w 381000"/>
                  <a:gd name="connsiteY12" fmla="*/ 514350 h 514350"/>
                  <a:gd name="connsiteX13" fmla="*/ 0 w 381000"/>
                  <a:gd name="connsiteY13" fmla="*/ 485775 h 514350"/>
                  <a:gd name="connsiteX14" fmla="*/ 0 w 381000"/>
                  <a:gd name="connsiteY14" fmla="*/ 66675 h 514350"/>
                  <a:gd name="connsiteX15" fmla="*/ 28575 w 381000"/>
                  <a:gd name="connsiteY15" fmla="*/ 38100 h 514350"/>
                  <a:gd name="connsiteX16" fmla="*/ 85725 w 381000"/>
                  <a:gd name="connsiteY16" fmla="*/ 38100 h 514350"/>
                  <a:gd name="connsiteX17" fmla="*/ 190500 w 381000"/>
                  <a:gd name="connsiteY17" fmla="*/ 333375 h 514350"/>
                  <a:gd name="connsiteX18" fmla="*/ 76200 w 381000"/>
                  <a:gd name="connsiteY18" fmla="*/ 333375 h 514350"/>
                  <a:gd name="connsiteX19" fmla="*/ 76200 w 381000"/>
                  <a:gd name="connsiteY19" fmla="*/ 352425 h 514350"/>
                  <a:gd name="connsiteX20" fmla="*/ 190500 w 381000"/>
                  <a:gd name="connsiteY20" fmla="*/ 352425 h 514350"/>
                  <a:gd name="connsiteX21" fmla="*/ 190500 w 381000"/>
                  <a:gd name="connsiteY21" fmla="*/ 333375 h 514350"/>
                  <a:gd name="connsiteX22" fmla="*/ 304800 w 381000"/>
                  <a:gd name="connsiteY22" fmla="*/ 257175 h 514350"/>
                  <a:gd name="connsiteX23" fmla="*/ 76200 w 381000"/>
                  <a:gd name="connsiteY23" fmla="*/ 257175 h 514350"/>
                  <a:gd name="connsiteX24" fmla="*/ 76200 w 381000"/>
                  <a:gd name="connsiteY24" fmla="*/ 276225 h 514350"/>
                  <a:gd name="connsiteX25" fmla="*/ 304800 w 381000"/>
                  <a:gd name="connsiteY25" fmla="*/ 276225 h 514350"/>
                  <a:gd name="connsiteX26" fmla="*/ 304800 w 381000"/>
                  <a:gd name="connsiteY26" fmla="*/ 257175 h 514350"/>
                  <a:gd name="connsiteX27" fmla="*/ 304800 w 381000"/>
                  <a:gd name="connsiteY27" fmla="*/ 180975 h 514350"/>
                  <a:gd name="connsiteX28" fmla="*/ 76200 w 381000"/>
                  <a:gd name="connsiteY28" fmla="*/ 180975 h 514350"/>
                  <a:gd name="connsiteX29" fmla="*/ 76200 w 381000"/>
                  <a:gd name="connsiteY29" fmla="*/ 200025 h 514350"/>
                  <a:gd name="connsiteX30" fmla="*/ 304800 w 381000"/>
                  <a:gd name="connsiteY30" fmla="*/ 200025 h 514350"/>
                  <a:gd name="connsiteX31" fmla="*/ 304800 w 381000"/>
                  <a:gd name="connsiteY31" fmla="*/ 180975 h 514350"/>
                  <a:gd name="connsiteX32" fmla="*/ 247650 w 381000"/>
                  <a:gd name="connsiteY32" fmla="*/ 0 h 514350"/>
                  <a:gd name="connsiteX33" fmla="*/ 276225 w 381000"/>
                  <a:gd name="connsiteY33" fmla="*/ 28575 h 514350"/>
                  <a:gd name="connsiteX34" fmla="*/ 276225 w 381000"/>
                  <a:gd name="connsiteY34" fmla="*/ 47625 h 514350"/>
                  <a:gd name="connsiteX35" fmla="*/ 247650 w 381000"/>
                  <a:gd name="connsiteY35" fmla="*/ 76200 h 514350"/>
                  <a:gd name="connsiteX36" fmla="*/ 133350 w 381000"/>
                  <a:gd name="connsiteY36" fmla="*/ 76200 h 514350"/>
                  <a:gd name="connsiteX37" fmla="*/ 104775 w 381000"/>
                  <a:gd name="connsiteY37" fmla="*/ 47625 h 514350"/>
                  <a:gd name="connsiteX38" fmla="*/ 104775 w 381000"/>
                  <a:gd name="connsiteY38" fmla="*/ 28575 h 514350"/>
                  <a:gd name="connsiteX39" fmla="*/ 133350 w 381000"/>
                  <a:gd name="connsiteY39" fmla="*/ 0 h 514350"/>
                  <a:gd name="connsiteX40" fmla="*/ 247650 w 381000"/>
                  <a:gd name="connsiteY40" fmla="*/ 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81000" h="514350">
                    <a:moveTo>
                      <a:pt x="85725" y="38100"/>
                    </a:moveTo>
                    <a:lnTo>
                      <a:pt x="85725" y="57150"/>
                    </a:lnTo>
                    <a:cubicBezTo>
                      <a:pt x="85725" y="77534"/>
                      <a:pt x="101727" y="94202"/>
                      <a:pt x="121920" y="95250"/>
                    </a:cubicBezTo>
                    <a:lnTo>
                      <a:pt x="123825" y="95250"/>
                    </a:lnTo>
                    <a:lnTo>
                      <a:pt x="257175" y="95250"/>
                    </a:lnTo>
                    <a:cubicBezTo>
                      <a:pt x="277559" y="95250"/>
                      <a:pt x="294227" y="79248"/>
                      <a:pt x="295275" y="59055"/>
                    </a:cubicBezTo>
                    <a:lnTo>
                      <a:pt x="295275" y="57150"/>
                    </a:lnTo>
                    <a:lnTo>
                      <a:pt x="295275" y="38100"/>
                    </a:lnTo>
                    <a:lnTo>
                      <a:pt x="352425" y="38100"/>
                    </a:lnTo>
                    <a:cubicBezTo>
                      <a:pt x="368236" y="38100"/>
                      <a:pt x="381000" y="50864"/>
                      <a:pt x="381000" y="66675"/>
                    </a:cubicBezTo>
                    <a:lnTo>
                      <a:pt x="381000" y="485775"/>
                    </a:lnTo>
                    <a:cubicBezTo>
                      <a:pt x="381000" y="501587"/>
                      <a:pt x="368236" y="514350"/>
                      <a:pt x="352425" y="514350"/>
                    </a:cubicBezTo>
                    <a:lnTo>
                      <a:pt x="28575" y="514350"/>
                    </a:lnTo>
                    <a:cubicBezTo>
                      <a:pt x="12764" y="514350"/>
                      <a:pt x="0" y="501587"/>
                      <a:pt x="0" y="485775"/>
                    </a:cubicBezTo>
                    <a:lnTo>
                      <a:pt x="0" y="66675"/>
                    </a:lnTo>
                    <a:cubicBezTo>
                      <a:pt x="0" y="50864"/>
                      <a:pt x="12764" y="38100"/>
                      <a:pt x="28575" y="38100"/>
                    </a:cubicBezTo>
                    <a:lnTo>
                      <a:pt x="85725" y="38100"/>
                    </a:lnTo>
                    <a:close/>
                    <a:moveTo>
                      <a:pt x="190500" y="333375"/>
                    </a:moveTo>
                    <a:lnTo>
                      <a:pt x="76200" y="333375"/>
                    </a:lnTo>
                    <a:lnTo>
                      <a:pt x="76200" y="352425"/>
                    </a:lnTo>
                    <a:lnTo>
                      <a:pt x="190500" y="352425"/>
                    </a:lnTo>
                    <a:lnTo>
                      <a:pt x="190500" y="333375"/>
                    </a:lnTo>
                    <a:close/>
                    <a:moveTo>
                      <a:pt x="304800" y="257175"/>
                    </a:moveTo>
                    <a:lnTo>
                      <a:pt x="76200" y="257175"/>
                    </a:lnTo>
                    <a:lnTo>
                      <a:pt x="76200" y="276225"/>
                    </a:lnTo>
                    <a:lnTo>
                      <a:pt x="304800" y="276225"/>
                    </a:lnTo>
                    <a:lnTo>
                      <a:pt x="304800" y="257175"/>
                    </a:lnTo>
                    <a:close/>
                    <a:moveTo>
                      <a:pt x="304800" y="180975"/>
                    </a:moveTo>
                    <a:lnTo>
                      <a:pt x="76200" y="180975"/>
                    </a:lnTo>
                    <a:lnTo>
                      <a:pt x="76200" y="200025"/>
                    </a:lnTo>
                    <a:lnTo>
                      <a:pt x="304800" y="200025"/>
                    </a:lnTo>
                    <a:lnTo>
                      <a:pt x="304800" y="180975"/>
                    </a:lnTo>
                    <a:close/>
                    <a:moveTo>
                      <a:pt x="247650" y="0"/>
                    </a:moveTo>
                    <a:cubicBezTo>
                      <a:pt x="263461" y="0"/>
                      <a:pt x="276225" y="12763"/>
                      <a:pt x="276225" y="28575"/>
                    </a:cubicBezTo>
                    <a:lnTo>
                      <a:pt x="276225" y="47625"/>
                    </a:lnTo>
                    <a:cubicBezTo>
                      <a:pt x="276225" y="63437"/>
                      <a:pt x="263461" y="76200"/>
                      <a:pt x="247650" y="76200"/>
                    </a:cubicBezTo>
                    <a:lnTo>
                      <a:pt x="133350" y="76200"/>
                    </a:lnTo>
                    <a:cubicBezTo>
                      <a:pt x="117539" y="76200"/>
                      <a:pt x="104775" y="63437"/>
                      <a:pt x="104775" y="47625"/>
                    </a:cubicBezTo>
                    <a:lnTo>
                      <a:pt x="104775" y="28575"/>
                    </a:lnTo>
                    <a:cubicBezTo>
                      <a:pt x="104775" y="12763"/>
                      <a:pt x="117539" y="0"/>
                      <a:pt x="133350" y="0"/>
                    </a:cubicBezTo>
                    <a:lnTo>
                      <a:pt x="24765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7" name="iṥḻíḍê">
              <a:extLst>
                <a:ext uri="{FF2B5EF4-FFF2-40B4-BE49-F238E27FC236}">
                  <a16:creationId xmlns:a16="http://schemas.microsoft.com/office/drawing/2014/main" id="{3644879C-2B8B-4C49-AFA4-CD343A63E63F}"/>
                </a:ext>
              </a:extLst>
            </p:cNvPr>
            <p:cNvGrpSpPr/>
            <p:nvPr/>
          </p:nvGrpSpPr>
          <p:grpSpPr>
            <a:xfrm>
              <a:off x="1220655" y="3687515"/>
              <a:ext cx="3509735" cy="2459285"/>
              <a:chOff x="673100" y="3687515"/>
              <a:chExt cx="3509735" cy="2459285"/>
            </a:xfrm>
          </p:grpSpPr>
          <p:sp>
            <p:nvSpPr>
              <p:cNvPr id="182" name="ïśļíḑ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3" name="iṥlîḑé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  <p:sp>
            <p:nvSpPr>
              <p:cNvPr id="184" name="isḻîḓ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78" name="íṧḷíḍê">
              <a:extLst>
                <a:ext uri="{FF2B5EF4-FFF2-40B4-BE49-F238E27FC236}">
                  <a16:creationId xmlns:a16="http://schemas.microsoft.com/office/drawing/2014/main" id="{FF52514D-E1BE-40C1-84A7-0FC6B13876AE}"/>
                </a:ext>
              </a:extLst>
            </p:cNvPr>
            <p:cNvGrpSpPr/>
            <p:nvPr/>
          </p:nvGrpSpPr>
          <p:grpSpPr>
            <a:xfrm>
              <a:off x="7461610" y="3687515"/>
              <a:ext cx="3509735" cy="2459285"/>
              <a:chOff x="673100" y="3687515"/>
              <a:chExt cx="3509735" cy="2459285"/>
            </a:xfrm>
          </p:grpSpPr>
          <p:sp>
            <p:nvSpPr>
              <p:cNvPr id="179" name="ïṣlîḑ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418283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0" name="i$lîďe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3687515"/>
                <a:ext cx="3509735" cy="394173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  <p:sp>
            <p:nvSpPr>
              <p:cNvPr id="181" name="ïS1ïḍê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5183892"/>
                <a:ext cx="3509735" cy="9629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6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874563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1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ṩḷiďé">
            <a:extLst>
              <a:ext uri="{FF2B5EF4-FFF2-40B4-BE49-F238E27FC236}">
                <a16:creationId xmlns:a16="http://schemas.microsoft.com/office/drawing/2014/main" id="{F397801C-2DBF-4ECC-82DD-B964EBD1A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ṥḻïḍê">
            <a:extLst>
              <a:ext uri="{FF2B5EF4-FFF2-40B4-BE49-F238E27FC236}">
                <a16:creationId xmlns:a16="http://schemas.microsoft.com/office/drawing/2014/main" id="{00405040-AAE2-483B-AC92-206A48D8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ṡ1íḍè">
            <a:extLst>
              <a:ext uri="{FF2B5EF4-FFF2-40B4-BE49-F238E27FC236}">
                <a16:creationId xmlns:a16="http://schemas.microsoft.com/office/drawing/2014/main" id="{47FC52F1-BE08-49BB-B17D-0CEDAB1BC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iṣlîḓ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F994E53-6D51-4296-B490-EC39D8075A2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302637"/>
            <a:ext cx="10850563" cy="4652350"/>
            <a:chOff x="669925" y="1302637"/>
            <a:chExt cx="10850563" cy="4652350"/>
          </a:xfrm>
        </p:grpSpPr>
        <p:grpSp>
          <p:nvGrpSpPr>
            <p:cNvPr id="6" name="îŝľïḋê">
              <a:extLst>
                <a:ext uri="{FF2B5EF4-FFF2-40B4-BE49-F238E27FC236}">
                  <a16:creationId xmlns:a16="http://schemas.microsoft.com/office/drawing/2014/main" id="{CF1672F9-4367-43AD-9EB3-917FF9DB4651}"/>
                </a:ext>
              </a:extLst>
            </p:cNvPr>
            <p:cNvGrpSpPr/>
            <p:nvPr/>
          </p:nvGrpSpPr>
          <p:grpSpPr>
            <a:xfrm>
              <a:off x="4546422" y="2181715"/>
              <a:ext cx="1549577" cy="2016367"/>
              <a:chOff x="2139862" y="2630367"/>
              <a:chExt cx="1549577" cy="2016367"/>
            </a:xfrm>
          </p:grpSpPr>
          <p:sp>
            <p:nvSpPr>
              <p:cNvPr id="21" name="ïṡḷîḍe">
                <a:extLst>
                  <a:ext uri="{FF2B5EF4-FFF2-40B4-BE49-F238E27FC236}">
                    <a16:creationId xmlns:a16="http://schemas.microsoft.com/office/drawing/2014/main" id="{9865AAAC-9FED-C342-95AF-CD6D240E6AAB}"/>
                  </a:ext>
                </a:extLst>
              </p:cNvPr>
              <p:cNvSpPr/>
              <p:nvPr/>
            </p:nvSpPr>
            <p:spPr bwMode="auto">
              <a:xfrm>
                <a:off x="2139862" y="274124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2" name="iSlîḍè">
                <a:extLst>
                  <a:ext uri="{FF2B5EF4-FFF2-40B4-BE49-F238E27FC236}">
                    <a16:creationId xmlns:a16="http://schemas.microsoft.com/office/drawing/2014/main" id="{70DFDA50-D1DB-364A-AD80-DBAF248C7492}"/>
                  </a:ext>
                </a:extLst>
              </p:cNvPr>
              <p:cNvSpPr/>
              <p:nvPr/>
            </p:nvSpPr>
            <p:spPr bwMode="auto">
              <a:xfrm>
                <a:off x="2139862" y="263036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3" name="íSļiḋe">
                <a:extLst>
                  <a:ext uri="{FF2B5EF4-FFF2-40B4-BE49-F238E27FC236}">
                    <a16:creationId xmlns:a16="http://schemas.microsoft.com/office/drawing/2014/main" id="{A39EF883-7C85-4822-878C-A6812B792596}"/>
                  </a:ext>
                </a:extLst>
              </p:cNvPr>
              <p:cNvSpPr/>
              <p:nvPr/>
            </p:nvSpPr>
            <p:spPr>
              <a:xfrm>
                <a:off x="2581275" y="3360615"/>
                <a:ext cx="666750" cy="666750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" name="ïŝlïḋe">
              <a:extLst>
                <a:ext uri="{FF2B5EF4-FFF2-40B4-BE49-F238E27FC236}">
                  <a16:creationId xmlns:a16="http://schemas.microsoft.com/office/drawing/2014/main" id="{1782313C-096C-4EC8-AB2C-D475B2832239}"/>
                </a:ext>
              </a:extLst>
            </p:cNvPr>
            <p:cNvGrpSpPr/>
            <p:nvPr/>
          </p:nvGrpSpPr>
          <p:grpSpPr>
            <a:xfrm>
              <a:off x="6096000" y="3079018"/>
              <a:ext cx="1549577" cy="2016367"/>
              <a:chOff x="4260762" y="2630367"/>
              <a:chExt cx="1549577" cy="2016367"/>
            </a:xfrm>
          </p:grpSpPr>
          <p:sp>
            <p:nvSpPr>
              <p:cNvPr id="18" name="íṥḷiḍè">
                <a:extLst>
                  <a:ext uri="{FF2B5EF4-FFF2-40B4-BE49-F238E27FC236}">
                    <a16:creationId xmlns:a16="http://schemas.microsoft.com/office/drawing/2014/main" id="{9865AAAC-9FED-C342-95AF-CD6D240E6AAB}"/>
                  </a:ext>
                </a:extLst>
              </p:cNvPr>
              <p:cNvSpPr/>
              <p:nvPr/>
            </p:nvSpPr>
            <p:spPr bwMode="auto">
              <a:xfrm flipV="1">
                <a:off x="4260762" y="263036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" name="íṡlide">
                <a:extLst>
                  <a:ext uri="{FF2B5EF4-FFF2-40B4-BE49-F238E27FC236}">
                    <a16:creationId xmlns:a16="http://schemas.microsoft.com/office/drawing/2014/main" id="{70DFDA50-D1DB-364A-AD80-DBAF248C7492}"/>
                  </a:ext>
                </a:extLst>
              </p:cNvPr>
              <p:cNvSpPr/>
              <p:nvPr/>
            </p:nvSpPr>
            <p:spPr bwMode="auto">
              <a:xfrm flipV="1">
                <a:off x="4260762" y="274124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0" name="işḻïḋè">
                <a:extLst>
                  <a:ext uri="{FF2B5EF4-FFF2-40B4-BE49-F238E27FC236}">
                    <a16:creationId xmlns:a16="http://schemas.microsoft.com/office/drawing/2014/main" id="{7418CD79-A279-45C6-BDAD-AACB90F17761}"/>
                  </a:ext>
                </a:extLst>
              </p:cNvPr>
              <p:cNvSpPr/>
              <p:nvPr/>
            </p:nvSpPr>
            <p:spPr>
              <a:xfrm>
                <a:off x="4702175" y="3249736"/>
                <a:ext cx="666750" cy="666750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8" name="iṥlïḍé">
              <a:extLst>
                <a:ext uri="{FF2B5EF4-FFF2-40B4-BE49-F238E27FC236}">
                  <a16:creationId xmlns:a16="http://schemas.microsoft.com/office/drawing/2014/main" id="{8648F65D-B979-482F-BF8B-7076759C0A12}"/>
                </a:ext>
              </a:extLst>
            </p:cNvPr>
            <p:cNvCxnSpPr>
              <a:stCxn id="21" idx="2"/>
            </p:cNvCxnSpPr>
            <p:nvPr/>
          </p:nvCxnSpPr>
          <p:spPr>
            <a:xfrm flipH="1">
              <a:off x="669925" y="4178605"/>
              <a:ext cx="459594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iṥļíďé">
              <a:extLst>
                <a:ext uri="{FF2B5EF4-FFF2-40B4-BE49-F238E27FC236}">
                  <a16:creationId xmlns:a16="http://schemas.microsoft.com/office/drawing/2014/main" id="{C16A67F1-2EC3-4576-A54E-57F0AE1305A2}"/>
                </a:ext>
              </a:extLst>
            </p:cNvPr>
            <p:cNvCxnSpPr>
              <a:stCxn id="18" idx="3"/>
            </p:cNvCxnSpPr>
            <p:nvPr/>
          </p:nvCxnSpPr>
          <p:spPr>
            <a:xfrm flipV="1">
              <a:off x="6926131" y="3079019"/>
              <a:ext cx="459435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îS1îdê">
              <a:extLst>
                <a:ext uri="{FF2B5EF4-FFF2-40B4-BE49-F238E27FC236}">
                  <a16:creationId xmlns:a16="http://schemas.microsoft.com/office/drawing/2014/main" id="{B0AE2B88-D0B2-438D-901F-DCEF7FA44F14}"/>
                </a:ext>
              </a:extLst>
            </p:cNvPr>
            <p:cNvGrpSpPr/>
            <p:nvPr/>
          </p:nvGrpSpPr>
          <p:grpSpPr>
            <a:xfrm>
              <a:off x="893807" y="1302637"/>
              <a:ext cx="3431908" cy="2790243"/>
              <a:chOff x="673100" y="1130300"/>
              <a:chExt cx="3025122" cy="2790243"/>
            </a:xfrm>
          </p:grpSpPr>
          <p:sp>
            <p:nvSpPr>
              <p:cNvPr id="15" name="íSļïḍê">
                <a:extLst>
                  <a:ext uri="{FF2B5EF4-FFF2-40B4-BE49-F238E27FC236}">
                    <a16:creationId xmlns:a16="http://schemas.microsoft.com/office/drawing/2014/main" id="{BAF77048-6151-4B25-B98F-2C92E82F4B6F}"/>
                  </a:ext>
                </a:extLst>
              </p:cNvPr>
              <p:cNvSpPr txBox="1"/>
              <p:nvPr/>
            </p:nvSpPr>
            <p:spPr bwMode="auto">
              <a:xfrm>
                <a:off x="673100" y="1130300"/>
                <a:ext cx="302512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16" name="is1îdè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673100" y="1659943"/>
                <a:ext cx="3025122" cy="1130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7" name="iSļïḓê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673100" y="2790243"/>
                <a:ext cx="3025122" cy="1130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1" name="ïṥ1iďê">
              <a:extLst>
                <a:ext uri="{FF2B5EF4-FFF2-40B4-BE49-F238E27FC236}">
                  <a16:creationId xmlns:a16="http://schemas.microsoft.com/office/drawing/2014/main" id="{9CF1E069-7DBA-402A-A055-6E43E7A9DE8D}"/>
                </a:ext>
              </a:extLst>
            </p:cNvPr>
            <p:cNvGrpSpPr/>
            <p:nvPr/>
          </p:nvGrpSpPr>
          <p:grpSpPr>
            <a:xfrm>
              <a:off x="7866284" y="3164744"/>
              <a:ext cx="3431908" cy="2790243"/>
              <a:chOff x="673100" y="1130300"/>
              <a:chExt cx="3025122" cy="2790243"/>
            </a:xfrm>
          </p:grpSpPr>
          <p:sp>
            <p:nvSpPr>
              <p:cNvPr id="12" name="ïşľîḑe">
                <a:extLst>
                  <a:ext uri="{FF2B5EF4-FFF2-40B4-BE49-F238E27FC236}">
                    <a16:creationId xmlns:a16="http://schemas.microsoft.com/office/drawing/2014/main" id="{BAF77048-6151-4B25-B98F-2C92E82F4B6F}"/>
                  </a:ext>
                </a:extLst>
              </p:cNvPr>
              <p:cNvSpPr txBox="1"/>
              <p:nvPr/>
            </p:nvSpPr>
            <p:spPr bwMode="auto">
              <a:xfrm>
                <a:off x="673100" y="1130300"/>
                <a:ext cx="302512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13" name="ïṥḷiḍe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673100" y="1659943"/>
                <a:ext cx="3025122" cy="1130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" name="ïs1íḓè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673100" y="2790243"/>
                <a:ext cx="3025122" cy="1130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15763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ļ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líḑé">
            <a:extLst>
              <a:ext uri="{FF2B5EF4-FFF2-40B4-BE49-F238E27FC236}">
                <a16:creationId xmlns:a16="http://schemas.microsoft.com/office/drawing/2014/main" id="{5667635B-7FA4-453F-BCD6-2DC3E1C8B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ṡ1îḋé">
            <a:extLst>
              <a:ext uri="{FF2B5EF4-FFF2-40B4-BE49-F238E27FC236}">
                <a16:creationId xmlns:a16="http://schemas.microsoft.com/office/drawing/2014/main" id="{26101017-5C2F-4A99-9948-547744648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ṡľïḑè">
            <a:extLst>
              <a:ext uri="{FF2B5EF4-FFF2-40B4-BE49-F238E27FC236}">
                <a16:creationId xmlns:a16="http://schemas.microsoft.com/office/drawing/2014/main" id="{2DB0D580-5894-4E6A-99E8-A66BE9637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71" name="îşļíd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4F3711C-339D-43B9-8789-6E6022C03D08}"/>
              </a:ext>
            </a:extLst>
          </p:cNvPr>
          <p:cNvGrpSpPr>
            <a:grpSpLocks noChangeAspect="1"/>
          </p:cNvGrpSpPr>
          <p:nvPr/>
        </p:nvGrpSpPr>
        <p:grpSpPr>
          <a:xfrm>
            <a:off x="671513" y="1716182"/>
            <a:ext cx="10848974" cy="3844736"/>
            <a:chOff x="671513" y="1716182"/>
            <a:chExt cx="10848974" cy="3844736"/>
          </a:xfrm>
        </p:grpSpPr>
        <p:sp>
          <p:nvSpPr>
            <p:cNvPr id="72" name="îṣḷïḋè">
              <a:extLst>
                <a:ext uri="{FF2B5EF4-FFF2-40B4-BE49-F238E27FC236}">
                  <a16:creationId xmlns:a16="http://schemas.microsoft.com/office/drawing/2014/main" id="{249D6EC0-7184-490B-BC35-94A1EA33C50B}"/>
                </a:ext>
              </a:extLst>
            </p:cNvPr>
            <p:cNvSpPr/>
            <p:nvPr/>
          </p:nvSpPr>
          <p:spPr bwMode="auto">
            <a:xfrm>
              <a:off x="674688" y="1716182"/>
              <a:ext cx="3494296" cy="3844736"/>
            </a:xfrm>
            <a:custGeom>
              <a:avLst/>
              <a:gdLst>
                <a:gd name="T0" fmla="*/ 283 w 2074"/>
                <a:gd name="T1" fmla="*/ 0 h 2282"/>
                <a:gd name="T2" fmla="*/ 1306 w 2074"/>
                <a:gd name="T3" fmla="*/ 0 h 2282"/>
                <a:gd name="T4" fmla="*/ 1350 w 2074"/>
                <a:gd name="T5" fmla="*/ 5 h 2282"/>
                <a:gd name="T6" fmla="*/ 1394 w 2074"/>
                <a:gd name="T7" fmla="*/ 17 h 2282"/>
                <a:gd name="T8" fmla="*/ 1434 w 2074"/>
                <a:gd name="T9" fmla="*/ 36 h 2282"/>
                <a:gd name="T10" fmla="*/ 1471 w 2074"/>
                <a:gd name="T11" fmla="*/ 61 h 2282"/>
                <a:gd name="T12" fmla="*/ 1503 w 2074"/>
                <a:gd name="T13" fmla="*/ 91 h 2282"/>
                <a:gd name="T14" fmla="*/ 1529 w 2074"/>
                <a:gd name="T15" fmla="*/ 129 h 2282"/>
                <a:gd name="T16" fmla="*/ 2040 w 2074"/>
                <a:gd name="T17" fmla="*/ 1010 h 2282"/>
                <a:gd name="T18" fmla="*/ 2058 w 2074"/>
                <a:gd name="T19" fmla="*/ 1052 h 2282"/>
                <a:gd name="T20" fmla="*/ 2070 w 2074"/>
                <a:gd name="T21" fmla="*/ 1096 h 2282"/>
                <a:gd name="T22" fmla="*/ 2074 w 2074"/>
                <a:gd name="T23" fmla="*/ 1139 h 2282"/>
                <a:gd name="T24" fmla="*/ 2070 w 2074"/>
                <a:gd name="T25" fmla="*/ 1185 h 2282"/>
                <a:gd name="T26" fmla="*/ 2058 w 2074"/>
                <a:gd name="T27" fmla="*/ 1227 h 2282"/>
                <a:gd name="T28" fmla="*/ 2040 w 2074"/>
                <a:gd name="T29" fmla="*/ 1269 h 2282"/>
                <a:gd name="T30" fmla="*/ 1529 w 2074"/>
                <a:gd name="T31" fmla="*/ 2152 h 2282"/>
                <a:gd name="T32" fmla="*/ 1503 w 2074"/>
                <a:gd name="T33" fmla="*/ 2189 h 2282"/>
                <a:gd name="T34" fmla="*/ 1471 w 2074"/>
                <a:gd name="T35" fmla="*/ 2221 h 2282"/>
                <a:gd name="T36" fmla="*/ 1434 w 2074"/>
                <a:gd name="T37" fmla="*/ 2247 h 2282"/>
                <a:gd name="T38" fmla="*/ 1394 w 2074"/>
                <a:gd name="T39" fmla="*/ 2265 h 2282"/>
                <a:gd name="T40" fmla="*/ 1350 w 2074"/>
                <a:gd name="T41" fmla="*/ 2277 h 2282"/>
                <a:gd name="T42" fmla="*/ 1306 w 2074"/>
                <a:gd name="T43" fmla="*/ 2282 h 2282"/>
                <a:gd name="T44" fmla="*/ 283 w 2074"/>
                <a:gd name="T45" fmla="*/ 2282 h 2282"/>
                <a:gd name="T46" fmla="*/ 238 w 2074"/>
                <a:gd name="T47" fmla="*/ 2277 h 2282"/>
                <a:gd name="T48" fmla="*/ 194 w 2074"/>
                <a:gd name="T49" fmla="*/ 2265 h 2282"/>
                <a:gd name="T50" fmla="*/ 154 w 2074"/>
                <a:gd name="T51" fmla="*/ 2247 h 2282"/>
                <a:gd name="T52" fmla="*/ 118 w 2074"/>
                <a:gd name="T53" fmla="*/ 2221 h 2282"/>
                <a:gd name="T54" fmla="*/ 86 w 2074"/>
                <a:gd name="T55" fmla="*/ 2189 h 2282"/>
                <a:gd name="T56" fmla="*/ 59 w 2074"/>
                <a:gd name="T57" fmla="*/ 2152 h 2282"/>
                <a:gd name="T58" fmla="*/ 0 w 2074"/>
                <a:gd name="T59" fmla="*/ 2049 h 2282"/>
                <a:gd name="T60" fmla="*/ 800 w 2074"/>
                <a:gd name="T61" fmla="*/ 2049 h 2282"/>
                <a:gd name="T62" fmla="*/ 844 w 2074"/>
                <a:gd name="T63" fmla="*/ 2044 h 2282"/>
                <a:gd name="T64" fmla="*/ 884 w 2074"/>
                <a:gd name="T65" fmla="*/ 2031 h 2282"/>
                <a:gd name="T66" fmla="*/ 921 w 2074"/>
                <a:gd name="T67" fmla="*/ 2010 h 2282"/>
                <a:gd name="T68" fmla="*/ 953 w 2074"/>
                <a:gd name="T69" fmla="*/ 1982 h 2282"/>
                <a:gd name="T70" fmla="*/ 979 w 2074"/>
                <a:gd name="T71" fmla="*/ 1946 h 2282"/>
                <a:gd name="T72" fmla="*/ 1385 w 2074"/>
                <a:gd name="T73" fmla="*/ 1242 h 2282"/>
                <a:gd name="T74" fmla="*/ 1402 w 2074"/>
                <a:gd name="T75" fmla="*/ 1204 h 2282"/>
                <a:gd name="T76" fmla="*/ 1411 w 2074"/>
                <a:gd name="T77" fmla="*/ 1161 h 2282"/>
                <a:gd name="T78" fmla="*/ 1411 w 2074"/>
                <a:gd name="T79" fmla="*/ 1118 h 2282"/>
                <a:gd name="T80" fmla="*/ 1402 w 2074"/>
                <a:gd name="T81" fmla="*/ 1077 h 2282"/>
                <a:gd name="T82" fmla="*/ 1385 w 2074"/>
                <a:gd name="T83" fmla="*/ 1037 h 2282"/>
                <a:gd name="T84" fmla="*/ 979 w 2074"/>
                <a:gd name="T85" fmla="*/ 334 h 2282"/>
                <a:gd name="T86" fmla="*/ 958 w 2074"/>
                <a:gd name="T87" fmla="*/ 306 h 2282"/>
                <a:gd name="T88" fmla="*/ 933 w 2074"/>
                <a:gd name="T89" fmla="*/ 280 h 2282"/>
                <a:gd name="T90" fmla="*/ 903 w 2074"/>
                <a:gd name="T91" fmla="*/ 260 h 2282"/>
                <a:gd name="T92" fmla="*/ 871 w 2074"/>
                <a:gd name="T93" fmla="*/ 245 h 2282"/>
                <a:gd name="T94" fmla="*/ 837 w 2074"/>
                <a:gd name="T95" fmla="*/ 237 h 2282"/>
                <a:gd name="T96" fmla="*/ 800 w 2074"/>
                <a:gd name="T97" fmla="*/ 233 h 2282"/>
                <a:gd name="T98" fmla="*/ 0 w 2074"/>
                <a:gd name="T99" fmla="*/ 233 h 2282"/>
                <a:gd name="T100" fmla="*/ 59 w 2074"/>
                <a:gd name="T101" fmla="*/ 130 h 2282"/>
                <a:gd name="T102" fmla="*/ 86 w 2074"/>
                <a:gd name="T103" fmla="*/ 93 h 2282"/>
                <a:gd name="T104" fmla="*/ 118 w 2074"/>
                <a:gd name="T105" fmla="*/ 61 h 2282"/>
                <a:gd name="T106" fmla="*/ 154 w 2074"/>
                <a:gd name="T107" fmla="*/ 36 h 2282"/>
                <a:gd name="T108" fmla="*/ 194 w 2074"/>
                <a:gd name="T109" fmla="*/ 17 h 2282"/>
                <a:gd name="T110" fmla="*/ 238 w 2074"/>
                <a:gd name="T111" fmla="*/ 5 h 2282"/>
                <a:gd name="T112" fmla="*/ 283 w 2074"/>
                <a:gd name="T113" fmla="*/ 0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74" h="2282">
                  <a:moveTo>
                    <a:pt x="283" y="0"/>
                  </a:moveTo>
                  <a:lnTo>
                    <a:pt x="1306" y="0"/>
                  </a:lnTo>
                  <a:lnTo>
                    <a:pt x="1350" y="5"/>
                  </a:lnTo>
                  <a:lnTo>
                    <a:pt x="1394" y="17"/>
                  </a:lnTo>
                  <a:lnTo>
                    <a:pt x="1434" y="36"/>
                  </a:lnTo>
                  <a:lnTo>
                    <a:pt x="1471" y="61"/>
                  </a:lnTo>
                  <a:lnTo>
                    <a:pt x="1503" y="91"/>
                  </a:lnTo>
                  <a:lnTo>
                    <a:pt x="1529" y="129"/>
                  </a:lnTo>
                  <a:lnTo>
                    <a:pt x="2040" y="1010"/>
                  </a:lnTo>
                  <a:lnTo>
                    <a:pt x="2058" y="1052"/>
                  </a:lnTo>
                  <a:lnTo>
                    <a:pt x="2070" y="1096"/>
                  </a:lnTo>
                  <a:lnTo>
                    <a:pt x="2074" y="1139"/>
                  </a:lnTo>
                  <a:lnTo>
                    <a:pt x="2070" y="1185"/>
                  </a:lnTo>
                  <a:lnTo>
                    <a:pt x="2058" y="1227"/>
                  </a:lnTo>
                  <a:lnTo>
                    <a:pt x="2040" y="1269"/>
                  </a:lnTo>
                  <a:lnTo>
                    <a:pt x="1529" y="2152"/>
                  </a:lnTo>
                  <a:lnTo>
                    <a:pt x="1503" y="2189"/>
                  </a:lnTo>
                  <a:lnTo>
                    <a:pt x="1471" y="2221"/>
                  </a:lnTo>
                  <a:lnTo>
                    <a:pt x="1434" y="2247"/>
                  </a:lnTo>
                  <a:lnTo>
                    <a:pt x="1394" y="2265"/>
                  </a:lnTo>
                  <a:lnTo>
                    <a:pt x="1350" y="2277"/>
                  </a:lnTo>
                  <a:lnTo>
                    <a:pt x="1306" y="2282"/>
                  </a:lnTo>
                  <a:lnTo>
                    <a:pt x="283" y="2282"/>
                  </a:lnTo>
                  <a:lnTo>
                    <a:pt x="238" y="2277"/>
                  </a:lnTo>
                  <a:lnTo>
                    <a:pt x="194" y="2265"/>
                  </a:lnTo>
                  <a:lnTo>
                    <a:pt x="154" y="2247"/>
                  </a:lnTo>
                  <a:lnTo>
                    <a:pt x="118" y="2221"/>
                  </a:lnTo>
                  <a:lnTo>
                    <a:pt x="86" y="2189"/>
                  </a:lnTo>
                  <a:lnTo>
                    <a:pt x="59" y="2152"/>
                  </a:lnTo>
                  <a:lnTo>
                    <a:pt x="0" y="2049"/>
                  </a:lnTo>
                  <a:lnTo>
                    <a:pt x="800" y="2049"/>
                  </a:lnTo>
                  <a:lnTo>
                    <a:pt x="844" y="2044"/>
                  </a:lnTo>
                  <a:lnTo>
                    <a:pt x="884" y="2031"/>
                  </a:lnTo>
                  <a:lnTo>
                    <a:pt x="921" y="2010"/>
                  </a:lnTo>
                  <a:lnTo>
                    <a:pt x="953" y="1982"/>
                  </a:lnTo>
                  <a:lnTo>
                    <a:pt x="979" y="1946"/>
                  </a:lnTo>
                  <a:lnTo>
                    <a:pt x="1385" y="1242"/>
                  </a:lnTo>
                  <a:lnTo>
                    <a:pt x="1402" y="1204"/>
                  </a:lnTo>
                  <a:lnTo>
                    <a:pt x="1411" y="1161"/>
                  </a:lnTo>
                  <a:lnTo>
                    <a:pt x="1411" y="1118"/>
                  </a:lnTo>
                  <a:lnTo>
                    <a:pt x="1402" y="1077"/>
                  </a:lnTo>
                  <a:lnTo>
                    <a:pt x="1385" y="1037"/>
                  </a:lnTo>
                  <a:lnTo>
                    <a:pt x="979" y="334"/>
                  </a:lnTo>
                  <a:lnTo>
                    <a:pt x="958" y="306"/>
                  </a:lnTo>
                  <a:lnTo>
                    <a:pt x="933" y="280"/>
                  </a:lnTo>
                  <a:lnTo>
                    <a:pt x="903" y="260"/>
                  </a:lnTo>
                  <a:lnTo>
                    <a:pt x="871" y="245"/>
                  </a:lnTo>
                  <a:lnTo>
                    <a:pt x="837" y="237"/>
                  </a:lnTo>
                  <a:lnTo>
                    <a:pt x="800" y="233"/>
                  </a:lnTo>
                  <a:lnTo>
                    <a:pt x="0" y="233"/>
                  </a:lnTo>
                  <a:lnTo>
                    <a:pt x="59" y="130"/>
                  </a:lnTo>
                  <a:lnTo>
                    <a:pt x="86" y="93"/>
                  </a:lnTo>
                  <a:lnTo>
                    <a:pt x="118" y="61"/>
                  </a:lnTo>
                  <a:lnTo>
                    <a:pt x="154" y="36"/>
                  </a:lnTo>
                  <a:lnTo>
                    <a:pt x="194" y="17"/>
                  </a:lnTo>
                  <a:lnTo>
                    <a:pt x="238" y="5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73" name="íṥļîḓê">
              <a:extLst>
                <a:ext uri="{FF2B5EF4-FFF2-40B4-BE49-F238E27FC236}">
                  <a16:creationId xmlns:a16="http://schemas.microsoft.com/office/drawing/2014/main" id="{A1574D7C-692A-406B-86F0-3CEE5E63CFAD}"/>
                </a:ext>
              </a:extLst>
            </p:cNvPr>
            <p:cNvGrpSpPr/>
            <p:nvPr/>
          </p:nvGrpSpPr>
          <p:grpSpPr>
            <a:xfrm>
              <a:off x="671513" y="2871893"/>
              <a:ext cx="2039484" cy="1948186"/>
              <a:chOff x="673100" y="2684774"/>
              <a:chExt cx="2039484" cy="1948186"/>
            </a:xfrm>
          </p:grpSpPr>
          <p:sp>
            <p:nvSpPr>
              <p:cNvPr id="89" name="îṣḻiḍe">
                <a:extLst>
                  <a:ext uri="{FF2B5EF4-FFF2-40B4-BE49-F238E27FC236}">
                    <a16:creationId xmlns:a16="http://schemas.microsoft.com/office/drawing/2014/main" id="{473A67AE-4827-446C-9DCB-D671847FF830}"/>
                  </a:ext>
                </a:extLst>
              </p:cNvPr>
              <p:cNvSpPr/>
              <p:nvPr/>
            </p:nvSpPr>
            <p:spPr bwMode="auto">
              <a:xfrm>
                <a:off x="673100" y="3333058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90" name="i$ḻîḓè">
                <a:extLst>
                  <a:ext uri="{FF2B5EF4-FFF2-40B4-BE49-F238E27FC236}">
                    <a16:creationId xmlns:a16="http://schemas.microsoft.com/office/drawing/2014/main" id="{C3192754-7C61-489E-8D1A-F5B0009A1BF6}"/>
                  </a:ext>
                </a:extLst>
              </p:cNvPr>
              <p:cNvSpPr txBox="1"/>
              <p:nvPr/>
            </p:nvSpPr>
            <p:spPr bwMode="auto">
              <a:xfrm>
                <a:off x="673100" y="2684774"/>
                <a:ext cx="2039484" cy="54923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91" name="ïŝḻiḓè">
                <a:extLst>
                  <a:ext uri="{FF2B5EF4-FFF2-40B4-BE49-F238E27FC236}">
                    <a16:creationId xmlns:a16="http://schemas.microsoft.com/office/drawing/2014/main" id="{89E75C17-4B2B-4B19-8B56-5BA05C537C75}"/>
                  </a:ext>
                </a:extLst>
              </p:cNvPr>
              <p:cNvSpPr/>
              <p:nvPr/>
            </p:nvSpPr>
            <p:spPr bwMode="auto">
              <a:xfrm>
                <a:off x="673100" y="4012796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cxnSp>
            <p:nvCxnSpPr>
              <p:cNvPr id="92" name="iṣļïḑe">
                <a:extLst>
                  <a:ext uri="{FF2B5EF4-FFF2-40B4-BE49-F238E27FC236}">
                    <a16:creationId xmlns:a16="http://schemas.microsoft.com/office/drawing/2014/main" id="{462A234B-6B74-4F8D-96BE-297F6499DA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3100" y="3983009"/>
                <a:ext cx="2039484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ïš1îdé">
              <a:extLst>
                <a:ext uri="{FF2B5EF4-FFF2-40B4-BE49-F238E27FC236}">
                  <a16:creationId xmlns:a16="http://schemas.microsoft.com/office/drawing/2014/main" id="{763156AC-8C37-4BC1-8E08-FB3B9181B23A}"/>
                </a:ext>
              </a:extLst>
            </p:cNvPr>
            <p:cNvSpPr/>
            <p:nvPr/>
          </p:nvSpPr>
          <p:spPr>
            <a:xfrm>
              <a:off x="8137950" y="2336000"/>
              <a:ext cx="504626" cy="459570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75" name="ïšḷîḋê">
              <a:extLst>
                <a:ext uri="{FF2B5EF4-FFF2-40B4-BE49-F238E27FC236}">
                  <a16:creationId xmlns:a16="http://schemas.microsoft.com/office/drawing/2014/main" id="{B1C1ACBE-891E-4A14-A777-4EE6E0D78591}"/>
                </a:ext>
              </a:extLst>
            </p:cNvPr>
            <p:cNvSpPr/>
            <p:nvPr/>
          </p:nvSpPr>
          <p:spPr bwMode="auto">
            <a:xfrm>
              <a:off x="4350439" y="1716182"/>
              <a:ext cx="3494296" cy="3844736"/>
            </a:xfrm>
            <a:custGeom>
              <a:avLst/>
              <a:gdLst>
                <a:gd name="T0" fmla="*/ 283 w 2074"/>
                <a:gd name="T1" fmla="*/ 0 h 2282"/>
                <a:gd name="T2" fmla="*/ 1306 w 2074"/>
                <a:gd name="T3" fmla="*/ 0 h 2282"/>
                <a:gd name="T4" fmla="*/ 1350 w 2074"/>
                <a:gd name="T5" fmla="*/ 5 h 2282"/>
                <a:gd name="T6" fmla="*/ 1394 w 2074"/>
                <a:gd name="T7" fmla="*/ 17 h 2282"/>
                <a:gd name="T8" fmla="*/ 1434 w 2074"/>
                <a:gd name="T9" fmla="*/ 36 h 2282"/>
                <a:gd name="T10" fmla="*/ 1471 w 2074"/>
                <a:gd name="T11" fmla="*/ 61 h 2282"/>
                <a:gd name="T12" fmla="*/ 1503 w 2074"/>
                <a:gd name="T13" fmla="*/ 91 h 2282"/>
                <a:gd name="T14" fmla="*/ 1529 w 2074"/>
                <a:gd name="T15" fmla="*/ 129 h 2282"/>
                <a:gd name="T16" fmla="*/ 2040 w 2074"/>
                <a:gd name="T17" fmla="*/ 1010 h 2282"/>
                <a:gd name="T18" fmla="*/ 2058 w 2074"/>
                <a:gd name="T19" fmla="*/ 1052 h 2282"/>
                <a:gd name="T20" fmla="*/ 2070 w 2074"/>
                <a:gd name="T21" fmla="*/ 1096 h 2282"/>
                <a:gd name="T22" fmla="*/ 2074 w 2074"/>
                <a:gd name="T23" fmla="*/ 1139 h 2282"/>
                <a:gd name="T24" fmla="*/ 2070 w 2074"/>
                <a:gd name="T25" fmla="*/ 1185 h 2282"/>
                <a:gd name="T26" fmla="*/ 2058 w 2074"/>
                <a:gd name="T27" fmla="*/ 1227 h 2282"/>
                <a:gd name="T28" fmla="*/ 2040 w 2074"/>
                <a:gd name="T29" fmla="*/ 1269 h 2282"/>
                <a:gd name="T30" fmla="*/ 1529 w 2074"/>
                <a:gd name="T31" fmla="*/ 2152 h 2282"/>
                <a:gd name="T32" fmla="*/ 1503 w 2074"/>
                <a:gd name="T33" fmla="*/ 2189 h 2282"/>
                <a:gd name="T34" fmla="*/ 1471 w 2074"/>
                <a:gd name="T35" fmla="*/ 2221 h 2282"/>
                <a:gd name="T36" fmla="*/ 1434 w 2074"/>
                <a:gd name="T37" fmla="*/ 2247 h 2282"/>
                <a:gd name="T38" fmla="*/ 1394 w 2074"/>
                <a:gd name="T39" fmla="*/ 2265 h 2282"/>
                <a:gd name="T40" fmla="*/ 1350 w 2074"/>
                <a:gd name="T41" fmla="*/ 2277 h 2282"/>
                <a:gd name="T42" fmla="*/ 1306 w 2074"/>
                <a:gd name="T43" fmla="*/ 2282 h 2282"/>
                <a:gd name="T44" fmla="*/ 283 w 2074"/>
                <a:gd name="T45" fmla="*/ 2282 h 2282"/>
                <a:gd name="T46" fmla="*/ 238 w 2074"/>
                <a:gd name="T47" fmla="*/ 2277 h 2282"/>
                <a:gd name="T48" fmla="*/ 194 w 2074"/>
                <a:gd name="T49" fmla="*/ 2265 h 2282"/>
                <a:gd name="T50" fmla="*/ 154 w 2074"/>
                <a:gd name="T51" fmla="*/ 2247 h 2282"/>
                <a:gd name="T52" fmla="*/ 118 w 2074"/>
                <a:gd name="T53" fmla="*/ 2221 h 2282"/>
                <a:gd name="T54" fmla="*/ 86 w 2074"/>
                <a:gd name="T55" fmla="*/ 2189 h 2282"/>
                <a:gd name="T56" fmla="*/ 59 w 2074"/>
                <a:gd name="T57" fmla="*/ 2152 h 2282"/>
                <a:gd name="T58" fmla="*/ 0 w 2074"/>
                <a:gd name="T59" fmla="*/ 2049 h 2282"/>
                <a:gd name="T60" fmla="*/ 800 w 2074"/>
                <a:gd name="T61" fmla="*/ 2049 h 2282"/>
                <a:gd name="T62" fmla="*/ 844 w 2074"/>
                <a:gd name="T63" fmla="*/ 2044 h 2282"/>
                <a:gd name="T64" fmla="*/ 884 w 2074"/>
                <a:gd name="T65" fmla="*/ 2031 h 2282"/>
                <a:gd name="T66" fmla="*/ 921 w 2074"/>
                <a:gd name="T67" fmla="*/ 2010 h 2282"/>
                <a:gd name="T68" fmla="*/ 953 w 2074"/>
                <a:gd name="T69" fmla="*/ 1982 h 2282"/>
                <a:gd name="T70" fmla="*/ 979 w 2074"/>
                <a:gd name="T71" fmla="*/ 1946 h 2282"/>
                <a:gd name="T72" fmla="*/ 1385 w 2074"/>
                <a:gd name="T73" fmla="*/ 1242 h 2282"/>
                <a:gd name="T74" fmla="*/ 1402 w 2074"/>
                <a:gd name="T75" fmla="*/ 1204 h 2282"/>
                <a:gd name="T76" fmla="*/ 1411 w 2074"/>
                <a:gd name="T77" fmla="*/ 1161 h 2282"/>
                <a:gd name="T78" fmla="*/ 1411 w 2074"/>
                <a:gd name="T79" fmla="*/ 1118 h 2282"/>
                <a:gd name="T80" fmla="*/ 1402 w 2074"/>
                <a:gd name="T81" fmla="*/ 1077 h 2282"/>
                <a:gd name="T82" fmla="*/ 1385 w 2074"/>
                <a:gd name="T83" fmla="*/ 1037 h 2282"/>
                <a:gd name="T84" fmla="*/ 979 w 2074"/>
                <a:gd name="T85" fmla="*/ 334 h 2282"/>
                <a:gd name="T86" fmla="*/ 958 w 2074"/>
                <a:gd name="T87" fmla="*/ 306 h 2282"/>
                <a:gd name="T88" fmla="*/ 933 w 2074"/>
                <a:gd name="T89" fmla="*/ 280 h 2282"/>
                <a:gd name="T90" fmla="*/ 903 w 2074"/>
                <a:gd name="T91" fmla="*/ 260 h 2282"/>
                <a:gd name="T92" fmla="*/ 871 w 2074"/>
                <a:gd name="T93" fmla="*/ 245 h 2282"/>
                <a:gd name="T94" fmla="*/ 837 w 2074"/>
                <a:gd name="T95" fmla="*/ 237 h 2282"/>
                <a:gd name="T96" fmla="*/ 800 w 2074"/>
                <a:gd name="T97" fmla="*/ 233 h 2282"/>
                <a:gd name="T98" fmla="*/ 0 w 2074"/>
                <a:gd name="T99" fmla="*/ 233 h 2282"/>
                <a:gd name="T100" fmla="*/ 59 w 2074"/>
                <a:gd name="T101" fmla="*/ 130 h 2282"/>
                <a:gd name="T102" fmla="*/ 86 w 2074"/>
                <a:gd name="T103" fmla="*/ 93 h 2282"/>
                <a:gd name="T104" fmla="*/ 118 w 2074"/>
                <a:gd name="T105" fmla="*/ 61 h 2282"/>
                <a:gd name="T106" fmla="*/ 154 w 2074"/>
                <a:gd name="T107" fmla="*/ 36 h 2282"/>
                <a:gd name="T108" fmla="*/ 194 w 2074"/>
                <a:gd name="T109" fmla="*/ 17 h 2282"/>
                <a:gd name="T110" fmla="*/ 238 w 2074"/>
                <a:gd name="T111" fmla="*/ 5 h 2282"/>
                <a:gd name="T112" fmla="*/ 283 w 2074"/>
                <a:gd name="T113" fmla="*/ 0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74" h="2282">
                  <a:moveTo>
                    <a:pt x="283" y="0"/>
                  </a:moveTo>
                  <a:lnTo>
                    <a:pt x="1306" y="0"/>
                  </a:lnTo>
                  <a:lnTo>
                    <a:pt x="1350" y="5"/>
                  </a:lnTo>
                  <a:lnTo>
                    <a:pt x="1394" y="17"/>
                  </a:lnTo>
                  <a:lnTo>
                    <a:pt x="1434" y="36"/>
                  </a:lnTo>
                  <a:lnTo>
                    <a:pt x="1471" y="61"/>
                  </a:lnTo>
                  <a:lnTo>
                    <a:pt x="1503" y="91"/>
                  </a:lnTo>
                  <a:lnTo>
                    <a:pt x="1529" y="129"/>
                  </a:lnTo>
                  <a:lnTo>
                    <a:pt x="2040" y="1010"/>
                  </a:lnTo>
                  <a:lnTo>
                    <a:pt x="2058" y="1052"/>
                  </a:lnTo>
                  <a:lnTo>
                    <a:pt x="2070" y="1096"/>
                  </a:lnTo>
                  <a:lnTo>
                    <a:pt x="2074" y="1139"/>
                  </a:lnTo>
                  <a:lnTo>
                    <a:pt x="2070" y="1185"/>
                  </a:lnTo>
                  <a:lnTo>
                    <a:pt x="2058" y="1227"/>
                  </a:lnTo>
                  <a:lnTo>
                    <a:pt x="2040" y="1269"/>
                  </a:lnTo>
                  <a:lnTo>
                    <a:pt x="1529" y="2152"/>
                  </a:lnTo>
                  <a:lnTo>
                    <a:pt x="1503" y="2189"/>
                  </a:lnTo>
                  <a:lnTo>
                    <a:pt x="1471" y="2221"/>
                  </a:lnTo>
                  <a:lnTo>
                    <a:pt x="1434" y="2247"/>
                  </a:lnTo>
                  <a:lnTo>
                    <a:pt x="1394" y="2265"/>
                  </a:lnTo>
                  <a:lnTo>
                    <a:pt x="1350" y="2277"/>
                  </a:lnTo>
                  <a:lnTo>
                    <a:pt x="1306" y="2282"/>
                  </a:lnTo>
                  <a:lnTo>
                    <a:pt x="283" y="2282"/>
                  </a:lnTo>
                  <a:lnTo>
                    <a:pt x="238" y="2277"/>
                  </a:lnTo>
                  <a:lnTo>
                    <a:pt x="194" y="2265"/>
                  </a:lnTo>
                  <a:lnTo>
                    <a:pt x="154" y="2247"/>
                  </a:lnTo>
                  <a:lnTo>
                    <a:pt x="118" y="2221"/>
                  </a:lnTo>
                  <a:lnTo>
                    <a:pt x="86" y="2189"/>
                  </a:lnTo>
                  <a:lnTo>
                    <a:pt x="59" y="2152"/>
                  </a:lnTo>
                  <a:lnTo>
                    <a:pt x="0" y="2049"/>
                  </a:lnTo>
                  <a:lnTo>
                    <a:pt x="800" y="2049"/>
                  </a:lnTo>
                  <a:lnTo>
                    <a:pt x="844" y="2044"/>
                  </a:lnTo>
                  <a:lnTo>
                    <a:pt x="884" y="2031"/>
                  </a:lnTo>
                  <a:lnTo>
                    <a:pt x="921" y="2010"/>
                  </a:lnTo>
                  <a:lnTo>
                    <a:pt x="953" y="1982"/>
                  </a:lnTo>
                  <a:lnTo>
                    <a:pt x="979" y="1946"/>
                  </a:lnTo>
                  <a:lnTo>
                    <a:pt x="1385" y="1242"/>
                  </a:lnTo>
                  <a:lnTo>
                    <a:pt x="1402" y="1204"/>
                  </a:lnTo>
                  <a:lnTo>
                    <a:pt x="1411" y="1161"/>
                  </a:lnTo>
                  <a:lnTo>
                    <a:pt x="1411" y="1118"/>
                  </a:lnTo>
                  <a:lnTo>
                    <a:pt x="1402" y="1077"/>
                  </a:lnTo>
                  <a:lnTo>
                    <a:pt x="1385" y="1037"/>
                  </a:lnTo>
                  <a:lnTo>
                    <a:pt x="979" y="334"/>
                  </a:lnTo>
                  <a:lnTo>
                    <a:pt x="958" y="306"/>
                  </a:lnTo>
                  <a:lnTo>
                    <a:pt x="933" y="280"/>
                  </a:lnTo>
                  <a:lnTo>
                    <a:pt x="903" y="260"/>
                  </a:lnTo>
                  <a:lnTo>
                    <a:pt x="871" y="245"/>
                  </a:lnTo>
                  <a:lnTo>
                    <a:pt x="837" y="237"/>
                  </a:lnTo>
                  <a:lnTo>
                    <a:pt x="800" y="233"/>
                  </a:lnTo>
                  <a:lnTo>
                    <a:pt x="0" y="233"/>
                  </a:lnTo>
                  <a:lnTo>
                    <a:pt x="59" y="130"/>
                  </a:lnTo>
                  <a:lnTo>
                    <a:pt x="86" y="93"/>
                  </a:lnTo>
                  <a:lnTo>
                    <a:pt x="118" y="61"/>
                  </a:lnTo>
                  <a:lnTo>
                    <a:pt x="154" y="36"/>
                  </a:lnTo>
                  <a:lnTo>
                    <a:pt x="194" y="17"/>
                  </a:lnTo>
                  <a:lnTo>
                    <a:pt x="238" y="5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76" name="îśļíḍê">
              <a:extLst>
                <a:ext uri="{FF2B5EF4-FFF2-40B4-BE49-F238E27FC236}">
                  <a16:creationId xmlns:a16="http://schemas.microsoft.com/office/drawing/2014/main" id="{0B61900D-182D-453C-B954-0DD0249CA1DC}"/>
                </a:ext>
              </a:extLst>
            </p:cNvPr>
            <p:cNvGrpSpPr/>
            <p:nvPr/>
          </p:nvGrpSpPr>
          <p:grpSpPr>
            <a:xfrm>
              <a:off x="4347264" y="2871893"/>
              <a:ext cx="2039484" cy="1948186"/>
              <a:chOff x="673100" y="2684774"/>
              <a:chExt cx="2039484" cy="1948186"/>
            </a:xfrm>
          </p:grpSpPr>
          <p:sp>
            <p:nvSpPr>
              <p:cNvPr id="85" name="î$ḻídé">
                <a:extLst>
                  <a:ext uri="{FF2B5EF4-FFF2-40B4-BE49-F238E27FC236}">
                    <a16:creationId xmlns:a16="http://schemas.microsoft.com/office/drawing/2014/main" id="{26BC3A4E-3FFF-4517-85CE-AC96C4071711}"/>
                  </a:ext>
                </a:extLst>
              </p:cNvPr>
              <p:cNvSpPr/>
              <p:nvPr/>
            </p:nvSpPr>
            <p:spPr bwMode="auto">
              <a:xfrm>
                <a:off x="673100" y="3333058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86" name="íṩḻíḍe">
                <a:extLst>
                  <a:ext uri="{FF2B5EF4-FFF2-40B4-BE49-F238E27FC236}">
                    <a16:creationId xmlns:a16="http://schemas.microsoft.com/office/drawing/2014/main" id="{4D45E7F2-F442-48D4-857A-AF78D9C5680B}"/>
                  </a:ext>
                </a:extLst>
              </p:cNvPr>
              <p:cNvSpPr txBox="1"/>
              <p:nvPr/>
            </p:nvSpPr>
            <p:spPr bwMode="auto">
              <a:xfrm>
                <a:off x="673100" y="2684774"/>
                <a:ext cx="2039484" cy="54923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87" name="íşḻïḍè">
                <a:extLst>
                  <a:ext uri="{FF2B5EF4-FFF2-40B4-BE49-F238E27FC236}">
                    <a16:creationId xmlns:a16="http://schemas.microsoft.com/office/drawing/2014/main" id="{9C878F99-5EEA-4235-8B2E-ADDCB881BD07}"/>
                  </a:ext>
                </a:extLst>
              </p:cNvPr>
              <p:cNvSpPr/>
              <p:nvPr/>
            </p:nvSpPr>
            <p:spPr bwMode="auto">
              <a:xfrm>
                <a:off x="673100" y="4012796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cxnSp>
            <p:nvCxnSpPr>
              <p:cNvPr id="88" name="iś1iḑê">
                <a:extLst>
                  <a:ext uri="{FF2B5EF4-FFF2-40B4-BE49-F238E27FC236}">
                    <a16:creationId xmlns:a16="http://schemas.microsoft.com/office/drawing/2014/main" id="{C661AED6-B6FB-4A5D-885D-2430FE0287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3100" y="3983009"/>
                <a:ext cx="2039484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7" name="îśľiḍè">
              <a:extLst>
                <a:ext uri="{FF2B5EF4-FFF2-40B4-BE49-F238E27FC236}">
                  <a16:creationId xmlns:a16="http://schemas.microsoft.com/office/drawing/2014/main" id="{434A7142-D980-429A-AF14-34EE94FBD357}"/>
                </a:ext>
              </a:extLst>
            </p:cNvPr>
            <p:cNvSpPr/>
            <p:nvPr/>
          </p:nvSpPr>
          <p:spPr bwMode="auto">
            <a:xfrm>
              <a:off x="8026191" y="1716182"/>
              <a:ext cx="3494296" cy="3844736"/>
            </a:xfrm>
            <a:custGeom>
              <a:avLst/>
              <a:gdLst>
                <a:gd name="T0" fmla="*/ 283 w 2074"/>
                <a:gd name="T1" fmla="*/ 0 h 2282"/>
                <a:gd name="T2" fmla="*/ 1306 w 2074"/>
                <a:gd name="T3" fmla="*/ 0 h 2282"/>
                <a:gd name="T4" fmla="*/ 1350 w 2074"/>
                <a:gd name="T5" fmla="*/ 5 h 2282"/>
                <a:gd name="T6" fmla="*/ 1394 w 2074"/>
                <a:gd name="T7" fmla="*/ 17 h 2282"/>
                <a:gd name="T8" fmla="*/ 1434 w 2074"/>
                <a:gd name="T9" fmla="*/ 36 h 2282"/>
                <a:gd name="T10" fmla="*/ 1471 w 2074"/>
                <a:gd name="T11" fmla="*/ 61 h 2282"/>
                <a:gd name="T12" fmla="*/ 1503 w 2074"/>
                <a:gd name="T13" fmla="*/ 91 h 2282"/>
                <a:gd name="T14" fmla="*/ 1529 w 2074"/>
                <a:gd name="T15" fmla="*/ 129 h 2282"/>
                <a:gd name="T16" fmla="*/ 2040 w 2074"/>
                <a:gd name="T17" fmla="*/ 1010 h 2282"/>
                <a:gd name="T18" fmla="*/ 2058 w 2074"/>
                <a:gd name="T19" fmla="*/ 1052 h 2282"/>
                <a:gd name="T20" fmla="*/ 2070 w 2074"/>
                <a:gd name="T21" fmla="*/ 1096 h 2282"/>
                <a:gd name="T22" fmla="*/ 2074 w 2074"/>
                <a:gd name="T23" fmla="*/ 1139 h 2282"/>
                <a:gd name="T24" fmla="*/ 2070 w 2074"/>
                <a:gd name="T25" fmla="*/ 1185 h 2282"/>
                <a:gd name="T26" fmla="*/ 2058 w 2074"/>
                <a:gd name="T27" fmla="*/ 1227 h 2282"/>
                <a:gd name="T28" fmla="*/ 2040 w 2074"/>
                <a:gd name="T29" fmla="*/ 1269 h 2282"/>
                <a:gd name="T30" fmla="*/ 1529 w 2074"/>
                <a:gd name="T31" fmla="*/ 2152 h 2282"/>
                <a:gd name="T32" fmla="*/ 1503 w 2074"/>
                <a:gd name="T33" fmla="*/ 2189 h 2282"/>
                <a:gd name="T34" fmla="*/ 1471 w 2074"/>
                <a:gd name="T35" fmla="*/ 2221 h 2282"/>
                <a:gd name="T36" fmla="*/ 1434 w 2074"/>
                <a:gd name="T37" fmla="*/ 2247 h 2282"/>
                <a:gd name="T38" fmla="*/ 1394 w 2074"/>
                <a:gd name="T39" fmla="*/ 2265 h 2282"/>
                <a:gd name="T40" fmla="*/ 1350 w 2074"/>
                <a:gd name="T41" fmla="*/ 2277 h 2282"/>
                <a:gd name="T42" fmla="*/ 1306 w 2074"/>
                <a:gd name="T43" fmla="*/ 2282 h 2282"/>
                <a:gd name="T44" fmla="*/ 283 w 2074"/>
                <a:gd name="T45" fmla="*/ 2282 h 2282"/>
                <a:gd name="T46" fmla="*/ 238 w 2074"/>
                <a:gd name="T47" fmla="*/ 2277 h 2282"/>
                <a:gd name="T48" fmla="*/ 194 w 2074"/>
                <a:gd name="T49" fmla="*/ 2265 h 2282"/>
                <a:gd name="T50" fmla="*/ 154 w 2074"/>
                <a:gd name="T51" fmla="*/ 2247 h 2282"/>
                <a:gd name="T52" fmla="*/ 118 w 2074"/>
                <a:gd name="T53" fmla="*/ 2221 h 2282"/>
                <a:gd name="T54" fmla="*/ 86 w 2074"/>
                <a:gd name="T55" fmla="*/ 2189 h 2282"/>
                <a:gd name="T56" fmla="*/ 59 w 2074"/>
                <a:gd name="T57" fmla="*/ 2152 h 2282"/>
                <a:gd name="T58" fmla="*/ 0 w 2074"/>
                <a:gd name="T59" fmla="*/ 2049 h 2282"/>
                <a:gd name="T60" fmla="*/ 800 w 2074"/>
                <a:gd name="T61" fmla="*/ 2049 h 2282"/>
                <a:gd name="T62" fmla="*/ 844 w 2074"/>
                <a:gd name="T63" fmla="*/ 2044 h 2282"/>
                <a:gd name="T64" fmla="*/ 884 w 2074"/>
                <a:gd name="T65" fmla="*/ 2031 h 2282"/>
                <a:gd name="T66" fmla="*/ 921 w 2074"/>
                <a:gd name="T67" fmla="*/ 2010 h 2282"/>
                <a:gd name="T68" fmla="*/ 953 w 2074"/>
                <a:gd name="T69" fmla="*/ 1982 h 2282"/>
                <a:gd name="T70" fmla="*/ 979 w 2074"/>
                <a:gd name="T71" fmla="*/ 1946 h 2282"/>
                <a:gd name="T72" fmla="*/ 1385 w 2074"/>
                <a:gd name="T73" fmla="*/ 1242 h 2282"/>
                <a:gd name="T74" fmla="*/ 1402 w 2074"/>
                <a:gd name="T75" fmla="*/ 1204 h 2282"/>
                <a:gd name="T76" fmla="*/ 1411 w 2074"/>
                <a:gd name="T77" fmla="*/ 1161 h 2282"/>
                <a:gd name="T78" fmla="*/ 1411 w 2074"/>
                <a:gd name="T79" fmla="*/ 1118 h 2282"/>
                <a:gd name="T80" fmla="*/ 1402 w 2074"/>
                <a:gd name="T81" fmla="*/ 1077 h 2282"/>
                <a:gd name="T82" fmla="*/ 1385 w 2074"/>
                <a:gd name="T83" fmla="*/ 1037 h 2282"/>
                <a:gd name="T84" fmla="*/ 979 w 2074"/>
                <a:gd name="T85" fmla="*/ 334 h 2282"/>
                <a:gd name="T86" fmla="*/ 958 w 2074"/>
                <a:gd name="T87" fmla="*/ 306 h 2282"/>
                <a:gd name="T88" fmla="*/ 933 w 2074"/>
                <a:gd name="T89" fmla="*/ 280 h 2282"/>
                <a:gd name="T90" fmla="*/ 903 w 2074"/>
                <a:gd name="T91" fmla="*/ 260 h 2282"/>
                <a:gd name="T92" fmla="*/ 871 w 2074"/>
                <a:gd name="T93" fmla="*/ 245 h 2282"/>
                <a:gd name="T94" fmla="*/ 837 w 2074"/>
                <a:gd name="T95" fmla="*/ 237 h 2282"/>
                <a:gd name="T96" fmla="*/ 800 w 2074"/>
                <a:gd name="T97" fmla="*/ 233 h 2282"/>
                <a:gd name="T98" fmla="*/ 0 w 2074"/>
                <a:gd name="T99" fmla="*/ 233 h 2282"/>
                <a:gd name="T100" fmla="*/ 59 w 2074"/>
                <a:gd name="T101" fmla="*/ 130 h 2282"/>
                <a:gd name="T102" fmla="*/ 86 w 2074"/>
                <a:gd name="T103" fmla="*/ 93 h 2282"/>
                <a:gd name="T104" fmla="*/ 118 w 2074"/>
                <a:gd name="T105" fmla="*/ 61 h 2282"/>
                <a:gd name="T106" fmla="*/ 154 w 2074"/>
                <a:gd name="T107" fmla="*/ 36 h 2282"/>
                <a:gd name="T108" fmla="*/ 194 w 2074"/>
                <a:gd name="T109" fmla="*/ 17 h 2282"/>
                <a:gd name="T110" fmla="*/ 238 w 2074"/>
                <a:gd name="T111" fmla="*/ 5 h 2282"/>
                <a:gd name="T112" fmla="*/ 283 w 2074"/>
                <a:gd name="T113" fmla="*/ 0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74" h="2282">
                  <a:moveTo>
                    <a:pt x="283" y="0"/>
                  </a:moveTo>
                  <a:lnTo>
                    <a:pt x="1306" y="0"/>
                  </a:lnTo>
                  <a:lnTo>
                    <a:pt x="1350" y="5"/>
                  </a:lnTo>
                  <a:lnTo>
                    <a:pt x="1394" y="17"/>
                  </a:lnTo>
                  <a:lnTo>
                    <a:pt x="1434" y="36"/>
                  </a:lnTo>
                  <a:lnTo>
                    <a:pt x="1471" y="61"/>
                  </a:lnTo>
                  <a:lnTo>
                    <a:pt x="1503" y="91"/>
                  </a:lnTo>
                  <a:lnTo>
                    <a:pt x="1529" y="129"/>
                  </a:lnTo>
                  <a:lnTo>
                    <a:pt x="2040" y="1010"/>
                  </a:lnTo>
                  <a:lnTo>
                    <a:pt x="2058" y="1052"/>
                  </a:lnTo>
                  <a:lnTo>
                    <a:pt x="2070" y="1096"/>
                  </a:lnTo>
                  <a:lnTo>
                    <a:pt x="2074" y="1139"/>
                  </a:lnTo>
                  <a:lnTo>
                    <a:pt x="2070" y="1185"/>
                  </a:lnTo>
                  <a:lnTo>
                    <a:pt x="2058" y="1227"/>
                  </a:lnTo>
                  <a:lnTo>
                    <a:pt x="2040" y="1269"/>
                  </a:lnTo>
                  <a:lnTo>
                    <a:pt x="1529" y="2152"/>
                  </a:lnTo>
                  <a:lnTo>
                    <a:pt x="1503" y="2189"/>
                  </a:lnTo>
                  <a:lnTo>
                    <a:pt x="1471" y="2221"/>
                  </a:lnTo>
                  <a:lnTo>
                    <a:pt x="1434" y="2247"/>
                  </a:lnTo>
                  <a:lnTo>
                    <a:pt x="1394" y="2265"/>
                  </a:lnTo>
                  <a:lnTo>
                    <a:pt x="1350" y="2277"/>
                  </a:lnTo>
                  <a:lnTo>
                    <a:pt x="1306" y="2282"/>
                  </a:lnTo>
                  <a:lnTo>
                    <a:pt x="283" y="2282"/>
                  </a:lnTo>
                  <a:lnTo>
                    <a:pt x="238" y="2277"/>
                  </a:lnTo>
                  <a:lnTo>
                    <a:pt x="194" y="2265"/>
                  </a:lnTo>
                  <a:lnTo>
                    <a:pt x="154" y="2247"/>
                  </a:lnTo>
                  <a:lnTo>
                    <a:pt x="118" y="2221"/>
                  </a:lnTo>
                  <a:lnTo>
                    <a:pt x="86" y="2189"/>
                  </a:lnTo>
                  <a:lnTo>
                    <a:pt x="59" y="2152"/>
                  </a:lnTo>
                  <a:lnTo>
                    <a:pt x="0" y="2049"/>
                  </a:lnTo>
                  <a:lnTo>
                    <a:pt x="800" y="2049"/>
                  </a:lnTo>
                  <a:lnTo>
                    <a:pt x="844" y="2044"/>
                  </a:lnTo>
                  <a:lnTo>
                    <a:pt x="884" y="2031"/>
                  </a:lnTo>
                  <a:lnTo>
                    <a:pt x="921" y="2010"/>
                  </a:lnTo>
                  <a:lnTo>
                    <a:pt x="953" y="1982"/>
                  </a:lnTo>
                  <a:lnTo>
                    <a:pt x="979" y="1946"/>
                  </a:lnTo>
                  <a:lnTo>
                    <a:pt x="1385" y="1242"/>
                  </a:lnTo>
                  <a:lnTo>
                    <a:pt x="1402" y="1204"/>
                  </a:lnTo>
                  <a:lnTo>
                    <a:pt x="1411" y="1161"/>
                  </a:lnTo>
                  <a:lnTo>
                    <a:pt x="1411" y="1118"/>
                  </a:lnTo>
                  <a:lnTo>
                    <a:pt x="1402" y="1077"/>
                  </a:lnTo>
                  <a:lnTo>
                    <a:pt x="1385" y="1037"/>
                  </a:lnTo>
                  <a:lnTo>
                    <a:pt x="979" y="334"/>
                  </a:lnTo>
                  <a:lnTo>
                    <a:pt x="958" y="306"/>
                  </a:lnTo>
                  <a:lnTo>
                    <a:pt x="933" y="280"/>
                  </a:lnTo>
                  <a:lnTo>
                    <a:pt x="903" y="260"/>
                  </a:lnTo>
                  <a:lnTo>
                    <a:pt x="871" y="245"/>
                  </a:lnTo>
                  <a:lnTo>
                    <a:pt x="837" y="237"/>
                  </a:lnTo>
                  <a:lnTo>
                    <a:pt x="800" y="233"/>
                  </a:lnTo>
                  <a:lnTo>
                    <a:pt x="0" y="233"/>
                  </a:lnTo>
                  <a:lnTo>
                    <a:pt x="59" y="130"/>
                  </a:lnTo>
                  <a:lnTo>
                    <a:pt x="86" y="93"/>
                  </a:lnTo>
                  <a:lnTo>
                    <a:pt x="118" y="61"/>
                  </a:lnTo>
                  <a:lnTo>
                    <a:pt x="154" y="36"/>
                  </a:lnTo>
                  <a:lnTo>
                    <a:pt x="194" y="17"/>
                  </a:lnTo>
                  <a:lnTo>
                    <a:pt x="238" y="5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78" name="îṧlïdè">
              <a:extLst>
                <a:ext uri="{FF2B5EF4-FFF2-40B4-BE49-F238E27FC236}">
                  <a16:creationId xmlns:a16="http://schemas.microsoft.com/office/drawing/2014/main" id="{BC91CBCF-6D3C-4DCB-8228-7A7F9D1BB7A3}"/>
                </a:ext>
              </a:extLst>
            </p:cNvPr>
            <p:cNvGrpSpPr/>
            <p:nvPr/>
          </p:nvGrpSpPr>
          <p:grpSpPr>
            <a:xfrm>
              <a:off x="8023016" y="2871893"/>
              <a:ext cx="2039484" cy="1948186"/>
              <a:chOff x="673100" y="2684774"/>
              <a:chExt cx="2039484" cy="1948186"/>
            </a:xfrm>
          </p:grpSpPr>
          <p:sp>
            <p:nvSpPr>
              <p:cNvPr id="81" name="iṡḷíḋé">
                <a:extLst>
                  <a:ext uri="{FF2B5EF4-FFF2-40B4-BE49-F238E27FC236}">
                    <a16:creationId xmlns:a16="http://schemas.microsoft.com/office/drawing/2014/main" id="{356D3A36-F03D-401C-B9BF-1CA505BB29B0}"/>
                  </a:ext>
                </a:extLst>
              </p:cNvPr>
              <p:cNvSpPr/>
              <p:nvPr/>
            </p:nvSpPr>
            <p:spPr bwMode="auto">
              <a:xfrm>
                <a:off x="673100" y="3333058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82" name="ïṥľîḋè">
                <a:extLst>
                  <a:ext uri="{FF2B5EF4-FFF2-40B4-BE49-F238E27FC236}">
                    <a16:creationId xmlns:a16="http://schemas.microsoft.com/office/drawing/2014/main" id="{F1AE2990-2514-44A1-9D42-A80E97FA76B5}"/>
                  </a:ext>
                </a:extLst>
              </p:cNvPr>
              <p:cNvSpPr txBox="1"/>
              <p:nvPr/>
            </p:nvSpPr>
            <p:spPr bwMode="auto">
              <a:xfrm>
                <a:off x="673100" y="2684774"/>
                <a:ext cx="2039484" cy="54923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83" name="ïṧḻiḍe">
                <a:extLst>
                  <a:ext uri="{FF2B5EF4-FFF2-40B4-BE49-F238E27FC236}">
                    <a16:creationId xmlns:a16="http://schemas.microsoft.com/office/drawing/2014/main" id="{D0F990B2-3979-46F3-86D0-D96AC553B7F1}"/>
                  </a:ext>
                </a:extLst>
              </p:cNvPr>
              <p:cNvSpPr/>
              <p:nvPr/>
            </p:nvSpPr>
            <p:spPr bwMode="auto">
              <a:xfrm>
                <a:off x="673100" y="4012796"/>
                <a:ext cx="2039484" cy="620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cxnSp>
            <p:nvCxnSpPr>
              <p:cNvPr id="84" name="îṩļïḓê">
                <a:extLst>
                  <a:ext uri="{FF2B5EF4-FFF2-40B4-BE49-F238E27FC236}">
                    <a16:creationId xmlns:a16="http://schemas.microsoft.com/office/drawing/2014/main" id="{D0A54A90-D137-4DF9-B71D-58EE2B02AF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3100" y="3983009"/>
                <a:ext cx="2039484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9" name="iṩ1îḑé">
              <a:extLst>
                <a:ext uri="{FF2B5EF4-FFF2-40B4-BE49-F238E27FC236}">
                  <a16:creationId xmlns:a16="http://schemas.microsoft.com/office/drawing/2014/main" id="{E96A2335-3EB0-478F-AFA7-BD5BC598D194}"/>
                </a:ext>
              </a:extLst>
            </p:cNvPr>
            <p:cNvSpPr/>
            <p:nvPr/>
          </p:nvSpPr>
          <p:spPr>
            <a:xfrm>
              <a:off x="775908" y="2317597"/>
              <a:ext cx="504626" cy="495615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80" name="ïṩḻîḓe">
              <a:extLst>
                <a:ext uri="{FF2B5EF4-FFF2-40B4-BE49-F238E27FC236}">
                  <a16:creationId xmlns:a16="http://schemas.microsoft.com/office/drawing/2014/main" id="{0A41DC40-ECF6-4087-B11D-7294AE3B44CF}"/>
                </a:ext>
              </a:extLst>
            </p:cNvPr>
            <p:cNvSpPr/>
            <p:nvPr/>
          </p:nvSpPr>
          <p:spPr>
            <a:xfrm>
              <a:off x="4496715" y="2313092"/>
              <a:ext cx="414514" cy="504626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3157429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1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íS1idé">
            <a:extLst>
              <a:ext uri="{FF2B5EF4-FFF2-40B4-BE49-F238E27FC236}">
                <a16:creationId xmlns:a16="http://schemas.microsoft.com/office/drawing/2014/main" id="{677D5A0B-CFB6-41B8-8A73-9EFB25CB65AD}"/>
              </a:ext>
            </a:extLst>
          </p:cNvPr>
          <p:cNvSpPr txBox="1"/>
          <p:nvPr/>
        </p:nvSpPr>
        <p:spPr>
          <a:xfrm flipH="1">
            <a:off x="1559377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100" name="îṥliḋé">
            <a:extLst>
              <a:ext uri="{FF2B5EF4-FFF2-40B4-BE49-F238E27FC236}">
                <a16:creationId xmlns:a16="http://schemas.microsoft.com/office/drawing/2014/main" id="{9B5F056E-198C-47B3-BC4D-CBD89576D15E}"/>
              </a:ext>
            </a:extLst>
          </p:cNvPr>
          <p:cNvSpPr/>
          <p:nvPr/>
        </p:nvSpPr>
        <p:spPr>
          <a:xfrm flipH="1">
            <a:off x="1559378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/>
              <a:t>Text here</a:t>
            </a:r>
            <a:endParaRPr lang="zh-CN" altLang="en-US" b="1" dirty="0"/>
          </a:p>
        </p:txBody>
      </p:sp>
      <p:sp>
        <p:nvSpPr>
          <p:cNvPr id="97" name="ï$ḷïḋê">
            <a:extLst>
              <a:ext uri="{FF2B5EF4-FFF2-40B4-BE49-F238E27FC236}">
                <a16:creationId xmlns:a16="http://schemas.microsoft.com/office/drawing/2014/main" id="{51743EA6-4D7B-4F09-A27A-168EB7741A72}"/>
              </a:ext>
            </a:extLst>
          </p:cNvPr>
          <p:cNvSpPr/>
          <p:nvPr/>
        </p:nvSpPr>
        <p:spPr>
          <a:xfrm>
            <a:off x="2382763" y="3670273"/>
            <a:ext cx="838200" cy="8382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98" name="îśḻïḓé">
            <a:extLst>
              <a:ext uri="{FF2B5EF4-FFF2-40B4-BE49-F238E27FC236}">
                <a16:creationId xmlns:a16="http://schemas.microsoft.com/office/drawing/2014/main" id="{EF97EFB3-33CD-4661-BA21-2EFCCD7FC128}"/>
              </a:ext>
            </a:extLst>
          </p:cNvPr>
          <p:cNvSpPr/>
          <p:nvPr/>
        </p:nvSpPr>
        <p:spPr>
          <a:xfrm>
            <a:off x="2497063" y="3811787"/>
            <a:ext cx="609600" cy="555171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95" name="íṩ1ïḍê">
            <a:extLst>
              <a:ext uri="{FF2B5EF4-FFF2-40B4-BE49-F238E27FC236}">
                <a16:creationId xmlns:a16="http://schemas.microsoft.com/office/drawing/2014/main" id="{677D5A0B-CFB6-41B8-8A73-9EFB25CB65AD}"/>
              </a:ext>
            </a:extLst>
          </p:cNvPr>
          <p:cNvSpPr txBox="1"/>
          <p:nvPr/>
        </p:nvSpPr>
        <p:spPr>
          <a:xfrm flipH="1">
            <a:off x="4853514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96" name="iś1íḑé">
            <a:extLst>
              <a:ext uri="{FF2B5EF4-FFF2-40B4-BE49-F238E27FC236}">
                <a16:creationId xmlns:a16="http://schemas.microsoft.com/office/drawing/2014/main" id="{9B5F056E-198C-47B3-BC4D-CBD89576D15E}"/>
              </a:ext>
            </a:extLst>
          </p:cNvPr>
          <p:cNvSpPr/>
          <p:nvPr/>
        </p:nvSpPr>
        <p:spPr>
          <a:xfrm flipH="1">
            <a:off x="4853515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/>
              <a:t>Text here</a:t>
            </a:r>
            <a:endParaRPr lang="zh-CN" altLang="en-US" b="1" dirty="0"/>
          </a:p>
        </p:txBody>
      </p:sp>
      <p:sp>
        <p:nvSpPr>
          <p:cNvPr id="93" name="îsľíde">
            <a:extLst>
              <a:ext uri="{FF2B5EF4-FFF2-40B4-BE49-F238E27FC236}">
                <a16:creationId xmlns:a16="http://schemas.microsoft.com/office/drawing/2014/main" id="{22817253-F0D1-46EC-BC09-7DD2CCEC180A}"/>
              </a:ext>
            </a:extLst>
          </p:cNvPr>
          <p:cNvSpPr/>
          <p:nvPr/>
        </p:nvSpPr>
        <p:spPr>
          <a:xfrm>
            <a:off x="5676900" y="3670273"/>
            <a:ext cx="838200" cy="838200"/>
          </a:xfrm>
          <a:prstGeom prst="roundRect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94" name="íṧlíḓé">
            <a:extLst>
              <a:ext uri="{FF2B5EF4-FFF2-40B4-BE49-F238E27FC236}">
                <a16:creationId xmlns:a16="http://schemas.microsoft.com/office/drawing/2014/main" id="{B20AE1B6-3368-4281-A24F-723FC5A4AC13}"/>
              </a:ext>
            </a:extLst>
          </p:cNvPr>
          <p:cNvSpPr/>
          <p:nvPr/>
        </p:nvSpPr>
        <p:spPr>
          <a:xfrm>
            <a:off x="5791200" y="3846661"/>
            <a:ext cx="609600" cy="48542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91" name="íšľiḓe">
            <a:extLst>
              <a:ext uri="{FF2B5EF4-FFF2-40B4-BE49-F238E27FC236}">
                <a16:creationId xmlns:a16="http://schemas.microsoft.com/office/drawing/2014/main" id="{677D5A0B-CFB6-41B8-8A73-9EFB25CB65AD}"/>
              </a:ext>
            </a:extLst>
          </p:cNvPr>
          <p:cNvSpPr txBox="1"/>
          <p:nvPr/>
        </p:nvSpPr>
        <p:spPr>
          <a:xfrm flipH="1">
            <a:off x="8147650" y="5059426"/>
            <a:ext cx="2484972" cy="62676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92" name="iṥlíḑé">
            <a:extLst>
              <a:ext uri="{FF2B5EF4-FFF2-40B4-BE49-F238E27FC236}">
                <a16:creationId xmlns:a16="http://schemas.microsoft.com/office/drawing/2014/main" id="{9B5F056E-198C-47B3-BC4D-CBD89576D15E}"/>
              </a:ext>
            </a:extLst>
          </p:cNvPr>
          <p:cNvSpPr/>
          <p:nvPr/>
        </p:nvSpPr>
        <p:spPr>
          <a:xfrm flipH="1">
            <a:off x="8147651" y="4612338"/>
            <a:ext cx="2484972" cy="447087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/>
              <a:t>Text here</a:t>
            </a:r>
            <a:endParaRPr lang="zh-CN" altLang="en-US" b="1" dirty="0"/>
          </a:p>
        </p:txBody>
      </p:sp>
      <p:sp>
        <p:nvSpPr>
          <p:cNvPr id="89" name="îŝlíďê">
            <a:extLst>
              <a:ext uri="{FF2B5EF4-FFF2-40B4-BE49-F238E27FC236}">
                <a16:creationId xmlns:a16="http://schemas.microsoft.com/office/drawing/2014/main" id="{B7DDC5A4-0BC5-4299-BFEA-0B30D88B5874}"/>
              </a:ext>
            </a:extLst>
          </p:cNvPr>
          <p:cNvSpPr/>
          <p:nvPr/>
        </p:nvSpPr>
        <p:spPr>
          <a:xfrm>
            <a:off x="8971036" y="3670273"/>
            <a:ext cx="838200" cy="8382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90" name="îṡļide">
            <a:extLst>
              <a:ext uri="{FF2B5EF4-FFF2-40B4-BE49-F238E27FC236}">
                <a16:creationId xmlns:a16="http://schemas.microsoft.com/office/drawing/2014/main" id="{7C7DD934-19DD-45E9-BB5E-7639A7361AD1}"/>
              </a:ext>
            </a:extLst>
          </p:cNvPr>
          <p:cNvSpPr/>
          <p:nvPr/>
        </p:nvSpPr>
        <p:spPr>
          <a:xfrm>
            <a:off x="9106696" y="3784572"/>
            <a:ext cx="566879" cy="609600"/>
          </a:xfrm>
          <a:custGeom>
            <a:avLst/>
            <a:gdLst>
              <a:gd name="connsiteX0" fmla="*/ 8038 w 487162"/>
              <a:gd name="connsiteY0" fmla="*/ 513398 h 523875"/>
              <a:gd name="connsiteX1" fmla="*/ 7467 w 487162"/>
              <a:gd name="connsiteY1" fmla="*/ 512731 h 523875"/>
              <a:gd name="connsiteX2" fmla="*/ 7467 w 487162"/>
              <a:gd name="connsiteY2" fmla="*/ 512731 h 523875"/>
              <a:gd name="connsiteX3" fmla="*/ 6991 w 487162"/>
              <a:gd name="connsiteY3" fmla="*/ 512064 h 523875"/>
              <a:gd name="connsiteX4" fmla="*/ 4990 w 487162"/>
              <a:gd name="connsiteY4" fmla="*/ 509016 h 523875"/>
              <a:gd name="connsiteX5" fmla="*/ 4990 w 487162"/>
              <a:gd name="connsiteY5" fmla="*/ 509016 h 523875"/>
              <a:gd name="connsiteX6" fmla="*/ 4514 w 487162"/>
              <a:gd name="connsiteY6" fmla="*/ 508254 h 523875"/>
              <a:gd name="connsiteX7" fmla="*/ 3752 w 487162"/>
              <a:gd name="connsiteY7" fmla="*/ 506730 h 523875"/>
              <a:gd name="connsiteX8" fmla="*/ 3085 w 487162"/>
              <a:gd name="connsiteY8" fmla="*/ 505111 h 523875"/>
              <a:gd name="connsiteX9" fmla="*/ 2990 w 487162"/>
              <a:gd name="connsiteY9" fmla="*/ 504920 h 523875"/>
              <a:gd name="connsiteX10" fmla="*/ 2895 w 487162"/>
              <a:gd name="connsiteY10" fmla="*/ 504635 h 523875"/>
              <a:gd name="connsiteX11" fmla="*/ 2895 w 487162"/>
              <a:gd name="connsiteY11" fmla="*/ 504444 h 523875"/>
              <a:gd name="connsiteX12" fmla="*/ 2228 w 487162"/>
              <a:gd name="connsiteY12" fmla="*/ 502444 h 523875"/>
              <a:gd name="connsiteX13" fmla="*/ 1847 w 487162"/>
              <a:gd name="connsiteY13" fmla="*/ 501110 h 523875"/>
              <a:gd name="connsiteX14" fmla="*/ 1371 w 487162"/>
              <a:gd name="connsiteY14" fmla="*/ 499205 h 523875"/>
              <a:gd name="connsiteX15" fmla="*/ 514 w 487162"/>
              <a:gd name="connsiteY15" fmla="*/ 494919 h 523875"/>
              <a:gd name="connsiteX16" fmla="*/ 228 w 487162"/>
              <a:gd name="connsiteY16" fmla="*/ 492443 h 523875"/>
              <a:gd name="connsiteX17" fmla="*/ 37 w 487162"/>
              <a:gd name="connsiteY17" fmla="*/ 485870 h 523875"/>
              <a:gd name="connsiteX18" fmla="*/ 4609 w 487162"/>
              <a:gd name="connsiteY18" fmla="*/ 467582 h 523875"/>
              <a:gd name="connsiteX19" fmla="*/ 154247 w 487162"/>
              <a:gd name="connsiteY19" fmla="*/ 150876 h 523875"/>
              <a:gd name="connsiteX20" fmla="*/ 157867 w 487162"/>
              <a:gd name="connsiteY20" fmla="*/ 134588 h 523875"/>
              <a:gd name="connsiteX21" fmla="*/ 157867 w 487162"/>
              <a:gd name="connsiteY21" fmla="*/ 19050 h 523875"/>
              <a:gd name="connsiteX22" fmla="*/ 119767 w 487162"/>
              <a:gd name="connsiteY22" fmla="*/ 19050 h 523875"/>
              <a:gd name="connsiteX23" fmla="*/ 119767 w 487162"/>
              <a:gd name="connsiteY23" fmla="*/ 0 h 523875"/>
              <a:gd name="connsiteX24" fmla="*/ 367417 w 487162"/>
              <a:gd name="connsiteY24" fmla="*/ 0 h 523875"/>
              <a:gd name="connsiteX25" fmla="*/ 367417 w 487162"/>
              <a:gd name="connsiteY25" fmla="*/ 19050 h 523875"/>
              <a:gd name="connsiteX26" fmla="*/ 329317 w 487162"/>
              <a:gd name="connsiteY26" fmla="*/ 19050 h 523875"/>
              <a:gd name="connsiteX27" fmla="*/ 329317 w 487162"/>
              <a:gd name="connsiteY27" fmla="*/ 134684 h 523875"/>
              <a:gd name="connsiteX28" fmla="*/ 332936 w 487162"/>
              <a:gd name="connsiteY28" fmla="*/ 150971 h 523875"/>
              <a:gd name="connsiteX29" fmla="*/ 482574 w 487162"/>
              <a:gd name="connsiteY29" fmla="*/ 467678 h 523875"/>
              <a:gd name="connsiteX30" fmla="*/ 484098 w 487162"/>
              <a:gd name="connsiteY30" fmla="*/ 504920 h 523875"/>
              <a:gd name="connsiteX31" fmla="*/ 484003 w 487162"/>
              <a:gd name="connsiteY31" fmla="*/ 505111 h 523875"/>
              <a:gd name="connsiteX32" fmla="*/ 483431 w 487162"/>
              <a:gd name="connsiteY32" fmla="*/ 506540 h 523875"/>
              <a:gd name="connsiteX33" fmla="*/ 458571 w 487162"/>
              <a:gd name="connsiteY33" fmla="*/ 523780 h 523875"/>
              <a:gd name="connsiteX34" fmla="*/ 456666 w 487162"/>
              <a:gd name="connsiteY34" fmla="*/ 523875 h 523875"/>
              <a:gd name="connsiteX35" fmla="*/ 30422 w 487162"/>
              <a:gd name="connsiteY35" fmla="*/ 523875 h 523875"/>
              <a:gd name="connsiteX36" fmla="*/ 28612 w 487162"/>
              <a:gd name="connsiteY36" fmla="*/ 523780 h 523875"/>
              <a:gd name="connsiteX37" fmla="*/ 26136 w 487162"/>
              <a:gd name="connsiteY37" fmla="*/ 523494 h 523875"/>
              <a:gd name="connsiteX38" fmla="*/ 22326 w 487162"/>
              <a:gd name="connsiteY38" fmla="*/ 522637 h 523875"/>
              <a:gd name="connsiteX39" fmla="*/ 22326 w 487162"/>
              <a:gd name="connsiteY39" fmla="*/ 522637 h 523875"/>
              <a:gd name="connsiteX40" fmla="*/ 16801 w 487162"/>
              <a:gd name="connsiteY40" fmla="*/ 520351 h 523875"/>
              <a:gd name="connsiteX41" fmla="*/ 15373 w 487162"/>
              <a:gd name="connsiteY41" fmla="*/ 519589 h 523875"/>
              <a:gd name="connsiteX42" fmla="*/ 14420 w 487162"/>
              <a:gd name="connsiteY42" fmla="*/ 519017 h 523875"/>
              <a:gd name="connsiteX43" fmla="*/ 9467 w 487162"/>
              <a:gd name="connsiteY43" fmla="*/ 514922 h 523875"/>
              <a:gd name="connsiteX44" fmla="*/ 8038 w 487162"/>
              <a:gd name="connsiteY44" fmla="*/ 513398 h 523875"/>
              <a:gd name="connsiteX45" fmla="*/ 8038 w 487162"/>
              <a:gd name="connsiteY45" fmla="*/ 513398 h 523875"/>
              <a:gd name="connsiteX46" fmla="*/ 254641 w 487162"/>
              <a:gd name="connsiteY46" fmla="*/ 404146 h 523875"/>
              <a:gd name="connsiteX47" fmla="*/ 251783 w 487162"/>
              <a:gd name="connsiteY47" fmla="*/ 405956 h 523875"/>
              <a:gd name="connsiteX48" fmla="*/ 246259 w 487162"/>
              <a:gd name="connsiteY48" fmla="*/ 409670 h 523875"/>
              <a:gd name="connsiteX49" fmla="*/ 54425 w 487162"/>
              <a:gd name="connsiteY49" fmla="*/ 416243 h 523875"/>
              <a:gd name="connsiteX50" fmla="*/ 50615 w 487162"/>
              <a:gd name="connsiteY50" fmla="*/ 414719 h 523875"/>
              <a:gd name="connsiteX51" fmla="*/ 21754 w 487162"/>
              <a:gd name="connsiteY51" fmla="*/ 475774 h 523875"/>
              <a:gd name="connsiteX52" fmla="*/ 20897 w 487162"/>
              <a:gd name="connsiteY52" fmla="*/ 477679 h 523875"/>
              <a:gd name="connsiteX53" fmla="*/ 20802 w 487162"/>
              <a:gd name="connsiteY53" fmla="*/ 498158 h 523875"/>
              <a:gd name="connsiteX54" fmla="*/ 27945 w 487162"/>
              <a:gd name="connsiteY54" fmla="*/ 504444 h 523875"/>
              <a:gd name="connsiteX55" fmla="*/ 29184 w 487162"/>
              <a:gd name="connsiteY55" fmla="*/ 504635 h 523875"/>
              <a:gd name="connsiteX56" fmla="*/ 30327 w 487162"/>
              <a:gd name="connsiteY56" fmla="*/ 504730 h 523875"/>
              <a:gd name="connsiteX57" fmla="*/ 456570 w 487162"/>
              <a:gd name="connsiteY57" fmla="*/ 504730 h 523875"/>
              <a:gd name="connsiteX58" fmla="*/ 457714 w 487162"/>
              <a:gd name="connsiteY58" fmla="*/ 504635 h 523875"/>
              <a:gd name="connsiteX59" fmla="*/ 466095 w 487162"/>
              <a:gd name="connsiteY59" fmla="*/ 498062 h 523875"/>
              <a:gd name="connsiteX60" fmla="*/ 466667 w 487162"/>
              <a:gd name="connsiteY60" fmla="*/ 479584 h 523875"/>
              <a:gd name="connsiteX61" fmla="*/ 466000 w 487162"/>
              <a:gd name="connsiteY61" fmla="*/ 477584 h 523875"/>
              <a:gd name="connsiteX62" fmla="*/ 465143 w 487162"/>
              <a:gd name="connsiteY62" fmla="*/ 475679 h 523875"/>
              <a:gd name="connsiteX63" fmla="*/ 423519 w 487162"/>
              <a:gd name="connsiteY63" fmla="*/ 387477 h 523875"/>
              <a:gd name="connsiteX64" fmla="*/ 254641 w 487162"/>
              <a:gd name="connsiteY64" fmla="*/ 404146 h 523875"/>
              <a:gd name="connsiteX65" fmla="*/ 305504 w 487162"/>
              <a:gd name="connsiteY65" fmla="*/ 257175 h 523875"/>
              <a:gd name="connsiteX66" fmla="*/ 272167 w 487162"/>
              <a:gd name="connsiteY66" fmla="*/ 290513 h 523875"/>
              <a:gd name="connsiteX67" fmla="*/ 305504 w 487162"/>
              <a:gd name="connsiteY67" fmla="*/ 323850 h 523875"/>
              <a:gd name="connsiteX68" fmla="*/ 338842 w 487162"/>
              <a:gd name="connsiteY68" fmla="*/ 290513 h 523875"/>
              <a:gd name="connsiteX69" fmla="*/ 305504 w 487162"/>
              <a:gd name="connsiteY69" fmla="*/ 2571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87162" h="523875">
                <a:moveTo>
                  <a:pt x="8038" y="513398"/>
                </a:moveTo>
                <a:lnTo>
                  <a:pt x="7467" y="512731"/>
                </a:lnTo>
                <a:lnTo>
                  <a:pt x="7467" y="512731"/>
                </a:lnTo>
                <a:lnTo>
                  <a:pt x="6991" y="512064"/>
                </a:lnTo>
                <a:cubicBezTo>
                  <a:pt x="6228" y="511112"/>
                  <a:pt x="5657" y="510064"/>
                  <a:pt x="4990" y="509016"/>
                </a:cubicBezTo>
                <a:lnTo>
                  <a:pt x="4990" y="509016"/>
                </a:lnTo>
                <a:lnTo>
                  <a:pt x="4514" y="508254"/>
                </a:lnTo>
                <a:lnTo>
                  <a:pt x="3752" y="506730"/>
                </a:lnTo>
                <a:lnTo>
                  <a:pt x="3085" y="505111"/>
                </a:lnTo>
                <a:lnTo>
                  <a:pt x="2990" y="504920"/>
                </a:lnTo>
                <a:lnTo>
                  <a:pt x="2895" y="504635"/>
                </a:lnTo>
                <a:lnTo>
                  <a:pt x="2895" y="504444"/>
                </a:lnTo>
                <a:lnTo>
                  <a:pt x="2228" y="502444"/>
                </a:lnTo>
                <a:cubicBezTo>
                  <a:pt x="2133" y="501968"/>
                  <a:pt x="1942" y="501587"/>
                  <a:pt x="1847" y="501110"/>
                </a:cubicBezTo>
                <a:cubicBezTo>
                  <a:pt x="1657" y="500444"/>
                  <a:pt x="1466" y="499872"/>
                  <a:pt x="1371" y="499205"/>
                </a:cubicBezTo>
                <a:cubicBezTo>
                  <a:pt x="990" y="497776"/>
                  <a:pt x="799" y="496348"/>
                  <a:pt x="514" y="494919"/>
                </a:cubicBezTo>
                <a:lnTo>
                  <a:pt x="228" y="492443"/>
                </a:lnTo>
                <a:cubicBezTo>
                  <a:pt x="37" y="490252"/>
                  <a:pt x="-58" y="488061"/>
                  <a:pt x="37" y="485870"/>
                </a:cubicBezTo>
                <a:cubicBezTo>
                  <a:pt x="323" y="479584"/>
                  <a:pt x="1847" y="473393"/>
                  <a:pt x="4609" y="467582"/>
                </a:cubicBezTo>
                <a:lnTo>
                  <a:pt x="154247" y="150876"/>
                </a:lnTo>
                <a:cubicBezTo>
                  <a:pt x="156628" y="145828"/>
                  <a:pt x="157867" y="140208"/>
                  <a:pt x="157867" y="134588"/>
                </a:cubicBezTo>
                <a:lnTo>
                  <a:pt x="157867" y="19050"/>
                </a:lnTo>
                <a:lnTo>
                  <a:pt x="119767" y="19050"/>
                </a:lnTo>
                <a:lnTo>
                  <a:pt x="119767" y="0"/>
                </a:lnTo>
                <a:lnTo>
                  <a:pt x="367417" y="0"/>
                </a:lnTo>
                <a:lnTo>
                  <a:pt x="367417" y="19050"/>
                </a:lnTo>
                <a:lnTo>
                  <a:pt x="329317" y="19050"/>
                </a:lnTo>
                <a:lnTo>
                  <a:pt x="329317" y="134684"/>
                </a:lnTo>
                <a:cubicBezTo>
                  <a:pt x="329317" y="140303"/>
                  <a:pt x="330555" y="145828"/>
                  <a:pt x="332936" y="150971"/>
                </a:cubicBezTo>
                <a:lnTo>
                  <a:pt x="482574" y="467678"/>
                </a:lnTo>
                <a:cubicBezTo>
                  <a:pt x="488098" y="479393"/>
                  <a:pt x="488670" y="492824"/>
                  <a:pt x="484098" y="504920"/>
                </a:cubicBezTo>
                <a:lnTo>
                  <a:pt x="484003" y="505111"/>
                </a:lnTo>
                <a:lnTo>
                  <a:pt x="483431" y="506540"/>
                </a:lnTo>
                <a:cubicBezTo>
                  <a:pt x="478954" y="516446"/>
                  <a:pt x="469429" y="523113"/>
                  <a:pt x="458571" y="523780"/>
                </a:cubicBezTo>
                <a:lnTo>
                  <a:pt x="456666" y="523875"/>
                </a:lnTo>
                <a:lnTo>
                  <a:pt x="30422" y="523875"/>
                </a:lnTo>
                <a:lnTo>
                  <a:pt x="28612" y="523780"/>
                </a:lnTo>
                <a:cubicBezTo>
                  <a:pt x="27755" y="523685"/>
                  <a:pt x="26993" y="523685"/>
                  <a:pt x="26136" y="523494"/>
                </a:cubicBezTo>
                <a:cubicBezTo>
                  <a:pt x="24802" y="523304"/>
                  <a:pt x="23564" y="523018"/>
                  <a:pt x="22326" y="522637"/>
                </a:cubicBezTo>
                <a:lnTo>
                  <a:pt x="22326" y="522637"/>
                </a:lnTo>
                <a:cubicBezTo>
                  <a:pt x="20421" y="522065"/>
                  <a:pt x="18516" y="521303"/>
                  <a:pt x="16801" y="520351"/>
                </a:cubicBezTo>
                <a:lnTo>
                  <a:pt x="15373" y="519589"/>
                </a:lnTo>
                <a:cubicBezTo>
                  <a:pt x="15087" y="519398"/>
                  <a:pt x="14801" y="519208"/>
                  <a:pt x="14420" y="519017"/>
                </a:cubicBezTo>
                <a:cubicBezTo>
                  <a:pt x="12610" y="517874"/>
                  <a:pt x="10896" y="516446"/>
                  <a:pt x="9467" y="514922"/>
                </a:cubicBezTo>
                <a:lnTo>
                  <a:pt x="8038" y="513398"/>
                </a:lnTo>
                <a:lnTo>
                  <a:pt x="8038" y="513398"/>
                </a:lnTo>
                <a:close/>
                <a:moveTo>
                  <a:pt x="254641" y="404146"/>
                </a:moveTo>
                <a:lnTo>
                  <a:pt x="251783" y="405956"/>
                </a:lnTo>
                <a:lnTo>
                  <a:pt x="246259" y="409670"/>
                </a:lnTo>
                <a:cubicBezTo>
                  <a:pt x="199015" y="441008"/>
                  <a:pt x="119481" y="441960"/>
                  <a:pt x="54425" y="416243"/>
                </a:cubicBezTo>
                <a:lnTo>
                  <a:pt x="50615" y="414719"/>
                </a:lnTo>
                <a:lnTo>
                  <a:pt x="21754" y="475774"/>
                </a:lnTo>
                <a:lnTo>
                  <a:pt x="20897" y="477679"/>
                </a:lnTo>
                <a:cubicBezTo>
                  <a:pt x="18420" y="484251"/>
                  <a:pt x="18325" y="491490"/>
                  <a:pt x="20802" y="498158"/>
                </a:cubicBezTo>
                <a:cubicBezTo>
                  <a:pt x="22040" y="501396"/>
                  <a:pt x="24707" y="503682"/>
                  <a:pt x="27945" y="504444"/>
                </a:cubicBezTo>
                <a:lnTo>
                  <a:pt x="29184" y="504635"/>
                </a:lnTo>
                <a:lnTo>
                  <a:pt x="30327" y="504730"/>
                </a:lnTo>
                <a:lnTo>
                  <a:pt x="456570" y="504730"/>
                </a:lnTo>
                <a:lnTo>
                  <a:pt x="457714" y="504635"/>
                </a:lnTo>
                <a:cubicBezTo>
                  <a:pt x="461524" y="504254"/>
                  <a:pt x="464762" y="501682"/>
                  <a:pt x="466095" y="498062"/>
                </a:cubicBezTo>
                <a:cubicBezTo>
                  <a:pt x="468382" y="492157"/>
                  <a:pt x="468572" y="485585"/>
                  <a:pt x="466667" y="479584"/>
                </a:cubicBezTo>
                <a:lnTo>
                  <a:pt x="466000" y="477584"/>
                </a:lnTo>
                <a:lnTo>
                  <a:pt x="465143" y="475679"/>
                </a:lnTo>
                <a:lnTo>
                  <a:pt x="423519" y="387477"/>
                </a:lnTo>
                <a:cubicBezTo>
                  <a:pt x="365416" y="373190"/>
                  <a:pt x="295979" y="378714"/>
                  <a:pt x="254641" y="404146"/>
                </a:cubicBezTo>
                <a:close/>
                <a:moveTo>
                  <a:pt x="305504" y="257175"/>
                </a:moveTo>
                <a:cubicBezTo>
                  <a:pt x="287121" y="257175"/>
                  <a:pt x="272167" y="272129"/>
                  <a:pt x="272167" y="290513"/>
                </a:cubicBezTo>
                <a:cubicBezTo>
                  <a:pt x="272167" y="308896"/>
                  <a:pt x="287121" y="323850"/>
                  <a:pt x="305504" y="323850"/>
                </a:cubicBezTo>
                <a:cubicBezTo>
                  <a:pt x="323887" y="323850"/>
                  <a:pt x="338842" y="308896"/>
                  <a:pt x="338842" y="290513"/>
                </a:cubicBezTo>
                <a:cubicBezTo>
                  <a:pt x="338842" y="272129"/>
                  <a:pt x="323887" y="257175"/>
                  <a:pt x="305504" y="25717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84" name="íślïḍê">
            <a:extLst>
              <a:ext uri="{FF2B5EF4-FFF2-40B4-BE49-F238E27FC236}">
                <a16:creationId xmlns:a16="http://schemas.microsoft.com/office/drawing/2014/main" id="{0C210C44-D6F3-4A3E-A25D-63B3F9631EEF}"/>
              </a:ext>
            </a:extLst>
          </p:cNvPr>
          <p:cNvCxnSpPr/>
          <p:nvPr/>
        </p:nvCxnSpPr>
        <p:spPr>
          <a:xfrm>
            <a:off x="4448932" y="3242538"/>
            <a:ext cx="0" cy="2871387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ísḷîḍè">
            <a:extLst>
              <a:ext uri="{FF2B5EF4-FFF2-40B4-BE49-F238E27FC236}">
                <a16:creationId xmlns:a16="http://schemas.microsoft.com/office/drawing/2014/main" id="{D9C52EE6-1BF6-456F-9759-340EC830EE4E}"/>
              </a:ext>
            </a:extLst>
          </p:cNvPr>
          <p:cNvCxnSpPr/>
          <p:nvPr/>
        </p:nvCxnSpPr>
        <p:spPr>
          <a:xfrm>
            <a:off x="7743069" y="3242538"/>
            <a:ext cx="0" cy="2871387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íšļïḋe">
            <a:extLst>
              <a:ext uri="{FF2B5EF4-FFF2-40B4-BE49-F238E27FC236}">
                <a16:creationId xmlns:a16="http://schemas.microsoft.com/office/drawing/2014/main" id="{3E182722-FA1D-47E4-BBBB-B9D35537330E}"/>
              </a:ext>
            </a:extLst>
          </p:cNvPr>
          <p:cNvSpPr/>
          <p:nvPr/>
        </p:nvSpPr>
        <p:spPr>
          <a:xfrm>
            <a:off x="0" y="0"/>
            <a:ext cx="12192000" cy="2961786"/>
          </a:xfrm>
          <a:prstGeom prst="rect">
            <a:avLst/>
          </a:prstGeom>
          <a:blipFill>
            <a:blip r:embed="rId4"/>
            <a:srcRect/>
            <a:stretch>
              <a:fillRect t="-101686" b="-10168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8" name="íśľïḓè">
            <a:extLst>
              <a:ext uri="{FF2B5EF4-FFF2-40B4-BE49-F238E27FC236}">
                <a16:creationId xmlns:a16="http://schemas.microsoft.com/office/drawing/2014/main" id="{E8F4A7D6-B7E3-4CCE-9762-84CD280A400B}"/>
              </a:ext>
            </a:extLst>
          </p:cNvPr>
          <p:cNvSpPr/>
          <p:nvPr/>
        </p:nvSpPr>
        <p:spPr>
          <a:xfrm>
            <a:off x="0" y="2504762"/>
            <a:ext cx="12192000" cy="457024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i="1" dirty="0"/>
              <a:t>Unified fonts make reading more fluent.</a:t>
            </a:r>
          </a:p>
        </p:txBody>
      </p:sp>
      <p:sp>
        <p:nvSpPr>
          <p:cNvPr id="2" name="ïšḷíḓè">
            <a:extLst>
              <a:ext uri="{FF2B5EF4-FFF2-40B4-BE49-F238E27FC236}">
                <a16:creationId xmlns:a16="http://schemas.microsoft.com/office/drawing/2014/main" id="{23959B35-2F6D-4A44-927C-E1B4743EF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Click to edit Master title style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3" name="ïṡḷíḓè">
            <a:extLst>
              <a:ext uri="{FF2B5EF4-FFF2-40B4-BE49-F238E27FC236}">
                <a16:creationId xmlns:a16="http://schemas.microsoft.com/office/drawing/2014/main" id="{1437FC71-F444-4153-B42F-7ED567854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ś1ídè">
            <a:extLst>
              <a:ext uri="{FF2B5EF4-FFF2-40B4-BE49-F238E27FC236}">
                <a16:creationId xmlns:a16="http://schemas.microsoft.com/office/drawing/2014/main" id="{B0CDC1A5-259E-4410-81F1-79F8C982C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36950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1îḑ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ṣļïď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şľíḓ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s1iď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altLang="zh-CN" sz="6000" dirty="0">
                <a:solidFill>
                  <a:schemeClr val="accent1"/>
                </a:solidFill>
              </a:rPr>
              <a:t>THANKS</a:t>
            </a:r>
            <a:br>
              <a:rPr lang="en-US" altLang="zh-CN" dirty="0"/>
            </a:br>
            <a:r>
              <a:rPr lang="en-US" altLang="zh-CN" b="0" dirty="0"/>
              <a:t>And Your Slogan Here</a:t>
            </a:r>
            <a:endParaRPr lang="zh-CN" altLang="en-US" b="0" dirty="0"/>
          </a:p>
        </p:txBody>
      </p:sp>
      <p:sp>
        <p:nvSpPr>
          <p:cNvPr id="7" name="ïsliďê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en-US" altLang="zh-CN" dirty="0"/>
              <a:t>www.hust.edu.cn</a:t>
            </a:r>
          </a:p>
        </p:txBody>
      </p:sp>
      <p:sp>
        <p:nvSpPr>
          <p:cNvPr id="6" name="ïsḻïḋê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ṧļïḍê"/>
          <p:cNvSpPr>
            <a:spLocks noGrp="1"/>
          </p:cNvSpPr>
          <p:nvPr>
            <p:ph type="title"/>
          </p:nvPr>
        </p:nvSpPr>
        <p:spPr>
          <a:xfrm>
            <a:off x="1994364" y="2981325"/>
            <a:ext cx="5419185" cy="895350"/>
          </a:xfrm>
        </p:spPr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íšļidè"/>
          <p:cNvSpPr>
            <a:spLocks noGrp="1"/>
          </p:cNvSpPr>
          <p:nvPr>
            <p:ph type="body" idx="1"/>
          </p:nvPr>
        </p:nvSpPr>
        <p:spPr>
          <a:xfrm>
            <a:off x="1994363" y="3813818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iŝ1ïd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90884" y="3507599"/>
            <a:ext cx="901523" cy="81403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latin typeface="+mj-ea"/>
                <a:ea typeface="+mj-ea"/>
                <a:cs typeface="Arial" panose="020B0604020202020204" pitchFamily="34" charset="0"/>
              </a:rPr>
              <a:t>01</a:t>
            </a:r>
            <a:endParaRPr lang="zh-CN" altLang="en-US" b="1" spc="-150" dirty="0">
              <a:solidFill>
                <a:schemeClr val="accent1"/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ḻ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ļîḍè">
            <a:extLst>
              <a:ext uri="{FF2B5EF4-FFF2-40B4-BE49-F238E27FC236}">
                <a16:creationId xmlns:a16="http://schemas.microsoft.com/office/drawing/2014/main" id="{F4765C96-3C65-41A4-8021-BCB700D9D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ṡļiḓê">
            <a:extLst>
              <a:ext uri="{FF2B5EF4-FFF2-40B4-BE49-F238E27FC236}">
                <a16:creationId xmlns:a16="http://schemas.microsoft.com/office/drawing/2014/main" id="{4A10396F-4714-4FC8-A866-526BAC68F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ṧļïḋe">
            <a:extLst>
              <a:ext uri="{FF2B5EF4-FFF2-40B4-BE49-F238E27FC236}">
                <a16:creationId xmlns:a16="http://schemas.microsoft.com/office/drawing/2014/main" id="{262B20EF-D65C-48C4-A475-F35C1C756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341" name="íṧ1íd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DC3EC1-F557-4566-B12A-C42781E186B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887583"/>
            <a:ext cx="10845800" cy="3501934"/>
            <a:chOff x="673100" y="1887583"/>
            <a:chExt cx="10845800" cy="3501934"/>
          </a:xfrm>
        </p:grpSpPr>
        <p:grpSp>
          <p:nvGrpSpPr>
            <p:cNvPr id="342" name="iSľïḓè">
              <a:extLst>
                <a:ext uri="{FF2B5EF4-FFF2-40B4-BE49-F238E27FC236}">
                  <a16:creationId xmlns:a16="http://schemas.microsoft.com/office/drawing/2014/main" id="{AA33055E-DEA5-4251-868A-22044C31C08A}"/>
                </a:ext>
              </a:extLst>
            </p:cNvPr>
            <p:cNvGrpSpPr/>
            <p:nvPr/>
          </p:nvGrpSpPr>
          <p:grpSpPr>
            <a:xfrm>
              <a:off x="8062830" y="1897549"/>
              <a:ext cx="3199581" cy="984430"/>
              <a:chOff x="8140822" y="1812036"/>
              <a:chExt cx="3378077" cy="984430"/>
            </a:xfrm>
          </p:grpSpPr>
          <p:sp>
            <p:nvSpPr>
              <p:cNvPr id="387" name="îşľíḑè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8" name="iṥļídé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3" name="ïSḻíḑè">
              <a:extLst>
                <a:ext uri="{FF2B5EF4-FFF2-40B4-BE49-F238E27FC236}">
                  <a16:creationId xmlns:a16="http://schemas.microsoft.com/office/drawing/2014/main" id="{040AF0AD-9C35-46C7-BF95-7F745B63340E}"/>
                </a:ext>
              </a:extLst>
            </p:cNvPr>
            <p:cNvGrpSpPr/>
            <p:nvPr/>
          </p:nvGrpSpPr>
          <p:grpSpPr>
            <a:xfrm>
              <a:off x="8319319" y="3148461"/>
              <a:ext cx="3199581" cy="984430"/>
              <a:chOff x="8140822" y="1812036"/>
              <a:chExt cx="3378077" cy="984430"/>
            </a:xfrm>
          </p:grpSpPr>
          <p:sp>
            <p:nvSpPr>
              <p:cNvPr id="385" name="ïşḻïdé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6" name="iş1ïḓè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4" name="ï$ḷíḋê">
              <a:extLst>
                <a:ext uri="{FF2B5EF4-FFF2-40B4-BE49-F238E27FC236}">
                  <a16:creationId xmlns:a16="http://schemas.microsoft.com/office/drawing/2014/main" id="{24CF6B47-85A1-4624-9CBF-F39EE7CDC4A2}"/>
                </a:ext>
              </a:extLst>
            </p:cNvPr>
            <p:cNvGrpSpPr/>
            <p:nvPr/>
          </p:nvGrpSpPr>
          <p:grpSpPr>
            <a:xfrm>
              <a:off x="8062830" y="4399372"/>
              <a:ext cx="3199581" cy="984430"/>
              <a:chOff x="8140822" y="1812036"/>
              <a:chExt cx="3378077" cy="984430"/>
            </a:xfrm>
          </p:grpSpPr>
          <p:sp>
            <p:nvSpPr>
              <p:cNvPr id="383" name="íṧliḑ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4" name="íşḷíḑê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345" name="îṧľidé">
              <a:extLst>
                <a:ext uri="{FF2B5EF4-FFF2-40B4-BE49-F238E27FC236}">
                  <a16:creationId xmlns:a16="http://schemas.microsoft.com/office/drawing/2014/main" id="{EF8CEC93-96CA-4F85-8B03-D4C0E8BA0CA8}"/>
                </a:ext>
              </a:extLst>
            </p:cNvPr>
            <p:cNvCxnSpPr/>
            <p:nvPr/>
          </p:nvCxnSpPr>
          <p:spPr>
            <a:xfrm>
              <a:off x="8319319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íşḻîḋé">
              <a:extLst>
                <a:ext uri="{FF2B5EF4-FFF2-40B4-BE49-F238E27FC236}">
                  <a16:creationId xmlns:a16="http://schemas.microsoft.com/office/drawing/2014/main" id="{944794E1-A617-4577-93D7-196E9D35416D}"/>
                </a:ext>
              </a:extLst>
            </p:cNvPr>
            <p:cNvCxnSpPr/>
            <p:nvPr/>
          </p:nvCxnSpPr>
          <p:spPr>
            <a:xfrm>
              <a:off x="8319319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7" name="iśḻíḍê">
              <a:extLst>
                <a:ext uri="{FF2B5EF4-FFF2-40B4-BE49-F238E27FC236}">
                  <a16:creationId xmlns:a16="http://schemas.microsoft.com/office/drawing/2014/main" id="{313AB410-0282-43AC-86AA-146FD07B290C}"/>
                </a:ext>
              </a:extLst>
            </p:cNvPr>
            <p:cNvGrpSpPr/>
            <p:nvPr/>
          </p:nvGrpSpPr>
          <p:grpSpPr>
            <a:xfrm flipH="1">
              <a:off x="930297" y="1897549"/>
              <a:ext cx="3199581" cy="984430"/>
              <a:chOff x="8140822" y="1812036"/>
              <a:chExt cx="3378077" cy="984430"/>
            </a:xfrm>
          </p:grpSpPr>
          <p:sp>
            <p:nvSpPr>
              <p:cNvPr id="381" name="iṣḷiďê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2" name="iṣľiḋ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8" name="ïŝľiḋê">
              <a:extLst>
                <a:ext uri="{FF2B5EF4-FFF2-40B4-BE49-F238E27FC236}">
                  <a16:creationId xmlns:a16="http://schemas.microsoft.com/office/drawing/2014/main" id="{89182016-7387-40CF-B071-3C477C3FBA0B}"/>
                </a:ext>
              </a:extLst>
            </p:cNvPr>
            <p:cNvGrpSpPr/>
            <p:nvPr/>
          </p:nvGrpSpPr>
          <p:grpSpPr>
            <a:xfrm flipH="1">
              <a:off x="673100" y="3148461"/>
              <a:ext cx="3199581" cy="984430"/>
              <a:chOff x="8140822" y="1812036"/>
              <a:chExt cx="3378077" cy="984430"/>
            </a:xfrm>
          </p:grpSpPr>
          <p:sp>
            <p:nvSpPr>
              <p:cNvPr id="379" name="ïš1ïďè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0" name="ïŝľîďè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9" name="ï$ļïḍê">
              <a:extLst>
                <a:ext uri="{FF2B5EF4-FFF2-40B4-BE49-F238E27FC236}">
                  <a16:creationId xmlns:a16="http://schemas.microsoft.com/office/drawing/2014/main" id="{AC3E303C-FE9E-490D-9423-D380D27F80E0}"/>
                </a:ext>
              </a:extLst>
            </p:cNvPr>
            <p:cNvGrpSpPr/>
            <p:nvPr/>
          </p:nvGrpSpPr>
          <p:grpSpPr>
            <a:xfrm flipH="1">
              <a:off x="934548" y="4399372"/>
              <a:ext cx="3199581" cy="984430"/>
              <a:chOff x="8140822" y="1812036"/>
              <a:chExt cx="3378077" cy="984430"/>
            </a:xfrm>
          </p:grpSpPr>
          <p:sp>
            <p:nvSpPr>
              <p:cNvPr id="377" name="iŝḻîďè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8140822" y="2257841"/>
                <a:ext cx="3378077" cy="538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78" name="íṡļïḓé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8140822" y="1812036"/>
                <a:ext cx="3378077" cy="445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350" name="is1ïḍé">
              <a:extLst>
                <a:ext uri="{FF2B5EF4-FFF2-40B4-BE49-F238E27FC236}">
                  <a16:creationId xmlns:a16="http://schemas.microsoft.com/office/drawing/2014/main" id="{49A3631D-17E7-45C9-BAEA-F2569B2321E5}"/>
                </a:ext>
              </a:extLst>
            </p:cNvPr>
            <p:cNvCxnSpPr/>
            <p:nvPr/>
          </p:nvCxnSpPr>
          <p:spPr>
            <a:xfrm flipH="1">
              <a:off x="673100" y="3015220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îSḷíde">
              <a:extLst>
                <a:ext uri="{FF2B5EF4-FFF2-40B4-BE49-F238E27FC236}">
                  <a16:creationId xmlns:a16="http://schemas.microsoft.com/office/drawing/2014/main" id="{855A6874-988A-4ABE-A157-F81DBABC1EE2}"/>
                </a:ext>
              </a:extLst>
            </p:cNvPr>
            <p:cNvCxnSpPr/>
            <p:nvPr/>
          </p:nvCxnSpPr>
          <p:spPr>
            <a:xfrm flipH="1">
              <a:off x="673100" y="4266132"/>
              <a:ext cx="319958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2" name="íṡļide">
              <a:extLst>
                <a:ext uri="{FF2B5EF4-FFF2-40B4-BE49-F238E27FC236}">
                  <a16:creationId xmlns:a16="http://schemas.microsoft.com/office/drawing/2014/main" id="{0846D9BF-84A6-4AE3-8448-55B337B60704}"/>
                </a:ext>
              </a:extLst>
            </p:cNvPr>
            <p:cNvSpPr/>
            <p:nvPr/>
          </p:nvSpPr>
          <p:spPr bwMode="auto">
            <a:xfrm>
              <a:off x="5346018" y="2781195"/>
              <a:ext cx="739925" cy="481141"/>
            </a:xfrm>
            <a:custGeom>
              <a:avLst/>
              <a:gdLst>
                <a:gd name="T0" fmla="*/ 70 w 188"/>
                <a:gd name="T1" fmla="*/ 13 h 124"/>
                <a:gd name="T2" fmla="*/ 63 w 188"/>
                <a:gd name="T3" fmla="*/ 41 h 124"/>
                <a:gd name="T4" fmla="*/ 0 w 188"/>
                <a:gd name="T5" fmla="*/ 108 h 124"/>
                <a:gd name="T6" fmla="*/ 27 w 188"/>
                <a:gd name="T7" fmla="*/ 124 h 124"/>
                <a:gd name="T8" fmla="*/ 188 w 188"/>
                <a:gd name="T9" fmla="*/ 31 h 124"/>
                <a:gd name="T10" fmla="*/ 188 w 188"/>
                <a:gd name="T11" fmla="*/ 0 h 124"/>
                <a:gd name="T12" fmla="*/ 98 w 188"/>
                <a:gd name="T13" fmla="*/ 20 h 124"/>
                <a:gd name="T14" fmla="*/ 70 w 188"/>
                <a:gd name="T15" fmla="*/ 1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70" y="13"/>
                  </a:moveTo>
                  <a:cubicBezTo>
                    <a:pt x="63" y="41"/>
                    <a:pt x="63" y="41"/>
                    <a:pt x="63" y="41"/>
                  </a:cubicBezTo>
                  <a:cubicBezTo>
                    <a:pt x="37" y="59"/>
                    <a:pt x="16" y="82"/>
                    <a:pt x="0" y="108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60" y="69"/>
                    <a:pt x="120" y="33"/>
                    <a:pt x="188" y="3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56" y="1"/>
                    <a:pt x="125" y="8"/>
                    <a:pt x="98" y="20"/>
                  </a:cubicBezTo>
                  <a:lnTo>
                    <a:pt x="70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3" name="íSlíďé">
              <a:extLst>
                <a:ext uri="{FF2B5EF4-FFF2-40B4-BE49-F238E27FC236}">
                  <a16:creationId xmlns:a16="http://schemas.microsoft.com/office/drawing/2014/main" id="{03A9B0D0-1742-45B3-BE00-C82219CE4426}"/>
                </a:ext>
              </a:extLst>
            </p:cNvPr>
            <p:cNvSpPr/>
            <p:nvPr/>
          </p:nvSpPr>
          <p:spPr bwMode="auto">
            <a:xfrm>
              <a:off x="6105515" y="2781195"/>
              <a:ext cx="740468" cy="481141"/>
            </a:xfrm>
            <a:custGeom>
              <a:avLst/>
              <a:gdLst>
                <a:gd name="T0" fmla="*/ 161 w 188"/>
                <a:gd name="T1" fmla="*/ 124 h 124"/>
                <a:gd name="T2" fmla="*/ 188 w 188"/>
                <a:gd name="T3" fmla="*/ 108 h 124"/>
                <a:gd name="T4" fmla="*/ 125 w 188"/>
                <a:gd name="T5" fmla="*/ 41 h 124"/>
                <a:gd name="T6" fmla="*/ 118 w 188"/>
                <a:gd name="T7" fmla="*/ 13 h 124"/>
                <a:gd name="T8" fmla="*/ 90 w 188"/>
                <a:gd name="T9" fmla="*/ 20 h 124"/>
                <a:gd name="T10" fmla="*/ 0 w 188"/>
                <a:gd name="T11" fmla="*/ 0 h 124"/>
                <a:gd name="T12" fmla="*/ 0 w 188"/>
                <a:gd name="T13" fmla="*/ 31 h 124"/>
                <a:gd name="T14" fmla="*/ 161 w 188"/>
                <a:gd name="T1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4">
                  <a:moveTo>
                    <a:pt x="161" y="124"/>
                  </a:moveTo>
                  <a:cubicBezTo>
                    <a:pt x="188" y="108"/>
                    <a:pt x="188" y="108"/>
                    <a:pt x="188" y="108"/>
                  </a:cubicBezTo>
                  <a:cubicBezTo>
                    <a:pt x="172" y="82"/>
                    <a:pt x="150" y="58"/>
                    <a:pt x="125" y="41"/>
                  </a:cubicBezTo>
                  <a:cubicBezTo>
                    <a:pt x="118" y="13"/>
                    <a:pt x="118" y="13"/>
                    <a:pt x="118" y="13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63" y="8"/>
                    <a:pt x="32" y="1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68" y="32"/>
                    <a:pt x="128" y="69"/>
                    <a:pt x="161" y="12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4" name="i$ḻîḑè">
              <a:extLst>
                <a:ext uri="{FF2B5EF4-FFF2-40B4-BE49-F238E27FC236}">
                  <a16:creationId xmlns:a16="http://schemas.microsoft.com/office/drawing/2014/main" id="{A012A9BB-45C7-4DDF-B6DF-1C5CB485A613}"/>
                </a:ext>
              </a:extLst>
            </p:cNvPr>
            <p:cNvSpPr/>
            <p:nvPr/>
          </p:nvSpPr>
          <p:spPr bwMode="auto">
            <a:xfrm>
              <a:off x="6747580" y="3219387"/>
              <a:ext cx="295209" cy="842132"/>
            </a:xfrm>
            <a:custGeom>
              <a:avLst/>
              <a:gdLst>
                <a:gd name="T0" fmla="*/ 55 w 75"/>
                <a:gd name="T1" fmla="*/ 128 h 217"/>
                <a:gd name="T2" fmla="*/ 75 w 75"/>
                <a:gd name="T3" fmla="*/ 108 h 217"/>
                <a:gd name="T4" fmla="*/ 55 w 75"/>
                <a:gd name="T5" fmla="*/ 88 h 217"/>
                <a:gd name="T6" fmla="*/ 27 w 75"/>
                <a:gd name="T7" fmla="*/ 0 h 217"/>
                <a:gd name="T8" fmla="*/ 0 w 75"/>
                <a:gd name="T9" fmla="*/ 16 h 217"/>
                <a:gd name="T10" fmla="*/ 24 w 75"/>
                <a:gd name="T11" fmla="*/ 108 h 217"/>
                <a:gd name="T12" fmla="*/ 0 w 75"/>
                <a:gd name="T13" fmla="*/ 201 h 217"/>
                <a:gd name="T14" fmla="*/ 27 w 75"/>
                <a:gd name="T15" fmla="*/ 217 h 217"/>
                <a:gd name="T16" fmla="*/ 55 w 75"/>
                <a:gd name="T17" fmla="*/ 12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7">
                  <a:moveTo>
                    <a:pt x="55" y="128"/>
                  </a:moveTo>
                  <a:cubicBezTo>
                    <a:pt x="75" y="108"/>
                    <a:pt x="75" y="108"/>
                    <a:pt x="75" y="10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2" y="56"/>
                    <a:pt x="42" y="27"/>
                    <a:pt x="27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43"/>
                    <a:pt x="24" y="75"/>
                    <a:pt x="24" y="108"/>
                  </a:cubicBezTo>
                  <a:cubicBezTo>
                    <a:pt x="24" y="142"/>
                    <a:pt x="16" y="174"/>
                    <a:pt x="0" y="201"/>
                  </a:cubicBezTo>
                  <a:cubicBezTo>
                    <a:pt x="27" y="217"/>
                    <a:pt x="27" y="217"/>
                    <a:pt x="27" y="217"/>
                  </a:cubicBezTo>
                  <a:cubicBezTo>
                    <a:pt x="42" y="190"/>
                    <a:pt x="52" y="160"/>
                    <a:pt x="55" y="1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5" name="îS1ïḑê">
              <a:extLst>
                <a:ext uri="{FF2B5EF4-FFF2-40B4-BE49-F238E27FC236}">
                  <a16:creationId xmlns:a16="http://schemas.microsoft.com/office/drawing/2014/main" id="{E44D58F2-DBCA-46E4-BE78-8DD8FC5DDE94}"/>
                </a:ext>
              </a:extLst>
            </p:cNvPr>
            <p:cNvSpPr/>
            <p:nvPr/>
          </p:nvSpPr>
          <p:spPr bwMode="auto">
            <a:xfrm>
              <a:off x="6105515" y="4018570"/>
              <a:ext cx="740468" cy="477335"/>
            </a:xfrm>
            <a:custGeom>
              <a:avLst/>
              <a:gdLst>
                <a:gd name="T0" fmla="*/ 0 w 188"/>
                <a:gd name="T1" fmla="*/ 123 h 123"/>
                <a:gd name="T2" fmla="*/ 90 w 188"/>
                <a:gd name="T3" fmla="*/ 103 h 123"/>
                <a:gd name="T4" fmla="*/ 118 w 188"/>
                <a:gd name="T5" fmla="*/ 111 h 123"/>
                <a:gd name="T6" fmla="*/ 125 w 188"/>
                <a:gd name="T7" fmla="*/ 83 h 123"/>
                <a:gd name="T8" fmla="*/ 188 w 188"/>
                <a:gd name="T9" fmla="*/ 15 h 123"/>
                <a:gd name="T10" fmla="*/ 161 w 188"/>
                <a:gd name="T11" fmla="*/ 0 h 123"/>
                <a:gd name="T12" fmla="*/ 0 w 188"/>
                <a:gd name="T13" fmla="*/ 92 h 123"/>
                <a:gd name="T14" fmla="*/ 0 w 188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0" y="123"/>
                  </a:moveTo>
                  <a:cubicBezTo>
                    <a:pt x="32" y="123"/>
                    <a:pt x="63" y="116"/>
                    <a:pt x="90" y="103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50" y="65"/>
                    <a:pt x="172" y="42"/>
                    <a:pt x="188" y="15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28" y="54"/>
                    <a:pt x="68" y="91"/>
                    <a:pt x="0" y="92"/>
                  </a:cubicBezTo>
                  <a:lnTo>
                    <a:pt x="0" y="1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6" name="íşḷiḋè">
              <a:extLst>
                <a:ext uri="{FF2B5EF4-FFF2-40B4-BE49-F238E27FC236}">
                  <a16:creationId xmlns:a16="http://schemas.microsoft.com/office/drawing/2014/main" id="{9E1C536A-3328-461B-8A2A-7BD3F87FCF70}"/>
                </a:ext>
              </a:extLst>
            </p:cNvPr>
            <p:cNvSpPr/>
            <p:nvPr/>
          </p:nvSpPr>
          <p:spPr bwMode="auto">
            <a:xfrm>
              <a:off x="5346019" y="4018570"/>
              <a:ext cx="739925" cy="477335"/>
            </a:xfrm>
            <a:custGeom>
              <a:avLst/>
              <a:gdLst>
                <a:gd name="T0" fmla="*/ 27 w 188"/>
                <a:gd name="T1" fmla="*/ 0 h 123"/>
                <a:gd name="T2" fmla="*/ 0 w 188"/>
                <a:gd name="T3" fmla="*/ 15 h 123"/>
                <a:gd name="T4" fmla="*/ 63 w 188"/>
                <a:gd name="T5" fmla="*/ 83 h 123"/>
                <a:gd name="T6" fmla="*/ 70 w 188"/>
                <a:gd name="T7" fmla="*/ 111 h 123"/>
                <a:gd name="T8" fmla="*/ 98 w 188"/>
                <a:gd name="T9" fmla="*/ 103 h 123"/>
                <a:gd name="T10" fmla="*/ 188 w 188"/>
                <a:gd name="T11" fmla="*/ 123 h 123"/>
                <a:gd name="T12" fmla="*/ 188 w 188"/>
                <a:gd name="T13" fmla="*/ 92 h 123"/>
                <a:gd name="T14" fmla="*/ 27 w 188"/>
                <a:gd name="T1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123">
                  <a:moveTo>
                    <a:pt x="27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6" y="42"/>
                    <a:pt x="37" y="65"/>
                    <a:pt x="63" y="83"/>
                  </a:cubicBezTo>
                  <a:cubicBezTo>
                    <a:pt x="70" y="111"/>
                    <a:pt x="70" y="111"/>
                    <a:pt x="70" y="111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125" y="116"/>
                    <a:pt x="156" y="123"/>
                    <a:pt x="188" y="123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20" y="91"/>
                    <a:pt x="60" y="54"/>
                    <a:pt x="27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7" name="išļîḋé">
              <a:extLst>
                <a:ext uri="{FF2B5EF4-FFF2-40B4-BE49-F238E27FC236}">
                  <a16:creationId xmlns:a16="http://schemas.microsoft.com/office/drawing/2014/main" id="{A1744107-F01A-46B1-9356-F00973536DC2}"/>
                </a:ext>
              </a:extLst>
            </p:cNvPr>
            <p:cNvSpPr/>
            <p:nvPr/>
          </p:nvSpPr>
          <p:spPr bwMode="auto">
            <a:xfrm>
              <a:off x="5149212" y="3219387"/>
              <a:ext cx="295209" cy="837783"/>
            </a:xfrm>
            <a:custGeom>
              <a:avLst/>
              <a:gdLst>
                <a:gd name="T0" fmla="*/ 48 w 75"/>
                <a:gd name="T1" fmla="*/ 0 h 216"/>
                <a:gd name="T2" fmla="*/ 20 w 75"/>
                <a:gd name="T3" fmla="*/ 88 h 216"/>
                <a:gd name="T4" fmla="*/ 0 w 75"/>
                <a:gd name="T5" fmla="*/ 108 h 216"/>
                <a:gd name="T6" fmla="*/ 20 w 75"/>
                <a:gd name="T7" fmla="*/ 129 h 216"/>
                <a:gd name="T8" fmla="*/ 48 w 75"/>
                <a:gd name="T9" fmla="*/ 216 h 216"/>
                <a:gd name="T10" fmla="*/ 75 w 75"/>
                <a:gd name="T11" fmla="*/ 201 h 216"/>
                <a:gd name="T12" fmla="*/ 51 w 75"/>
                <a:gd name="T13" fmla="*/ 108 h 216"/>
                <a:gd name="T14" fmla="*/ 75 w 75"/>
                <a:gd name="T15" fmla="*/ 16 h 216"/>
                <a:gd name="T16" fmla="*/ 48 w 75"/>
                <a:gd name="T17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16">
                  <a:moveTo>
                    <a:pt x="48" y="0"/>
                  </a:moveTo>
                  <a:cubicBezTo>
                    <a:pt x="33" y="27"/>
                    <a:pt x="23" y="56"/>
                    <a:pt x="20" y="8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23" y="160"/>
                    <a:pt x="33" y="190"/>
                    <a:pt x="48" y="216"/>
                  </a:cubicBezTo>
                  <a:cubicBezTo>
                    <a:pt x="75" y="201"/>
                    <a:pt x="75" y="201"/>
                    <a:pt x="75" y="201"/>
                  </a:cubicBezTo>
                  <a:cubicBezTo>
                    <a:pt x="59" y="173"/>
                    <a:pt x="51" y="142"/>
                    <a:pt x="51" y="108"/>
                  </a:cubicBezTo>
                  <a:cubicBezTo>
                    <a:pt x="51" y="75"/>
                    <a:pt x="59" y="43"/>
                    <a:pt x="75" y="16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8" name="ïślîḍé">
              <a:extLst>
                <a:ext uri="{FF2B5EF4-FFF2-40B4-BE49-F238E27FC236}">
                  <a16:creationId xmlns:a16="http://schemas.microsoft.com/office/drawing/2014/main" id="{AAEEDD70-F89F-4372-A40A-AAA7D3A17D99}"/>
                </a:ext>
              </a:extLst>
            </p:cNvPr>
            <p:cNvSpPr/>
            <p:nvPr/>
          </p:nvSpPr>
          <p:spPr bwMode="auto">
            <a:xfrm>
              <a:off x="5770343" y="3242098"/>
              <a:ext cx="651314" cy="792904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grpSp>
          <p:nvGrpSpPr>
            <p:cNvPr id="359" name="íŝlíďe">
              <a:extLst>
                <a:ext uri="{FF2B5EF4-FFF2-40B4-BE49-F238E27FC236}">
                  <a16:creationId xmlns:a16="http://schemas.microsoft.com/office/drawing/2014/main" id="{8ABE65B5-5415-471A-A9B7-111A6A04AF30}"/>
                </a:ext>
              </a:extLst>
            </p:cNvPr>
            <p:cNvGrpSpPr/>
            <p:nvPr/>
          </p:nvGrpSpPr>
          <p:grpSpPr>
            <a:xfrm>
              <a:off x="4317507" y="2775151"/>
              <a:ext cx="704952" cy="1730825"/>
              <a:chOff x="4219102" y="2727379"/>
              <a:chExt cx="743957" cy="1826593"/>
            </a:xfrm>
          </p:grpSpPr>
          <p:sp>
            <p:nvSpPr>
              <p:cNvPr id="375" name="îSľíḑe">
                <a:extLst>
                  <a:ext uri="{FF2B5EF4-FFF2-40B4-BE49-F238E27FC236}">
                    <a16:creationId xmlns:a16="http://schemas.microsoft.com/office/drawing/2014/main" id="{CE4539A2-69D9-46B0-A399-B5D92400FD9C}"/>
                  </a:ext>
                </a:extLst>
              </p:cNvPr>
              <p:cNvSpPr/>
              <p:nvPr/>
            </p:nvSpPr>
            <p:spPr bwMode="auto">
              <a:xfrm>
                <a:off x="4219102" y="2727379"/>
                <a:ext cx="743957" cy="1826593"/>
              </a:xfrm>
              <a:custGeom>
                <a:avLst/>
                <a:gdLst>
                  <a:gd name="T0" fmla="*/ 129 w 168"/>
                  <a:gd name="T1" fmla="*/ 209 h 419"/>
                  <a:gd name="T2" fmla="*/ 167 w 168"/>
                  <a:gd name="T3" fmla="*/ 65 h 419"/>
                  <a:gd name="T4" fmla="*/ 55 w 168"/>
                  <a:gd name="T5" fmla="*/ 0 h 419"/>
                  <a:gd name="T6" fmla="*/ 0 w 168"/>
                  <a:gd name="T7" fmla="*/ 209 h 419"/>
                  <a:gd name="T8" fmla="*/ 56 w 168"/>
                  <a:gd name="T9" fmla="*/ 419 h 419"/>
                  <a:gd name="T10" fmla="*/ 168 w 168"/>
                  <a:gd name="T11" fmla="*/ 355 h 419"/>
                  <a:gd name="T12" fmla="*/ 129 w 168"/>
                  <a:gd name="T13" fmla="*/ 209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419">
                    <a:moveTo>
                      <a:pt x="129" y="209"/>
                    </a:moveTo>
                    <a:cubicBezTo>
                      <a:pt x="129" y="157"/>
                      <a:pt x="143" y="108"/>
                      <a:pt x="167" y="65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20" y="62"/>
                      <a:pt x="0" y="133"/>
                      <a:pt x="0" y="209"/>
                    </a:cubicBezTo>
                    <a:cubicBezTo>
                      <a:pt x="0" y="286"/>
                      <a:pt x="21" y="357"/>
                      <a:pt x="56" y="419"/>
                    </a:cubicBezTo>
                    <a:cubicBezTo>
                      <a:pt x="168" y="355"/>
                      <a:pt x="168" y="355"/>
                      <a:pt x="168" y="355"/>
                    </a:cubicBezTo>
                    <a:cubicBezTo>
                      <a:pt x="143" y="312"/>
                      <a:pt x="129" y="262"/>
                      <a:pt x="129" y="209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76" name="iṣḷïḓe">
                <a:extLst>
                  <a:ext uri="{FF2B5EF4-FFF2-40B4-BE49-F238E27FC236}">
                    <a16:creationId xmlns:a16="http://schemas.microsoft.com/office/drawing/2014/main" id="{67910EB4-77B3-44EA-BCCD-428C26D63F62}"/>
                  </a:ext>
                </a:extLst>
              </p:cNvPr>
              <p:cNvSpPr/>
              <p:nvPr/>
            </p:nvSpPr>
            <p:spPr>
              <a:xfrm>
                <a:off x="4324777" y="3448883"/>
                <a:ext cx="390554" cy="383579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360" name="íṡḷïḋe">
              <a:extLst>
                <a:ext uri="{FF2B5EF4-FFF2-40B4-BE49-F238E27FC236}">
                  <a16:creationId xmlns:a16="http://schemas.microsoft.com/office/drawing/2014/main" id="{2697D1B2-454B-40BA-A96E-05334953E02A}"/>
                </a:ext>
              </a:extLst>
            </p:cNvPr>
            <p:cNvGrpSpPr/>
            <p:nvPr/>
          </p:nvGrpSpPr>
          <p:grpSpPr>
            <a:xfrm>
              <a:off x="4565247" y="4262265"/>
              <a:ext cx="1517996" cy="1127252"/>
              <a:chOff x="4480550" y="4296775"/>
              <a:chExt cx="1601988" cy="1189624"/>
            </a:xfrm>
          </p:grpSpPr>
          <p:sp>
            <p:nvSpPr>
              <p:cNvPr id="373" name="iś1íḓè">
                <a:extLst>
                  <a:ext uri="{FF2B5EF4-FFF2-40B4-BE49-F238E27FC236}">
                    <a16:creationId xmlns:a16="http://schemas.microsoft.com/office/drawing/2014/main" id="{EACB2C0E-00FD-4983-892F-CBD7BCEE1DBC}"/>
                  </a:ext>
                </a:extLst>
              </p:cNvPr>
              <p:cNvSpPr/>
              <p:nvPr/>
            </p:nvSpPr>
            <p:spPr bwMode="auto">
              <a:xfrm>
                <a:off x="4480550" y="4296775"/>
                <a:ext cx="1601988" cy="1189624"/>
              </a:xfrm>
              <a:custGeom>
                <a:avLst/>
                <a:gdLst>
                  <a:gd name="T0" fmla="*/ 112 w 362"/>
                  <a:gd name="T1" fmla="*/ 0 h 273"/>
                  <a:gd name="T2" fmla="*/ 0 w 362"/>
                  <a:gd name="T3" fmla="*/ 64 h 273"/>
                  <a:gd name="T4" fmla="*/ 362 w 362"/>
                  <a:gd name="T5" fmla="*/ 273 h 273"/>
                  <a:gd name="T6" fmla="*/ 362 w 362"/>
                  <a:gd name="T7" fmla="*/ 144 h 273"/>
                  <a:gd name="T8" fmla="*/ 112 w 362"/>
                  <a:gd name="T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2" h="273">
                    <a:moveTo>
                      <a:pt x="112" y="0"/>
                    </a:moveTo>
                    <a:cubicBezTo>
                      <a:pt x="0" y="64"/>
                      <a:pt x="0" y="64"/>
                      <a:pt x="0" y="64"/>
                    </a:cubicBezTo>
                    <a:cubicBezTo>
                      <a:pt x="73" y="189"/>
                      <a:pt x="208" y="272"/>
                      <a:pt x="362" y="273"/>
                    </a:cubicBezTo>
                    <a:cubicBezTo>
                      <a:pt x="362" y="144"/>
                      <a:pt x="362" y="144"/>
                      <a:pt x="362" y="144"/>
                    </a:cubicBezTo>
                    <a:cubicBezTo>
                      <a:pt x="256" y="143"/>
                      <a:pt x="163" y="85"/>
                      <a:pt x="112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74" name="ísļíḍê">
                <a:extLst>
                  <a:ext uri="{FF2B5EF4-FFF2-40B4-BE49-F238E27FC236}">
                    <a16:creationId xmlns:a16="http://schemas.microsoft.com/office/drawing/2014/main" id="{BB47A493-15F7-449A-AC29-34D1B1B90FEF}"/>
                  </a:ext>
                </a:extLst>
              </p:cNvPr>
              <p:cNvSpPr/>
              <p:nvPr/>
            </p:nvSpPr>
            <p:spPr>
              <a:xfrm>
                <a:off x="5047778" y="4748707"/>
                <a:ext cx="325481" cy="356778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361" name="îṧ1îḑe">
              <a:extLst>
                <a:ext uri="{FF2B5EF4-FFF2-40B4-BE49-F238E27FC236}">
                  <a16:creationId xmlns:a16="http://schemas.microsoft.com/office/drawing/2014/main" id="{210745C9-989C-418D-A1E0-831660E3F137}"/>
                </a:ext>
              </a:extLst>
            </p:cNvPr>
            <p:cNvGrpSpPr/>
            <p:nvPr/>
          </p:nvGrpSpPr>
          <p:grpSpPr>
            <a:xfrm>
              <a:off x="6108756" y="4262265"/>
              <a:ext cx="1522696" cy="1127252"/>
              <a:chOff x="6109462" y="4296775"/>
              <a:chExt cx="1606948" cy="1189624"/>
            </a:xfrm>
          </p:grpSpPr>
          <p:sp>
            <p:nvSpPr>
              <p:cNvPr id="371" name="ïşlíḑé">
                <a:extLst>
                  <a:ext uri="{FF2B5EF4-FFF2-40B4-BE49-F238E27FC236}">
                    <a16:creationId xmlns:a16="http://schemas.microsoft.com/office/drawing/2014/main" id="{2B7F56C8-B084-4599-B3A2-439272354AC1}"/>
                  </a:ext>
                </a:extLst>
              </p:cNvPr>
              <p:cNvSpPr/>
              <p:nvPr/>
            </p:nvSpPr>
            <p:spPr bwMode="auto">
              <a:xfrm>
                <a:off x="6109462" y="4296775"/>
                <a:ext cx="1606948" cy="1189624"/>
              </a:xfrm>
              <a:custGeom>
                <a:avLst/>
                <a:gdLst>
                  <a:gd name="T0" fmla="*/ 0 w 363"/>
                  <a:gd name="T1" fmla="*/ 144 h 273"/>
                  <a:gd name="T2" fmla="*/ 0 w 363"/>
                  <a:gd name="T3" fmla="*/ 273 h 273"/>
                  <a:gd name="T4" fmla="*/ 363 w 363"/>
                  <a:gd name="T5" fmla="*/ 64 h 273"/>
                  <a:gd name="T6" fmla="*/ 251 w 363"/>
                  <a:gd name="T7" fmla="*/ 0 h 273"/>
                  <a:gd name="T8" fmla="*/ 0 w 363"/>
                  <a:gd name="T9" fmla="*/ 144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3" h="273">
                    <a:moveTo>
                      <a:pt x="0" y="144"/>
                    </a:moveTo>
                    <a:cubicBezTo>
                      <a:pt x="0" y="273"/>
                      <a:pt x="0" y="273"/>
                      <a:pt x="0" y="273"/>
                    </a:cubicBezTo>
                    <a:cubicBezTo>
                      <a:pt x="155" y="272"/>
                      <a:pt x="289" y="189"/>
                      <a:pt x="363" y="64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200" y="86"/>
                      <a:pt x="107" y="143"/>
                      <a:pt x="0" y="1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72" name="îsļiḋe">
                <a:extLst>
                  <a:ext uri="{FF2B5EF4-FFF2-40B4-BE49-F238E27FC236}">
                    <a16:creationId xmlns:a16="http://schemas.microsoft.com/office/drawing/2014/main" id="{4FDE4AD0-D8C5-4FBC-8635-414AE4AB5DFB}"/>
                  </a:ext>
                </a:extLst>
              </p:cNvPr>
              <p:cNvSpPr/>
              <p:nvPr/>
            </p:nvSpPr>
            <p:spPr>
              <a:xfrm>
                <a:off x="6830272" y="4838822"/>
                <a:ext cx="307374" cy="230530"/>
              </a:xfrm>
              <a:custGeom>
                <a:avLst/>
                <a:gdLst>
                  <a:gd name="connsiteX0" fmla="*/ 504825 w 533400"/>
                  <a:gd name="connsiteY0" fmla="*/ 0 h 400050"/>
                  <a:gd name="connsiteX1" fmla="*/ 533400 w 533400"/>
                  <a:gd name="connsiteY1" fmla="*/ 28575 h 400050"/>
                  <a:gd name="connsiteX2" fmla="*/ 533400 w 533400"/>
                  <a:gd name="connsiteY2" fmla="*/ 371475 h 400050"/>
                  <a:gd name="connsiteX3" fmla="*/ 504825 w 533400"/>
                  <a:gd name="connsiteY3" fmla="*/ 400050 h 400050"/>
                  <a:gd name="connsiteX4" fmla="*/ 28575 w 533400"/>
                  <a:gd name="connsiteY4" fmla="*/ 400050 h 400050"/>
                  <a:gd name="connsiteX5" fmla="*/ 0 w 533400"/>
                  <a:gd name="connsiteY5" fmla="*/ 371475 h 400050"/>
                  <a:gd name="connsiteX6" fmla="*/ 0 w 533400"/>
                  <a:gd name="connsiteY6" fmla="*/ 28575 h 400050"/>
                  <a:gd name="connsiteX7" fmla="*/ 28575 w 533400"/>
                  <a:gd name="connsiteY7" fmla="*/ 0 h 400050"/>
                  <a:gd name="connsiteX8" fmla="*/ 504825 w 533400"/>
                  <a:gd name="connsiteY8" fmla="*/ 0 h 400050"/>
                  <a:gd name="connsiteX9" fmla="*/ 390811 w 533400"/>
                  <a:gd name="connsiteY9" fmla="*/ 198025 h 400050"/>
                  <a:gd name="connsiteX10" fmla="*/ 350806 w 533400"/>
                  <a:gd name="connsiteY10" fmla="*/ 203549 h 400050"/>
                  <a:gd name="connsiteX11" fmla="*/ 350806 w 533400"/>
                  <a:gd name="connsiteY11" fmla="*/ 203549 h 400050"/>
                  <a:gd name="connsiteX12" fmla="*/ 266510 w 533400"/>
                  <a:gd name="connsiteY12" fmla="*/ 314992 h 400050"/>
                  <a:gd name="connsiteX13" fmla="*/ 264033 w 533400"/>
                  <a:gd name="connsiteY13" fmla="*/ 317849 h 400050"/>
                  <a:gd name="connsiteX14" fmla="*/ 223647 w 533400"/>
                  <a:gd name="connsiteY14" fmla="*/ 318135 h 400050"/>
                  <a:gd name="connsiteX15" fmla="*/ 223647 w 533400"/>
                  <a:gd name="connsiteY15" fmla="*/ 318135 h 400050"/>
                  <a:gd name="connsiteX16" fmla="*/ 161544 w 533400"/>
                  <a:gd name="connsiteY16" fmla="*/ 256794 h 400050"/>
                  <a:gd name="connsiteX17" fmla="*/ 159639 w 533400"/>
                  <a:gd name="connsiteY17" fmla="*/ 255079 h 400050"/>
                  <a:gd name="connsiteX18" fmla="*/ 119444 w 533400"/>
                  <a:gd name="connsiteY18" fmla="*/ 258985 h 400050"/>
                  <a:gd name="connsiteX19" fmla="*/ 119444 w 533400"/>
                  <a:gd name="connsiteY19" fmla="*/ 258985 h 400050"/>
                  <a:gd name="connsiteX20" fmla="*/ 31909 w 533400"/>
                  <a:gd name="connsiteY20" fmla="*/ 365474 h 400050"/>
                  <a:gd name="connsiteX21" fmla="*/ 29718 w 533400"/>
                  <a:gd name="connsiteY21" fmla="*/ 371475 h 400050"/>
                  <a:gd name="connsiteX22" fmla="*/ 39243 w 533400"/>
                  <a:gd name="connsiteY22" fmla="*/ 381000 h 400050"/>
                  <a:gd name="connsiteX23" fmla="*/ 39243 w 533400"/>
                  <a:gd name="connsiteY23" fmla="*/ 381000 h 400050"/>
                  <a:gd name="connsiteX24" fmla="*/ 496634 w 533400"/>
                  <a:gd name="connsiteY24" fmla="*/ 381000 h 400050"/>
                  <a:gd name="connsiteX25" fmla="*/ 501872 w 533400"/>
                  <a:gd name="connsiteY25" fmla="*/ 379381 h 400050"/>
                  <a:gd name="connsiteX26" fmla="*/ 504539 w 533400"/>
                  <a:gd name="connsiteY26" fmla="*/ 366141 h 400050"/>
                  <a:gd name="connsiteX27" fmla="*/ 504539 w 533400"/>
                  <a:gd name="connsiteY27" fmla="*/ 366141 h 400050"/>
                  <a:gd name="connsiteX28" fmla="*/ 397383 w 533400"/>
                  <a:gd name="connsiteY28" fmla="*/ 204883 h 400050"/>
                  <a:gd name="connsiteX29" fmla="*/ 390811 w 533400"/>
                  <a:gd name="connsiteY29" fmla="*/ 198025 h 400050"/>
                  <a:gd name="connsiteX30" fmla="*/ 95250 w 533400"/>
                  <a:gd name="connsiteY30" fmla="*/ 57150 h 400050"/>
                  <a:gd name="connsiteX31" fmla="*/ 57150 w 533400"/>
                  <a:gd name="connsiteY31" fmla="*/ 95250 h 400050"/>
                  <a:gd name="connsiteX32" fmla="*/ 95250 w 533400"/>
                  <a:gd name="connsiteY32" fmla="*/ 133350 h 400050"/>
                  <a:gd name="connsiteX33" fmla="*/ 133350 w 533400"/>
                  <a:gd name="connsiteY33" fmla="*/ 95250 h 400050"/>
                  <a:gd name="connsiteX34" fmla="*/ 95250 w 533400"/>
                  <a:gd name="connsiteY34" fmla="*/ 571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33400" h="400050">
                    <a:moveTo>
                      <a:pt x="504825" y="0"/>
                    </a:moveTo>
                    <a:cubicBezTo>
                      <a:pt x="520637" y="0"/>
                      <a:pt x="533400" y="12764"/>
                      <a:pt x="533400" y="28575"/>
                    </a:cubicBezTo>
                    <a:lnTo>
                      <a:pt x="533400" y="371475"/>
                    </a:lnTo>
                    <a:cubicBezTo>
                      <a:pt x="533400" y="387287"/>
                      <a:pt x="520637" y="400050"/>
                      <a:pt x="504825" y="400050"/>
                    </a:cubicBezTo>
                    <a:lnTo>
                      <a:pt x="28575" y="400050"/>
                    </a:lnTo>
                    <a:cubicBezTo>
                      <a:pt x="12763" y="400050"/>
                      <a:pt x="0" y="387287"/>
                      <a:pt x="0" y="371475"/>
                    </a:cubicBez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504825" y="0"/>
                    </a:lnTo>
                    <a:close/>
                    <a:moveTo>
                      <a:pt x="390811" y="198025"/>
                    </a:moveTo>
                    <a:cubicBezTo>
                      <a:pt x="378238" y="188500"/>
                      <a:pt x="360331" y="190976"/>
                      <a:pt x="350806" y="203549"/>
                    </a:cubicBezTo>
                    <a:lnTo>
                      <a:pt x="350806" y="203549"/>
                    </a:lnTo>
                    <a:lnTo>
                      <a:pt x="266510" y="314992"/>
                    </a:lnTo>
                    <a:cubicBezTo>
                      <a:pt x="265747" y="316040"/>
                      <a:pt x="264890" y="316897"/>
                      <a:pt x="264033" y="317849"/>
                    </a:cubicBezTo>
                    <a:cubicBezTo>
                      <a:pt x="252984" y="329089"/>
                      <a:pt x="234887" y="329184"/>
                      <a:pt x="223647" y="318135"/>
                    </a:cubicBezTo>
                    <a:lnTo>
                      <a:pt x="223647" y="318135"/>
                    </a:lnTo>
                    <a:lnTo>
                      <a:pt x="161544" y="256794"/>
                    </a:lnTo>
                    <a:cubicBezTo>
                      <a:pt x="160877" y="256223"/>
                      <a:pt x="160306" y="255556"/>
                      <a:pt x="159639" y="255079"/>
                    </a:cubicBezTo>
                    <a:cubicBezTo>
                      <a:pt x="147447" y="245078"/>
                      <a:pt x="129445" y="246793"/>
                      <a:pt x="119444" y="258985"/>
                    </a:cubicBezTo>
                    <a:lnTo>
                      <a:pt x="119444" y="258985"/>
                    </a:lnTo>
                    <a:lnTo>
                      <a:pt x="31909" y="365474"/>
                    </a:lnTo>
                    <a:cubicBezTo>
                      <a:pt x="30480" y="367189"/>
                      <a:pt x="29718" y="369284"/>
                      <a:pt x="29718" y="371475"/>
                    </a:cubicBezTo>
                    <a:cubicBezTo>
                      <a:pt x="29718" y="376714"/>
                      <a:pt x="34004" y="381000"/>
                      <a:pt x="39243" y="381000"/>
                    </a:cubicBezTo>
                    <a:lnTo>
                      <a:pt x="39243" y="381000"/>
                    </a:lnTo>
                    <a:lnTo>
                      <a:pt x="496634" y="381000"/>
                    </a:lnTo>
                    <a:cubicBezTo>
                      <a:pt x="498538" y="381000"/>
                      <a:pt x="500348" y="380429"/>
                      <a:pt x="501872" y="379381"/>
                    </a:cubicBezTo>
                    <a:cubicBezTo>
                      <a:pt x="506254" y="376428"/>
                      <a:pt x="507397" y="370523"/>
                      <a:pt x="504539" y="366141"/>
                    </a:cubicBezTo>
                    <a:lnTo>
                      <a:pt x="504539" y="366141"/>
                    </a:lnTo>
                    <a:lnTo>
                      <a:pt x="397383" y="204883"/>
                    </a:lnTo>
                    <a:cubicBezTo>
                      <a:pt x="395573" y="202311"/>
                      <a:pt x="393382" y="199930"/>
                      <a:pt x="390811" y="198025"/>
                    </a:cubicBezTo>
                    <a:close/>
                    <a:moveTo>
                      <a:pt x="95250" y="57150"/>
                    </a:moveTo>
                    <a:cubicBezTo>
                      <a:pt x="74200" y="57150"/>
                      <a:pt x="57150" y="74200"/>
                      <a:pt x="57150" y="95250"/>
                    </a:cubicBezTo>
                    <a:cubicBezTo>
                      <a:pt x="57150" y="116300"/>
                      <a:pt x="74200" y="133350"/>
                      <a:pt x="95250" y="133350"/>
                    </a:cubicBezTo>
                    <a:cubicBezTo>
                      <a:pt x="116300" y="133350"/>
                      <a:pt x="133350" y="116300"/>
                      <a:pt x="133350" y="95250"/>
                    </a:cubicBezTo>
                    <a:cubicBezTo>
                      <a:pt x="133350" y="74200"/>
                      <a:pt x="116300" y="57150"/>
                      <a:pt x="95250" y="5715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362" name="ïṡļiḍé">
              <a:extLst>
                <a:ext uri="{FF2B5EF4-FFF2-40B4-BE49-F238E27FC236}">
                  <a16:creationId xmlns:a16="http://schemas.microsoft.com/office/drawing/2014/main" id="{BA1456FA-194D-421B-A43B-D7FB0797D82D}"/>
                </a:ext>
              </a:extLst>
            </p:cNvPr>
            <p:cNvGrpSpPr/>
            <p:nvPr/>
          </p:nvGrpSpPr>
          <p:grpSpPr>
            <a:xfrm>
              <a:off x="7174240" y="2775151"/>
              <a:ext cx="700253" cy="1734854"/>
              <a:chOff x="7233900" y="2727379"/>
              <a:chExt cx="738998" cy="1830844"/>
            </a:xfrm>
          </p:grpSpPr>
          <p:sp>
            <p:nvSpPr>
              <p:cNvPr id="369" name="islidé">
                <a:extLst>
                  <a:ext uri="{FF2B5EF4-FFF2-40B4-BE49-F238E27FC236}">
                    <a16:creationId xmlns:a16="http://schemas.microsoft.com/office/drawing/2014/main" id="{6EB11DF4-F513-48A9-A554-B5F3F7A08777}"/>
                  </a:ext>
                </a:extLst>
              </p:cNvPr>
              <p:cNvSpPr/>
              <p:nvPr/>
            </p:nvSpPr>
            <p:spPr bwMode="auto">
              <a:xfrm>
                <a:off x="7233900" y="2727379"/>
                <a:ext cx="738998" cy="1830844"/>
              </a:xfrm>
              <a:custGeom>
                <a:avLst/>
                <a:gdLst>
                  <a:gd name="T0" fmla="*/ 112 w 167"/>
                  <a:gd name="T1" fmla="*/ 0 h 420"/>
                  <a:gd name="T2" fmla="*/ 0 w 167"/>
                  <a:gd name="T3" fmla="*/ 65 h 420"/>
                  <a:gd name="T4" fmla="*/ 38 w 167"/>
                  <a:gd name="T5" fmla="*/ 209 h 420"/>
                  <a:gd name="T6" fmla="*/ 0 w 167"/>
                  <a:gd name="T7" fmla="*/ 355 h 420"/>
                  <a:gd name="T8" fmla="*/ 112 w 167"/>
                  <a:gd name="T9" fmla="*/ 420 h 420"/>
                  <a:gd name="T10" fmla="*/ 167 w 167"/>
                  <a:gd name="T11" fmla="*/ 209 h 420"/>
                  <a:gd name="T12" fmla="*/ 112 w 167"/>
                  <a:gd name="T13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420">
                    <a:moveTo>
                      <a:pt x="112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25" y="107"/>
                      <a:pt x="38" y="157"/>
                      <a:pt x="38" y="209"/>
                    </a:cubicBezTo>
                    <a:cubicBezTo>
                      <a:pt x="38" y="262"/>
                      <a:pt x="24" y="312"/>
                      <a:pt x="0" y="355"/>
                    </a:cubicBezTo>
                    <a:cubicBezTo>
                      <a:pt x="112" y="420"/>
                      <a:pt x="112" y="420"/>
                      <a:pt x="112" y="420"/>
                    </a:cubicBezTo>
                    <a:cubicBezTo>
                      <a:pt x="147" y="358"/>
                      <a:pt x="167" y="286"/>
                      <a:pt x="167" y="209"/>
                    </a:cubicBezTo>
                    <a:cubicBezTo>
                      <a:pt x="167" y="133"/>
                      <a:pt x="147" y="62"/>
                      <a:pt x="112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70" name="íŝ1ïdê">
                <a:extLst>
                  <a:ext uri="{FF2B5EF4-FFF2-40B4-BE49-F238E27FC236}">
                    <a16:creationId xmlns:a16="http://schemas.microsoft.com/office/drawing/2014/main" id="{6354C604-E54F-4BAA-8698-159CC388B03E}"/>
                  </a:ext>
                </a:extLst>
              </p:cNvPr>
              <p:cNvSpPr/>
              <p:nvPr/>
            </p:nvSpPr>
            <p:spPr>
              <a:xfrm>
                <a:off x="7496034" y="3500749"/>
                <a:ext cx="356778" cy="284101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363" name="iŝḷîde">
              <a:extLst>
                <a:ext uri="{FF2B5EF4-FFF2-40B4-BE49-F238E27FC236}">
                  <a16:creationId xmlns:a16="http://schemas.microsoft.com/office/drawing/2014/main" id="{7B9F118E-337C-4373-8DFC-FDEC339BAB3E}"/>
                </a:ext>
              </a:extLst>
            </p:cNvPr>
            <p:cNvGrpSpPr/>
            <p:nvPr/>
          </p:nvGrpSpPr>
          <p:grpSpPr>
            <a:xfrm>
              <a:off x="4561219" y="1887583"/>
              <a:ext cx="1522025" cy="1135309"/>
              <a:chOff x="4476299" y="1790701"/>
              <a:chExt cx="1606239" cy="1198126"/>
            </a:xfrm>
          </p:grpSpPr>
          <p:sp>
            <p:nvSpPr>
              <p:cNvPr id="367" name="ïṥḷíḓé">
                <a:extLst>
                  <a:ext uri="{FF2B5EF4-FFF2-40B4-BE49-F238E27FC236}">
                    <a16:creationId xmlns:a16="http://schemas.microsoft.com/office/drawing/2014/main" id="{3FCCEB81-6E43-4CB7-9C44-D72534E14697}"/>
                  </a:ext>
                </a:extLst>
              </p:cNvPr>
              <p:cNvSpPr/>
              <p:nvPr/>
            </p:nvSpPr>
            <p:spPr bwMode="auto">
              <a:xfrm>
                <a:off x="4476299" y="1790701"/>
                <a:ext cx="1606239" cy="1198126"/>
              </a:xfrm>
              <a:custGeom>
                <a:avLst/>
                <a:gdLst>
                  <a:gd name="T0" fmla="*/ 363 w 363"/>
                  <a:gd name="T1" fmla="*/ 129 h 275"/>
                  <a:gd name="T2" fmla="*/ 363 w 363"/>
                  <a:gd name="T3" fmla="*/ 0 h 275"/>
                  <a:gd name="T4" fmla="*/ 0 w 363"/>
                  <a:gd name="T5" fmla="*/ 211 h 275"/>
                  <a:gd name="T6" fmla="*/ 112 w 363"/>
                  <a:gd name="T7" fmla="*/ 275 h 275"/>
                  <a:gd name="T8" fmla="*/ 363 w 363"/>
                  <a:gd name="T9" fmla="*/ 12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3" h="275">
                    <a:moveTo>
                      <a:pt x="363" y="129"/>
                    </a:moveTo>
                    <a:cubicBezTo>
                      <a:pt x="363" y="0"/>
                      <a:pt x="363" y="0"/>
                      <a:pt x="363" y="0"/>
                    </a:cubicBezTo>
                    <a:cubicBezTo>
                      <a:pt x="208" y="1"/>
                      <a:pt x="73" y="86"/>
                      <a:pt x="0" y="211"/>
                    </a:cubicBezTo>
                    <a:cubicBezTo>
                      <a:pt x="112" y="275"/>
                      <a:pt x="112" y="275"/>
                      <a:pt x="112" y="275"/>
                    </a:cubicBezTo>
                    <a:cubicBezTo>
                      <a:pt x="163" y="189"/>
                      <a:pt x="256" y="130"/>
                      <a:pt x="363" y="12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68" name="î$ḷîḑe">
                <a:extLst>
                  <a:ext uri="{FF2B5EF4-FFF2-40B4-BE49-F238E27FC236}">
                    <a16:creationId xmlns:a16="http://schemas.microsoft.com/office/drawing/2014/main" id="{6DFBA2D9-6D52-43B4-97D9-6B277E80D3F4}"/>
                  </a:ext>
                </a:extLst>
              </p:cNvPr>
              <p:cNvSpPr/>
              <p:nvPr/>
            </p:nvSpPr>
            <p:spPr>
              <a:xfrm>
                <a:off x="4968412" y="2202140"/>
                <a:ext cx="302402" cy="325192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364" name="íṥľíḍè">
              <a:extLst>
                <a:ext uri="{FF2B5EF4-FFF2-40B4-BE49-F238E27FC236}">
                  <a16:creationId xmlns:a16="http://schemas.microsoft.com/office/drawing/2014/main" id="{EB259D29-BB28-46EB-B43E-86465CB962F0}"/>
                </a:ext>
              </a:extLst>
            </p:cNvPr>
            <p:cNvGrpSpPr/>
            <p:nvPr/>
          </p:nvGrpSpPr>
          <p:grpSpPr>
            <a:xfrm>
              <a:off x="6108756" y="1887583"/>
              <a:ext cx="1522696" cy="1135309"/>
              <a:chOff x="6109462" y="1790701"/>
              <a:chExt cx="1606948" cy="1198126"/>
            </a:xfrm>
          </p:grpSpPr>
          <p:sp>
            <p:nvSpPr>
              <p:cNvPr id="365" name="ïṧḻîdê">
                <a:extLst>
                  <a:ext uri="{FF2B5EF4-FFF2-40B4-BE49-F238E27FC236}">
                    <a16:creationId xmlns:a16="http://schemas.microsoft.com/office/drawing/2014/main" id="{28311353-76B7-45BB-967F-E4A1E97FD5BB}"/>
                  </a:ext>
                </a:extLst>
              </p:cNvPr>
              <p:cNvSpPr/>
              <p:nvPr/>
            </p:nvSpPr>
            <p:spPr bwMode="auto">
              <a:xfrm>
                <a:off x="6109462" y="1790701"/>
                <a:ext cx="1606948" cy="1198126"/>
              </a:xfrm>
              <a:custGeom>
                <a:avLst/>
                <a:gdLst>
                  <a:gd name="T0" fmla="*/ 252 w 363"/>
                  <a:gd name="T1" fmla="*/ 275 h 275"/>
                  <a:gd name="T2" fmla="*/ 363 w 363"/>
                  <a:gd name="T3" fmla="*/ 210 h 275"/>
                  <a:gd name="T4" fmla="*/ 0 w 363"/>
                  <a:gd name="T5" fmla="*/ 0 h 275"/>
                  <a:gd name="T6" fmla="*/ 0 w 363"/>
                  <a:gd name="T7" fmla="*/ 129 h 275"/>
                  <a:gd name="T8" fmla="*/ 252 w 363"/>
                  <a:gd name="T9" fmla="*/ 275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3" h="275">
                    <a:moveTo>
                      <a:pt x="252" y="275"/>
                    </a:moveTo>
                    <a:cubicBezTo>
                      <a:pt x="363" y="210"/>
                      <a:pt x="363" y="210"/>
                      <a:pt x="363" y="210"/>
                    </a:cubicBezTo>
                    <a:cubicBezTo>
                      <a:pt x="290" y="85"/>
                      <a:pt x="155" y="1"/>
                      <a:pt x="0" y="0"/>
                    </a:cubicBezTo>
                    <a:cubicBezTo>
                      <a:pt x="0" y="129"/>
                      <a:pt x="0" y="129"/>
                      <a:pt x="0" y="129"/>
                    </a:cubicBezTo>
                    <a:cubicBezTo>
                      <a:pt x="107" y="130"/>
                      <a:pt x="201" y="189"/>
                      <a:pt x="252" y="27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366" name="íṧ1ïďé">
                <a:extLst>
                  <a:ext uri="{FF2B5EF4-FFF2-40B4-BE49-F238E27FC236}">
                    <a16:creationId xmlns:a16="http://schemas.microsoft.com/office/drawing/2014/main" id="{A46D1381-9393-43F2-8DAD-FE10E0FD7D42}"/>
                  </a:ext>
                </a:extLst>
              </p:cNvPr>
              <p:cNvSpPr/>
              <p:nvPr/>
            </p:nvSpPr>
            <p:spPr>
              <a:xfrm>
                <a:off x="6901718" y="2208984"/>
                <a:ext cx="342042" cy="311502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noFill/>
                <a:prstDash val="sys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800" b="1" dirty="0">
                  <a:solidFill>
                    <a:schemeClr val="lt1"/>
                  </a:solidFill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1812388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ṧliḑé">
            <a:extLst>
              <a:ext uri="{FF2B5EF4-FFF2-40B4-BE49-F238E27FC236}">
                <a16:creationId xmlns:a16="http://schemas.microsoft.com/office/drawing/2014/main" id="{48E2C265-7547-4D0B-BD42-335105812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28" name="ísľï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CD0CFE3-1826-4295-89A8-5B2D9C84DC8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772588" y="1301175"/>
            <a:ext cx="8646824" cy="4674750"/>
            <a:chOff x="1772588" y="1301175"/>
            <a:chExt cx="8646824" cy="4674750"/>
          </a:xfrm>
        </p:grpSpPr>
        <p:grpSp>
          <p:nvGrpSpPr>
            <p:cNvPr id="29" name="îšliḍè">
              <a:extLst>
                <a:ext uri="{FF2B5EF4-FFF2-40B4-BE49-F238E27FC236}">
                  <a16:creationId xmlns:a16="http://schemas.microsoft.com/office/drawing/2014/main" id="{1D0F2949-E310-45ED-922A-BD3A66645027}"/>
                </a:ext>
              </a:extLst>
            </p:cNvPr>
            <p:cNvGrpSpPr/>
            <p:nvPr/>
          </p:nvGrpSpPr>
          <p:grpSpPr>
            <a:xfrm>
              <a:off x="4403461" y="1301175"/>
              <a:ext cx="3442852" cy="3442846"/>
              <a:chOff x="4189997" y="1706491"/>
              <a:chExt cx="3864123" cy="3864118"/>
            </a:xfrm>
          </p:grpSpPr>
          <p:sp>
            <p:nvSpPr>
              <p:cNvPr id="39" name="ïS1íḍé">
                <a:extLst>
                  <a:ext uri="{FF2B5EF4-FFF2-40B4-BE49-F238E27FC236}">
                    <a16:creationId xmlns:a16="http://schemas.microsoft.com/office/drawing/2014/main" id="{A1AA62C4-1103-4F6E-AEAE-4ACB9AC74583}"/>
                  </a:ext>
                </a:extLst>
              </p:cNvPr>
              <p:cNvSpPr/>
              <p:nvPr/>
            </p:nvSpPr>
            <p:spPr bwMode="auto">
              <a:xfrm>
                <a:off x="4189997" y="1706491"/>
                <a:ext cx="3864123" cy="3387623"/>
              </a:xfrm>
              <a:custGeom>
                <a:avLst/>
                <a:gdLst>
                  <a:gd name="T0" fmla="*/ 72 w 73"/>
                  <a:gd name="T1" fmla="*/ 62 h 64"/>
                  <a:gd name="T2" fmla="*/ 58 w 73"/>
                  <a:gd name="T3" fmla="*/ 49 h 64"/>
                  <a:gd name="T4" fmla="*/ 46 w 73"/>
                  <a:gd name="T5" fmla="*/ 43 h 64"/>
                  <a:gd name="T6" fmla="*/ 44 w 73"/>
                  <a:gd name="T7" fmla="*/ 42 h 64"/>
                  <a:gd name="T8" fmla="*/ 44 w 73"/>
                  <a:gd name="T9" fmla="*/ 42 h 64"/>
                  <a:gd name="T10" fmla="*/ 44 w 73"/>
                  <a:gd name="T11" fmla="*/ 42 h 64"/>
                  <a:gd name="T12" fmla="*/ 42 w 73"/>
                  <a:gd name="T13" fmla="*/ 41 h 64"/>
                  <a:gd name="T14" fmla="*/ 42 w 73"/>
                  <a:gd name="T15" fmla="*/ 41 h 64"/>
                  <a:gd name="T16" fmla="*/ 42 w 73"/>
                  <a:gd name="T17" fmla="*/ 41 h 64"/>
                  <a:gd name="T18" fmla="*/ 39 w 73"/>
                  <a:gd name="T19" fmla="*/ 36 h 64"/>
                  <a:gd name="T20" fmla="*/ 39 w 73"/>
                  <a:gd name="T21" fmla="*/ 36 h 64"/>
                  <a:gd name="T22" fmla="*/ 40 w 73"/>
                  <a:gd name="T23" fmla="*/ 35 h 64"/>
                  <a:gd name="T24" fmla="*/ 40 w 73"/>
                  <a:gd name="T25" fmla="*/ 35 h 64"/>
                  <a:gd name="T26" fmla="*/ 40 w 73"/>
                  <a:gd name="T27" fmla="*/ 35 h 64"/>
                  <a:gd name="T28" fmla="*/ 40 w 73"/>
                  <a:gd name="T29" fmla="*/ 33 h 64"/>
                  <a:gd name="T30" fmla="*/ 41 w 73"/>
                  <a:gd name="T31" fmla="*/ 19 h 64"/>
                  <a:gd name="T32" fmla="*/ 37 w 73"/>
                  <a:gd name="T33" fmla="*/ 0 h 64"/>
                  <a:gd name="T34" fmla="*/ 33 w 73"/>
                  <a:gd name="T35" fmla="*/ 19 h 64"/>
                  <a:gd name="T36" fmla="*/ 34 w 73"/>
                  <a:gd name="T37" fmla="*/ 33 h 64"/>
                  <a:gd name="T38" fmla="*/ 34 w 73"/>
                  <a:gd name="T39" fmla="*/ 35 h 64"/>
                  <a:gd name="T40" fmla="*/ 34 w 73"/>
                  <a:gd name="T41" fmla="*/ 35 h 64"/>
                  <a:gd name="T42" fmla="*/ 34 w 73"/>
                  <a:gd name="T43" fmla="*/ 35 h 64"/>
                  <a:gd name="T44" fmla="*/ 34 w 73"/>
                  <a:gd name="T45" fmla="*/ 36 h 64"/>
                  <a:gd name="T46" fmla="*/ 31 w 73"/>
                  <a:gd name="T47" fmla="*/ 41 h 64"/>
                  <a:gd name="T48" fmla="*/ 31 w 73"/>
                  <a:gd name="T49" fmla="*/ 41 h 64"/>
                  <a:gd name="T50" fmla="*/ 31 w 73"/>
                  <a:gd name="T51" fmla="*/ 41 h 64"/>
                  <a:gd name="T52" fmla="*/ 30 w 73"/>
                  <a:gd name="T53" fmla="*/ 42 h 64"/>
                  <a:gd name="T54" fmla="*/ 30 w 73"/>
                  <a:gd name="T55" fmla="*/ 42 h 64"/>
                  <a:gd name="T56" fmla="*/ 30 w 73"/>
                  <a:gd name="T57" fmla="*/ 42 h 64"/>
                  <a:gd name="T58" fmla="*/ 28 w 73"/>
                  <a:gd name="T59" fmla="*/ 43 h 64"/>
                  <a:gd name="T60" fmla="*/ 16 w 73"/>
                  <a:gd name="T61" fmla="*/ 49 h 64"/>
                  <a:gd name="T62" fmla="*/ 2 w 73"/>
                  <a:gd name="T63" fmla="*/ 62 h 64"/>
                  <a:gd name="T64" fmla="*/ 20 w 73"/>
                  <a:gd name="T65" fmla="*/ 56 h 64"/>
                  <a:gd name="T66" fmla="*/ 31 w 73"/>
                  <a:gd name="T67" fmla="*/ 48 h 64"/>
                  <a:gd name="T68" fmla="*/ 33 w 73"/>
                  <a:gd name="T69" fmla="*/ 47 h 64"/>
                  <a:gd name="T70" fmla="*/ 33 w 73"/>
                  <a:gd name="T71" fmla="*/ 47 h 64"/>
                  <a:gd name="T72" fmla="*/ 33 w 73"/>
                  <a:gd name="T73" fmla="*/ 47 h 64"/>
                  <a:gd name="T74" fmla="*/ 34 w 73"/>
                  <a:gd name="T75" fmla="*/ 46 h 64"/>
                  <a:gd name="T76" fmla="*/ 37 w 73"/>
                  <a:gd name="T77" fmla="*/ 47 h 64"/>
                  <a:gd name="T78" fmla="*/ 40 w 73"/>
                  <a:gd name="T79" fmla="*/ 46 h 64"/>
                  <a:gd name="T80" fmla="*/ 41 w 73"/>
                  <a:gd name="T81" fmla="*/ 47 h 64"/>
                  <a:gd name="T82" fmla="*/ 41 w 73"/>
                  <a:gd name="T83" fmla="*/ 47 h 64"/>
                  <a:gd name="T84" fmla="*/ 41 w 73"/>
                  <a:gd name="T85" fmla="*/ 47 h 64"/>
                  <a:gd name="T86" fmla="*/ 43 w 73"/>
                  <a:gd name="T87" fmla="*/ 48 h 64"/>
                  <a:gd name="T88" fmla="*/ 54 w 73"/>
                  <a:gd name="T89" fmla="*/ 56 h 64"/>
                  <a:gd name="T90" fmla="*/ 72 w 73"/>
                  <a:gd name="T91" fmla="*/ 6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3" h="64">
                    <a:moveTo>
                      <a:pt x="72" y="62"/>
                    </a:moveTo>
                    <a:cubicBezTo>
                      <a:pt x="73" y="60"/>
                      <a:pt x="67" y="54"/>
                      <a:pt x="58" y="49"/>
                    </a:cubicBezTo>
                    <a:cubicBezTo>
                      <a:pt x="53" y="46"/>
                      <a:pt x="49" y="44"/>
                      <a:pt x="46" y="43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2"/>
                      <a:pt x="43" y="41"/>
                      <a:pt x="42" y="41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39"/>
                      <a:pt x="41" y="37"/>
                      <a:pt x="39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40" y="36"/>
                      <a:pt x="40" y="35"/>
                      <a:pt x="40" y="35"/>
                    </a:cubicBezTo>
                    <a:cubicBezTo>
                      <a:pt x="40" y="35"/>
                      <a:pt x="40" y="35"/>
                      <a:pt x="40" y="35"/>
                    </a:cubicBezTo>
                    <a:cubicBezTo>
                      <a:pt x="40" y="35"/>
                      <a:pt x="40" y="35"/>
                      <a:pt x="40" y="35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0" y="29"/>
                      <a:pt x="41" y="24"/>
                      <a:pt x="41" y="19"/>
                    </a:cubicBezTo>
                    <a:cubicBezTo>
                      <a:pt x="41" y="9"/>
                      <a:pt x="39" y="0"/>
                      <a:pt x="37" y="0"/>
                    </a:cubicBezTo>
                    <a:cubicBezTo>
                      <a:pt x="35" y="0"/>
                      <a:pt x="33" y="9"/>
                      <a:pt x="33" y="19"/>
                    </a:cubicBezTo>
                    <a:cubicBezTo>
                      <a:pt x="33" y="24"/>
                      <a:pt x="33" y="29"/>
                      <a:pt x="34" y="33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4" y="35"/>
                      <a:pt x="34" y="36"/>
                      <a:pt x="34" y="36"/>
                    </a:cubicBezTo>
                    <a:cubicBezTo>
                      <a:pt x="33" y="37"/>
                      <a:pt x="31" y="39"/>
                      <a:pt x="31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0" y="42"/>
                      <a:pt x="30" y="42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5" y="44"/>
                      <a:pt x="20" y="46"/>
                      <a:pt x="16" y="49"/>
                    </a:cubicBezTo>
                    <a:cubicBezTo>
                      <a:pt x="7" y="54"/>
                      <a:pt x="0" y="60"/>
                      <a:pt x="2" y="62"/>
                    </a:cubicBezTo>
                    <a:cubicBezTo>
                      <a:pt x="3" y="64"/>
                      <a:pt x="11" y="61"/>
                      <a:pt x="20" y="56"/>
                    </a:cubicBezTo>
                    <a:cubicBezTo>
                      <a:pt x="24" y="53"/>
                      <a:pt x="28" y="50"/>
                      <a:pt x="31" y="48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3" y="47"/>
                      <a:pt x="34" y="46"/>
                      <a:pt x="34" y="46"/>
                    </a:cubicBezTo>
                    <a:cubicBezTo>
                      <a:pt x="35" y="46"/>
                      <a:pt x="36" y="47"/>
                      <a:pt x="37" y="47"/>
                    </a:cubicBezTo>
                    <a:cubicBezTo>
                      <a:pt x="38" y="47"/>
                      <a:pt x="39" y="46"/>
                      <a:pt x="40" y="46"/>
                    </a:cubicBezTo>
                    <a:cubicBezTo>
                      <a:pt x="40" y="46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3" y="48"/>
                      <a:pt x="43" y="48"/>
                      <a:pt x="43" y="48"/>
                    </a:cubicBezTo>
                    <a:cubicBezTo>
                      <a:pt x="45" y="50"/>
                      <a:pt x="49" y="53"/>
                      <a:pt x="54" y="56"/>
                    </a:cubicBezTo>
                    <a:cubicBezTo>
                      <a:pt x="63" y="61"/>
                      <a:pt x="71" y="64"/>
                      <a:pt x="72" y="62"/>
                    </a:cubicBezTo>
                  </a:path>
                </a:pathLst>
              </a:custGeom>
              <a:solidFill>
                <a:schemeClr val="accent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0" name="i$ľiďè">
                <a:extLst>
                  <a:ext uri="{FF2B5EF4-FFF2-40B4-BE49-F238E27FC236}">
                    <a16:creationId xmlns:a16="http://schemas.microsoft.com/office/drawing/2014/main" id="{4240224C-7591-43BC-91D3-741A5E09F3C3}"/>
                  </a:ext>
                </a:extLst>
              </p:cNvPr>
              <p:cNvSpPr/>
              <p:nvPr/>
            </p:nvSpPr>
            <p:spPr bwMode="auto">
              <a:xfrm>
                <a:off x="6494324" y="2391456"/>
                <a:ext cx="1429501" cy="1958121"/>
              </a:xfrm>
              <a:custGeom>
                <a:avLst/>
                <a:gdLst>
                  <a:gd name="T0" fmla="*/ 26 w 27"/>
                  <a:gd name="T1" fmla="*/ 28 h 37"/>
                  <a:gd name="T2" fmla="*/ 23 w 27"/>
                  <a:gd name="T3" fmla="*/ 27 h 37"/>
                  <a:gd name="T4" fmla="*/ 2 w 27"/>
                  <a:gd name="T5" fmla="*/ 0 h 37"/>
                  <a:gd name="T6" fmla="*/ 0 w 27"/>
                  <a:gd name="T7" fmla="*/ 1 h 37"/>
                  <a:gd name="T8" fmla="*/ 1 w 27"/>
                  <a:gd name="T9" fmla="*/ 3 h 37"/>
                  <a:gd name="T10" fmla="*/ 20 w 27"/>
                  <a:gd name="T11" fmla="*/ 27 h 37"/>
                  <a:gd name="T12" fmla="*/ 18 w 27"/>
                  <a:gd name="T13" fmla="*/ 27 h 37"/>
                  <a:gd name="T14" fmla="*/ 17 w 27"/>
                  <a:gd name="T15" fmla="*/ 27 h 37"/>
                  <a:gd name="T16" fmla="*/ 16 w 27"/>
                  <a:gd name="T17" fmla="*/ 29 h 37"/>
                  <a:gd name="T18" fmla="*/ 20 w 27"/>
                  <a:gd name="T19" fmla="*/ 36 h 37"/>
                  <a:gd name="T20" fmla="*/ 21 w 27"/>
                  <a:gd name="T21" fmla="*/ 37 h 37"/>
                  <a:gd name="T22" fmla="*/ 22 w 27"/>
                  <a:gd name="T23" fmla="*/ 36 h 37"/>
                  <a:gd name="T24" fmla="*/ 27 w 27"/>
                  <a:gd name="T25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" h="37">
                    <a:moveTo>
                      <a:pt x="26" y="28"/>
                    </a:move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15"/>
                      <a:pt x="14" y="4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2" y="6"/>
                      <a:pt x="19" y="16"/>
                      <a:pt x="20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8"/>
                      <a:pt x="16" y="28"/>
                      <a:pt x="16" y="29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37"/>
                      <a:pt x="20" y="37"/>
                      <a:pt x="21" y="37"/>
                    </a:cubicBezTo>
                    <a:cubicBezTo>
                      <a:pt x="22" y="37"/>
                      <a:pt x="22" y="37"/>
                      <a:pt x="22" y="36"/>
                    </a:cubicBezTo>
                    <a:cubicBezTo>
                      <a:pt x="27" y="30"/>
                      <a:pt x="27" y="30"/>
                      <a:pt x="27" y="3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1" name="îṩlíḋe">
                <a:extLst>
                  <a:ext uri="{FF2B5EF4-FFF2-40B4-BE49-F238E27FC236}">
                    <a16:creationId xmlns:a16="http://schemas.microsoft.com/office/drawing/2014/main" id="{0469554C-52F1-407B-8DF0-332585C13072}"/>
                  </a:ext>
                </a:extLst>
              </p:cNvPr>
              <p:cNvSpPr/>
              <p:nvPr/>
            </p:nvSpPr>
            <p:spPr bwMode="auto">
              <a:xfrm>
                <a:off x="5012706" y="4982427"/>
                <a:ext cx="2218705" cy="588182"/>
              </a:xfrm>
              <a:custGeom>
                <a:avLst/>
                <a:gdLst>
                  <a:gd name="T0" fmla="*/ 40 w 42"/>
                  <a:gd name="T1" fmla="*/ 1 h 11"/>
                  <a:gd name="T2" fmla="*/ 9 w 42"/>
                  <a:gd name="T3" fmla="*/ 5 h 11"/>
                  <a:gd name="T4" fmla="*/ 10 w 42"/>
                  <a:gd name="T5" fmla="*/ 4 h 11"/>
                  <a:gd name="T6" fmla="*/ 11 w 42"/>
                  <a:gd name="T7" fmla="*/ 2 h 11"/>
                  <a:gd name="T8" fmla="*/ 9 w 42"/>
                  <a:gd name="T9" fmla="*/ 1 h 11"/>
                  <a:gd name="T10" fmla="*/ 2 w 42"/>
                  <a:gd name="T11" fmla="*/ 0 h 11"/>
                  <a:gd name="T12" fmla="*/ 0 w 42"/>
                  <a:gd name="T13" fmla="*/ 1 h 11"/>
                  <a:gd name="T14" fmla="*/ 0 w 42"/>
                  <a:gd name="T15" fmla="*/ 2 h 11"/>
                  <a:gd name="T16" fmla="*/ 3 w 42"/>
                  <a:gd name="T17" fmla="*/ 10 h 11"/>
                  <a:gd name="T18" fmla="*/ 5 w 42"/>
                  <a:gd name="T19" fmla="*/ 11 h 11"/>
                  <a:gd name="T20" fmla="*/ 6 w 42"/>
                  <a:gd name="T21" fmla="*/ 10 h 11"/>
                  <a:gd name="T22" fmla="*/ 7 w 42"/>
                  <a:gd name="T23" fmla="*/ 8 h 11"/>
                  <a:gd name="T24" fmla="*/ 21 w 42"/>
                  <a:gd name="T25" fmla="*/ 11 h 11"/>
                  <a:gd name="T26" fmla="*/ 42 w 42"/>
                  <a:gd name="T27" fmla="*/ 3 h 11"/>
                  <a:gd name="T28" fmla="*/ 42 w 42"/>
                  <a:gd name="T29" fmla="*/ 1 h 11"/>
                  <a:gd name="T30" fmla="*/ 40 w 42"/>
                  <a:gd name="T31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2" h="11">
                    <a:moveTo>
                      <a:pt x="40" y="1"/>
                    </a:moveTo>
                    <a:cubicBezTo>
                      <a:pt x="31" y="8"/>
                      <a:pt x="19" y="10"/>
                      <a:pt x="9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3"/>
                      <a:pt x="11" y="2"/>
                      <a:pt x="11" y="2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4" y="11"/>
                      <a:pt x="5" y="11"/>
                    </a:cubicBezTo>
                    <a:cubicBezTo>
                      <a:pt x="5" y="11"/>
                      <a:pt x="6" y="10"/>
                      <a:pt x="6" y="1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2" y="10"/>
                      <a:pt x="16" y="11"/>
                      <a:pt x="21" y="11"/>
                    </a:cubicBezTo>
                    <a:cubicBezTo>
                      <a:pt x="28" y="11"/>
                      <a:pt x="36" y="8"/>
                      <a:pt x="42" y="3"/>
                    </a:cubicBezTo>
                    <a:cubicBezTo>
                      <a:pt x="42" y="2"/>
                      <a:pt x="42" y="1"/>
                      <a:pt x="42" y="1"/>
                    </a:cubicBezTo>
                    <a:cubicBezTo>
                      <a:pt x="41" y="0"/>
                      <a:pt x="40" y="0"/>
                      <a:pt x="40" y="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2" name="íšľïďe">
                <a:extLst>
                  <a:ext uri="{FF2B5EF4-FFF2-40B4-BE49-F238E27FC236}">
                    <a16:creationId xmlns:a16="http://schemas.microsoft.com/office/drawing/2014/main" id="{158418A4-D518-41DA-846A-9C080E73D1B6}"/>
                  </a:ext>
                </a:extLst>
              </p:cNvPr>
              <p:cNvSpPr/>
              <p:nvPr/>
            </p:nvSpPr>
            <p:spPr bwMode="auto">
              <a:xfrm>
                <a:off x="4379855" y="2339339"/>
                <a:ext cx="1369939" cy="2010236"/>
              </a:xfrm>
              <a:custGeom>
                <a:avLst/>
                <a:gdLst>
                  <a:gd name="T0" fmla="*/ 4 w 26"/>
                  <a:gd name="T1" fmla="*/ 38 h 38"/>
                  <a:gd name="T2" fmla="*/ 5 w 26"/>
                  <a:gd name="T3" fmla="*/ 38 h 38"/>
                  <a:gd name="T4" fmla="*/ 6 w 26"/>
                  <a:gd name="T5" fmla="*/ 36 h 38"/>
                  <a:gd name="T6" fmla="*/ 17 w 26"/>
                  <a:gd name="T7" fmla="*/ 8 h 38"/>
                  <a:gd name="T8" fmla="*/ 18 w 26"/>
                  <a:gd name="T9" fmla="*/ 10 h 38"/>
                  <a:gd name="T10" fmla="*/ 19 w 26"/>
                  <a:gd name="T11" fmla="*/ 11 h 38"/>
                  <a:gd name="T12" fmla="*/ 21 w 26"/>
                  <a:gd name="T13" fmla="*/ 10 h 38"/>
                  <a:gd name="T14" fmla="*/ 25 w 26"/>
                  <a:gd name="T15" fmla="*/ 4 h 38"/>
                  <a:gd name="T16" fmla="*/ 25 w 26"/>
                  <a:gd name="T17" fmla="*/ 2 h 38"/>
                  <a:gd name="T18" fmla="*/ 24 w 26"/>
                  <a:gd name="T19" fmla="*/ 1 h 38"/>
                  <a:gd name="T20" fmla="*/ 16 w 26"/>
                  <a:gd name="T21" fmla="*/ 1 h 38"/>
                  <a:gd name="T22" fmla="*/ 15 w 26"/>
                  <a:gd name="T23" fmla="*/ 1 h 38"/>
                  <a:gd name="T24" fmla="*/ 15 w 26"/>
                  <a:gd name="T25" fmla="*/ 3 h 38"/>
                  <a:gd name="T26" fmla="*/ 16 w 26"/>
                  <a:gd name="T27" fmla="*/ 5 h 38"/>
                  <a:gd name="T28" fmla="*/ 3 w 26"/>
                  <a:gd name="T29" fmla="*/ 37 h 38"/>
                  <a:gd name="T30" fmla="*/ 4 w 26"/>
                  <a:gd name="T31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38">
                    <a:moveTo>
                      <a:pt x="4" y="38"/>
                    </a:moveTo>
                    <a:cubicBezTo>
                      <a:pt x="5" y="38"/>
                      <a:pt x="5" y="38"/>
                      <a:pt x="5" y="38"/>
                    </a:cubicBezTo>
                    <a:cubicBezTo>
                      <a:pt x="6" y="38"/>
                      <a:pt x="6" y="37"/>
                      <a:pt x="6" y="36"/>
                    </a:cubicBezTo>
                    <a:cubicBezTo>
                      <a:pt x="3" y="25"/>
                      <a:pt x="8" y="14"/>
                      <a:pt x="17" y="8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0"/>
                      <a:pt x="19" y="11"/>
                      <a:pt x="19" y="11"/>
                    </a:cubicBezTo>
                    <a:cubicBezTo>
                      <a:pt x="20" y="11"/>
                      <a:pt x="20" y="11"/>
                      <a:pt x="21" y="10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6" y="3"/>
                      <a:pt x="26" y="3"/>
                      <a:pt x="25" y="2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0"/>
                      <a:pt x="15" y="1"/>
                      <a:pt x="15" y="1"/>
                    </a:cubicBezTo>
                    <a:cubicBezTo>
                      <a:pt x="15" y="2"/>
                      <a:pt x="14" y="2"/>
                      <a:pt x="15" y="3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5" y="12"/>
                      <a:pt x="0" y="25"/>
                      <a:pt x="3" y="37"/>
                    </a:cubicBezTo>
                    <a:cubicBezTo>
                      <a:pt x="3" y="38"/>
                      <a:pt x="4" y="38"/>
                      <a:pt x="4" y="3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</p:grpSp>
        <p:grpSp>
          <p:nvGrpSpPr>
            <p:cNvPr id="30" name="í$ḷídé">
              <a:extLst>
                <a:ext uri="{FF2B5EF4-FFF2-40B4-BE49-F238E27FC236}">
                  <a16:creationId xmlns:a16="http://schemas.microsoft.com/office/drawing/2014/main" id="{BBC3F2B3-2DBA-4149-81AE-A88C87C42FC5}"/>
                </a:ext>
              </a:extLst>
            </p:cNvPr>
            <p:cNvGrpSpPr/>
            <p:nvPr/>
          </p:nvGrpSpPr>
          <p:grpSpPr>
            <a:xfrm>
              <a:off x="1772588" y="1917120"/>
              <a:ext cx="2611177" cy="1107071"/>
              <a:chOff x="673100" y="1740479"/>
              <a:chExt cx="2611177" cy="1107071"/>
            </a:xfrm>
          </p:grpSpPr>
          <p:sp>
            <p:nvSpPr>
              <p:cNvPr id="37" name="îṥľïdé">
                <a:extLst>
                  <a:ext uri="{FF2B5EF4-FFF2-40B4-BE49-F238E27FC236}">
                    <a16:creationId xmlns:a16="http://schemas.microsoft.com/office/drawing/2014/main" id="{F50059DC-C0C4-4EC9-8D1C-8F97868F4546}"/>
                  </a:ext>
                </a:extLst>
              </p:cNvPr>
              <p:cNvSpPr txBox="1"/>
              <p:nvPr/>
            </p:nvSpPr>
            <p:spPr>
              <a:xfrm>
                <a:off x="673100" y="2248310"/>
                <a:ext cx="2611177" cy="5992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" name="íSlîḍé">
                <a:extLst>
                  <a:ext uri="{FF2B5EF4-FFF2-40B4-BE49-F238E27FC236}">
                    <a16:creationId xmlns:a16="http://schemas.microsoft.com/office/drawing/2014/main" id="{F185814D-3096-4E52-A5D9-E16F5FA93B8A}"/>
                  </a:ext>
                </a:extLst>
              </p:cNvPr>
              <p:cNvSpPr/>
              <p:nvPr/>
            </p:nvSpPr>
            <p:spPr>
              <a:xfrm>
                <a:off x="673100" y="1740479"/>
                <a:ext cx="2611177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grpSp>
          <p:nvGrpSpPr>
            <p:cNvPr id="31" name="ï$1idè">
              <a:extLst>
                <a:ext uri="{FF2B5EF4-FFF2-40B4-BE49-F238E27FC236}">
                  <a16:creationId xmlns:a16="http://schemas.microsoft.com/office/drawing/2014/main" id="{E60F446B-B28C-4691-9F2C-0677863977FA}"/>
                </a:ext>
              </a:extLst>
            </p:cNvPr>
            <p:cNvGrpSpPr/>
            <p:nvPr/>
          </p:nvGrpSpPr>
          <p:grpSpPr>
            <a:xfrm>
              <a:off x="4819299" y="4868854"/>
              <a:ext cx="2611177" cy="1107071"/>
              <a:chOff x="673100" y="3064387"/>
              <a:chExt cx="2611177" cy="1107071"/>
            </a:xfrm>
          </p:grpSpPr>
          <p:sp>
            <p:nvSpPr>
              <p:cNvPr id="35" name="ï$ļiďé">
                <a:extLst>
                  <a:ext uri="{FF2B5EF4-FFF2-40B4-BE49-F238E27FC236}">
                    <a16:creationId xmlns:a16="http://schemas.microsoft.com/office/drawing/2014/main" id="{E425F204-71C8-4114-8496-A46979AD20E0}"/>
                  </a:ext>
                </a:extLst>
              </p:cNvPr>
              <p:cNvSpPr txBox="1"/>
              <p:nvPr/>
            </p:nvSpPr>
            <p:spPr>
              <a:xfrm>
                <a:off x="673100" y="3572218"/>
                <a:ext cx="2611177" cy="5992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6" name="ïş1ïďè">
                <a:extLst>
                  <a:ext uri="{FF2B5EF4-FFF2-40B4-BE49-F238E27FC236}">
                    <a16:creationId xmlns:a16="http://schemas.microsoft.com/office/drawing/2014/main" id="{41E4AE46-42A0-424E-83F0-D3BB5301511D}"/>
                  </a:ext>
                </a:extLst>
              </p:cNvPr>
              <p:cNvSpPr/>
              <p:nvPr/>
            </p:nvSpPr>
            <p:spPr>
              <a:xfrm>
                <a:off x="673100" y="3064387"/>
                <a:ext cx="2611177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grpSp>
          <p:nvGrpSpPr>
            <p:cNvPr id="32" name="ïṣ1ïḑè">
              <a:extLst>
                <a:ext uri="{FF2B5EF4-FFF2-40B4-BE49-F238E27FC236}">
                  <a16:creationId xmlns:a16="http://schemas.microsoft.com/office/drawing/2014/main" id="{F60B743D-F6C1-48AB-9107-84FB338EC076}"/>
                </a:ext>
              </a:extLst>
            </p:cNvPr>
            <p:cNvGrpSpPr/>
            <p:nvPr/>
          </p:nvGrpSpPr>
          <p:grpSpPr>
            <a:xfrm>
              <a:off x="7808235" y="1911464"/>
              <a:ext cx="2611177" cy="1107071"/>
              <a:chOff x="8907723" y="3176874"/>
              <a:chExt cx="2611177" cy="1107071"/>
            </a:xfrm>
          </p:grpSpPr>
          <p:sp>
            <p:nvSpPr>
              <p:cNvPr id="33" name="ïṧlîďe">
                <a:extLst>
                  <a:ext uri="{FF2B5EF4-FFF2-40B4-BE49-F238E27FC236}">
                    <a16:creationId xmlns:a16="http://schemas.microsoft.com/office/drawing/2014/main" id="{DCA61B97-3175-40A3-8B9F-C31051E900C0}"/>
                  </a:ext>
                </a:extLst>
              </p:cNvPr>
              <p:cNvSpPr txBox="1"/>
              <p:nvPr/>
            </p:nvSpPr>
            <p:spPr>
              <a:xfrm>
                <a:off x="8907723" y="3684705"/>
                <a:ext cx="2611177" cy="5992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4" name="ïṣľïďê">
                <a:extLst>
                  <a:ext uri="{FF2B5EF4-FFF2-40B4-BE49-F238E27FC236}">
                    <a16:creationId xmlns:a16="http://schemas.microsoft.com/office/drawing/2014/main" id="{87EC2059-C9B9-446A-950B-6841A2656A3D}"/>
                  </a:ext>
                </a:extLst>
              </p:cNvPr>
              <p:cNvSpPr/>
              <p:nvPr/>
            </p:nvSpPr>
            <p:spPr>
              <a:xfrm>
                <a:off x="8907723" y="3176874"/>
                <a:ext cx="2611177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/>
              <a:p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8765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1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ṩļïďe">
            <a:extLst>
              <a:ext uri="{FF2B5EF4-FFF2-40B4-BE49-F238E27FC236}">
                <a16:creationId xmlns:a16="http://schemas.microsoft.com/office/drawing/2014/main" id="{B5FE39F4-038F-4A43-BA17-427F2E2B0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ṥ1ïďé">
            <a:extLst>
              <a:ext uri="{FF2B5EF4-FFF2-40B4-BE49-F238E27FC236}">
                <a16:creationId xmlns:a16="http://schemas.microsoft.com/office/drawing/2014/main" id="{319EE680-E9BA-408E-9BD6-2A9FFBDCF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ļîḍe">
            <a:extLst>
              <a:ext uri="{FF2B5EF4-FFF2-40B4-BE49-F238E27FC236}">
                <a16:creationId xmlns:a16="http://schemas.microsoft.com/office/drawing/2014/main" id="{4A8B87DC-9CA8-462F-8A59-5158CF49A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30" name="islí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BB7F736-5DEE-482F-BCDA-450D83EBADD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748577"/>
            <a:ext cx="10850563" cy="3767246"/>
            <a:chOff x="669925" y="1748577"/>
            <a:chExt cx="10850563" cy="3767246"/>
          </a:xfrm>
        </p:grpSpPr>
        <p:grpSp>
          <p:nvGrpSpPr>
            <p:cNvPr id="31" name="iSḻíḓé">
              <a:extLst>
                <a:ext uri="{FF2B5EF4-FFF2-40B4-BE49-F238E27FC236}">
                  <a16:creationId xmlns:a16="http://schemas.microsoft.com/office/drawing/2014/main" id="{737AE910-1EB4-43E5-AF54-8D1A8F7143B2}"/>
                </a:ext>
              </a:extLst>
            </p:cNvPr>
            <p:cNvGrpSpPr/>
            <p:nvPr/>
          </p:nvGrpSpPr>
          <p:grpSpPr>
            <a:xfrm>
              <a:off x="4209107" y="1748577"/>
              <a:ext cx="3761087" cy="3767246"/>
              <a:chOff x="4209107" y="1748577"/>
              <a:chExt cx="3761087" cy="3767246"/>
            </a:xfrm>
          </p:grpSpPr>
          <p:sp>
            <p:nvSpPr>
              <p:cNvPr id="47" name="iṥḻíďe">
                <a:extLst>
                  <a:ext uri="{FF2B5EF4-FFF2-40B4-BE49-F238E27FC236}">
                    <a16:creationId xmlns:a16="http://schemas.microsoft.com/office/drawing/2014/main" id="{240B1541-3AD5-4F95-8881-BBA79E83B558}"/>
                  </a:ext>
                </a:extLst>
              </p:cNvPr>
              <p:cNvSpPr/>
              <p:nvPr/>
            </p:nvSpPr>
            <p:spPr>
              <a:xfrm>
                <a:off x="5171391" y="1748577"/>
                <a:ext cx="2787661" cy="12896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/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48" name="ïšḻiḋè">
                <a:extLst>
                  <a:ext uri="{FF2B5EF4-FFF2-40B4-BE49-F238E27FC236}">
                    <a16:creationId xmlns:a16="http://schemas.microsoft.com/office/drawing/2014/main" id="{23079B01-7133-4B3C-958A-8243D837BDA8}"/>
                  </a:ext>
                </a:extLst>
              </p:cNvPr>
              <p:cNvSpPr/>
              <p:nvPr/>
            </p:nvSpPr>
            <p:spPr>
              <a:xfrm rot="16221438">
                <a:off x="3460082" y="2516232"/>
                <a:ext cx="2787661" cy="12896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  <a:miter lim="400000"/>
              </a:ln>
            </p:spPr>
            <p:txBody>
              <a:bodyPr lIns="71437" tIns="71437" rIns="71437" bIns="71437" anchor="ctr"/>
              <a:lstStyle/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49" name="iSḷîḍê">
                <a:extLst>
                  <a:ext uri="{FF2B5EF4-FFF2-40B4-BE49-F238E27FC236}">
                    <a16:creationId xmlns:a16="http://schemas.microsoft.com/office/drawing/2014/main" id="{2DB1E95B-C69F-4044-B51C-40C77F1A83DE}"/>
                  </a:ext>
                </a:extLst>
              </p:cNvPr>
              <p:cNvSpPr/>
              <p:nvPr/>
            </p:nvSpPr>
            <p:spPr>
              <a:xfrm rot="10771382">
                <a:off x="4220247" y="4226210"/>
                <a:ext cx="2787661" cy="12896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/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50" name="iṩḻïdé">
                <a:extLst>
                  <a:ext uri="{FF2B5EF4-FFF2-40B4-BE49-F238E27FC236}">
                    <a16:creationId xmlns:a16="http://schemas.microsoft.com/office/drawing/2014/main" id="{8397BB58-3174-464A-96C4-C10A4099F6FF}"/>
                  </a:ext>
                </a:extLst>
              </p:cNvPr>
              <p:cNvSpPr/>
              <p:nvPr/>
            </p:nvSpPr>
            <p:spPr>
              <a:xfrm rot="5419948">
                <a:off x="5931557" y="3451065"/>
                <a:ext cx="2787661" cy="12896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/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51" name="îṡľíďê">
                <a:extLst>
                  <a:ext uri="{FF2B5EF4-FFF2-40B4-BE49-F238E27FC236}">
                    <a16:creationId xmlns:a16="http://schemas.microsoft.com/office/drawing/2014/main" id="{6F1171A7-9D1A-4617-B918-53D7577B891E}"/>
                  </a:ext>
                </a:extLst>
              </p:cNvPr>
              <p:cNvSpPr/>
              <p:nvPr/>
            </p:nvSpPr>
            <p:spPr>
              <a:xfrm>
                <a:off x="4384394" y="1907867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lvl1pPr algn="r">
                  <a:defRPr sz="4400" b="1" cap="none">
                    <a:solidFill>
                      <a:srgbClr val="FFFFFF"/>
                    </a:solidFill>
                  </a:defRPr>
                </a:lvl1pPr>
              </a:lstStyle>
              <a:p>
                <a:r>
                  <a:rPr sz="3200" dirty="0"/>
                  <a:t>01</a:t>
                </a:r>
              </a:p>
            </p:txBody>
          </p:sp>
          <p:sp>
            <p:nvSpPr>
              <p:cNvPr id="52" name="isḷíḓè">
                <a:extLst>
                  <a:ext uri="{FF2B5EF4-FFF2-40B4-BE49-F238E27FC236}">
                    <a16:creationId xmlns:a16="http://schemas.microsoft.com/office/drawing/2014/main" id="{2DDEFC14-5D67-4F32-AA9D-E92F8B0E247F}"/>
                  </a:ext>
                </a:extLst>
              </p:cNvPr>
              <p:cNvSpPr/>
              <p:nvPr/>
            </p:nvSpPr>
            <p:spPr>
              <a:xfrm>
                <a:off x="7149320" y="1907867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lvl1pPr algn="r">
                  <a:defRPr sz="4400" b="1" cap="none">
                    <a:solidFill>
                      <a:srgbClr val="FFFFFF"/>
                    </a:solidFill>
                  </a:defRPr>
                </a:lvl1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2</a:t>
                </a:r>
              </a:p>
            </p:txBody>
          </p:sp>
          <p:sp>
            <p:nvSpPr>
              <p:cNvPr id="53" name="ïS1îďè">
                <a:extLst>
                  <a:ext uri="{FF2B5EF4-FFF2-40B4-BE49-F238E27FC236}">
                    <a16:creationId xmlns:a16="http://schemas.microsoft.com/office/drawing/2014/main" id="{5692F4DC-9D61-4B0E-883B-A1AC678EA9E2}"/>
                  </a:ext>
                </a:extLst>
              </p:cNvPr>
              <p:cNvSpPr/>
              <p:nvPr/>
            </p:nvSpPr>
            <p:spPr>
              <a:xfrm>
                <a:off x="7201765" y="4702966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lvl1pPr algn="r">
                  <a:defRPr sz="4400" b="1" cap="none">
                    <a:solidFill>
                      <a:srgbClr val="FFFFFF"/>
                    </a:solidFill>
                  </a:defRPr>
                </a:lvl1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3</a:t>
                </a:r>
              </a:p>
            </p:txBody>
          </p:sp>
          <p:sp>
            <p:nvSpPr>
              <p:cNvPr id="54" name="íşḻïḍe">
                <a:extLst>
                  <a:ext uri="{FF2B5EF4-FFF2-40B4-BE49-F238E27FC236}">
                    <a16:creationId xmlns:a16="http://schemas.microsoft.com/office/drawing/2014/main" id="{DA9F0AB1-1FD7-43A7-847B-FD4A356276CA}"/>
                  </a:ext>
                </a:extLst>
              </p:cNvPr>
              <p:cNvSpPr/>
              <p:nvPr/>
            </p:nvSpPr>
            <p:spPr>
              <a:xfrm>
                <a:off x="4384394" y="4749654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lvl1pPr algn="r">
                  <a:defRPr sz="4400" b="1" cap="none">
                    <a:solidFill>
                      <a:srgbClr val="FFFFFF"/>
                    </a:solidFill>
                  </a:defRPr>
                </a:lvl1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4</a:t>
                </a:r>
              </a:p>
            </p:txBody>
          </p:sp>
        </p:grpSp>
        <p:grpSp>
          <p:nvGrpSpPr>
            <p:cNvPr id="32" name="îśḷiḋè">
              <a:extLst>
                <a:ext uri="{FF2B5EF4-FFF2-40B4-BE49-F238E27FC236}">
                  <a16:creationId xmlns:a16="http://schemas.microsoft.com/office/drawing/2014/main" id="{E31DEDED-4198-4DB1-92BA-18B78ADB9176}"/>
                </a:ext>
              </a:extLst>
            </p:cNvPr>
            <p:cNvGrpSpPr/>
            <p:nvPr/>
          </p:nvGrpSpPr>
          <p:grpSpPr>
            <a:xfrm>
              <a:off x="8489335" y="3840709"/>
              <a:ext cx="3031153" cy="1111889"/>
              <a:chOff x="673100" y="1237334"/>
              <a:chExt cx="3228944" cy="1111889"/>
            </a:xfrm>
          </p:grpSpPr>
          <p:sp>
            <p:nvSpPr>
              <p:cNvPr id="45" name="ïśľíďé">
                <a:extLst>
                  <a:ext uri="{FF2B5EF4-FFF2-40B4-BE49-F238E27FC236}">
                    <a16:creationId xmlns:a16="http://schemas.microsoft.com/office/drawing/2014/main" id="{53B1DBD7-5E33-41A1-81E3-2EAF020CDBF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6" name="îṥ1ïde">
                <a:extLst>
                  <a:ext uri="{FF2B5EF4-FFF2-40B4-BE49-F238E27FC236}">
                    <a16:creationId xmlns:a16="http://schemas.microsoft.com/office/drawing/2014/main" id="{EE508A48-FD65-443B-93A7-85A1F284D391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3" name="ïṣlíďè">
              <a:extLst>
                <a:ext uri="{FF2B5EF4-FFF2-40B4-BE49-F238E27FC236}">
                  <a16:creationId xmlns:a16="http://schemas.microsoft.com/office/drawing/2014/main" id="{085FEB46-CD25-4F01-BA83-7A7A3BEC6201}"/>
                </a:ext>
              </a:extLst>
            </p:cNvPr>
            <p:cNvGrpSpPr/>
            <p:nvPr/>
          </p:nvGrpSpPr>
          <p:grpSpPr>
            <a:xfrm>
              <a:off x="8489335" y="2324502"/>
              <a:ext cx="3031153" cy="1111889"/>
              <a:chOff x="673100" y="1237334"/>
              <a:chExt cx="3228944" cy="1111889"/>
            </a:xfrm>
          </p:grpSpPr>
          <p:sp>
            <p:nvSpPr>
              <p:cNvPr id="43" name="ïṥļíḍe">
                <a:extLst>
                  <a:ext uri="{FF2B5EF4-FFF2-40B4-BE49-F238E27FC236}">
                    <a16:creationId xmlns:a16="http://schemas.microsoft.com/office/drawing/2014/main" id="{F9CE9980-9491-4CED-B502-FAC97023A0EA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4" name="îṧ1íḓé">
                <a:extLst>
                  <a:ext uri="{FF2B5EF4-FFF2-40B4-BE49-F238E27FC236}">
                    <a16:creationId xmlns:a16="http://schemas.microsoft.com/office/drawing/2014/main" id="{E3439777-0D6B-4E9A-AB08-7E165337E00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" name="iSḻíḑè">
              <a:extLst>
                <a:ext uri="{FF2B5EF4-FFF2-40B4-BE49-F238E27FC236}">
                  <a16:creationId xmlns:a16="http://schemas.microsoft.com/office/drawing/2014/main" id="{B657BD48-56ED-4FD7-9179-C773374DAAFE}"/>
                </a:ext>
              </a:extLst>
            </p:cNvPr>
            <p:cNvGrpSpPr/>
            <p:nvPr/>
          </p:nvGrpSpPr>
          <p:grpSpPr>
            <a:xfrm>
              <a:off x="673100" y="3840709"/>
              <a:ext cx="3031153" cy="1111889"/>
              <a:chOff x="673100" y="1237334"/>
              <a:chExt cx="3228944" cy="1111889"/>
            </a:xfrm>
          </p:grpSpPr>
          <p:sp>
            <p:nvSpPr>
              <p:cNvPr id="41" name="iṡlîďè">
                <a:extLst>
                  <a:ext uri="{FF2B5EF4-FFF2-40B4-BE49-F238E27FC236}">
                    <a16:creationId xmlns:a16="http://schemas.microsoft.com/office/drawing/2014/main" id="{31418F22-791D-42E4-B878-A8AC34F1BB91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2" name="íṩḻïďé">
                <a:extLst>
                  <a:ext uri="{FF2B5EF4-FFF2-40B4-BE49-F238E27FC236}">
                    <a16:creationId xmlns:a16="http://schemas.microsoft.com/office/drawing/2014/main" id="{C2778CB3-5B3A-4BF6-8899-D39160B971AE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5" name="î$ľíḍé">
              <a:extLst>
                <a:ext uri="{FF2B5EF4-FFF2-40B4-BE49-F238E27FC236}">
                  <a16:creationId xmlns:a16="http://schemas.microsoft.com/office/drawing/2014/main" id="{0051CACD-2D7B-445F-8CD4-3AA519F500BC}"/>
                </a:ext>
              </a:extLst>
            </p:cNvPr>
            <p:cNvGrpSpPr/>
            <p:nvPr/>
          </p:nvGrpSpPr>
          <p:grpSpPr>
            <a:xfrm>
              <a:off x="673100" y="2324502"/>
              <a:ext cx="3031153" cy="1111889"/>
              <a:chOff x="673100" y="1237334"/>
              <a:chExt cx="3228944" cy="1111889"/>
            </a:xfrm>
          </p:grpSpPr>
          <p:sp>
            <p:nvSpPr>
              <p:cNvPr id="39" name="ïṡḻiḓe">
                <a:extLst>
                  <a:ext uri="{FF2B5EF4-FFF2-40B4-BE49-F238E27FC236}">
                    <a16:creationId xmlns:a16="http://schemas.microsoft.com/office/drawing/2014/main" id="{C9ABED75-FFF5-49C9-AD86-75A677FB408C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0" name="î$ḷíḓê">
                <a:extLst>
                  <a:ext uri="{FF2B5EF4-FFF2-40B4-BE49-F238E27FC236}">
                    <a16:creationId xmlns:a16="http://schemas.microsoft.com/office/drawing/2014/main" id="{CD4B6DC7-B3B4-4657-892A-0B9288D772FA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36" name="iṩ1ïḍé">
              <a:extLst>
                <a:ext uri="{FF2B5EF4-FFF2-40B4-BE49-F238E27FC236}">
                  <a16:creationId xmlns:a16="http://schemas.microsoft.com/office/drawing/2014/main" id="{30728802-6304-4954-9505-C7A876DDEEC2}"/>
                </a:ext>
              </a:extLst>
            </p:cNvPr>
            <p:cNvCxnSpPr/>
            <p:nvPr/>
          </p:nvCxnSpPr>
          <p:spPr>
            <a:xfrm>
              <a:off x="669925" y="3580411"/>
              <a:ext cx="282230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iśļíďê">
              <a:extLst>
                <a:ext uri="{FF2B5EF4-FFF2-40B4-BE49-F238E27FC236}">
                  <a16:creationId xmlns:a16="http://schemas.microsoft.com/office/drawing/2014/main" id="{2D0A5CFA-1B5C-458F-8A45-2EF88B66FF99}"/>
                </a:ext>
              </a:extLst>
            </p:cNvPr>
            <p:cNvCxnSpPr/>
            <p:nvPr/>
          </p:nvCxnSpPr>
          <p:spPr>
            <a:xfrm>
              <a:off x="8696595" y="3580411"/>
              <a:ext cx="282230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iṧḷíḓé">
              <a:extLst>
                <a:ext uri="{FF2B5EF4-FFF2-40B4-BE49-F238E27FC236}">
                  <a16:creationId xmlns:a16="http://schemas.microsoft.com/office/drawing/2014/main" id="{7E053E34-AB74-4C8C-8088-1FD8C07B7612}"/>
                </a:ext>
              </a:extLst>
            </p:cNvPr>
            <p:cNvSpPr/>
            <p:nvPr/>
          </p:nvSpPr>
          <p:spPr bwMode="auto">
            <a:xfrm>
              <a:off x="5660806" y="3290053"/>
              <a:ext cx="857690" cy="684296"/>
            </a:xfrm>
            <a:custGeom>
              <a:avLst/>
              <a:gdLst>
                <a:gd name="connsiteX0" fmla="*/ 304307 w 608683"/>
                <a:gd name="connsiteY0" fmla="*/ 303502 h 485632"/>
                <a:gd name="connsiteX1" fmla="*/ 395478 w 608683"/>
                <a:gd name="connsiteY1" fmla="*/ 394567 h 485632"/>
                <a:gd name="connsiteX2" fmla="*/ 304307 w 608683"/>
                <a:gd name="connsiteY2" fmla="*/ 485632 h 485632"/>
                <a:gd name="connsiteX3" fmla="*/ 213136 w 608683"/>
                <a:gd name="connsiteY3" fmla="*/ 394567 h 485632"/>
                <a:gd name="connsiteX4" fmla="*/ 304307 w 608683"/>
                <a:gd name="connsiteY4" fmla="*/ 303502 h 485632"/>
                <a:gd name="connsiteX5" fmla="*/ 304342 w 608683"/>
                <a:gd name="connsiteY5" fmla="*/ 151786 h 485632"/>
                <a:gd name="connsiteX6" fmla="*/ 502318 w 608683"/>
                <a:gd name="connsiteY6" fmla="*/ 253545 h 485632"/>
                <a:gd name="connsiteX7" fmla="*/ 492919 w 608683"/>
                <a:gd name="connsiteY7" fmla="*/ 310012 h 485632"/>
                <a:gd name="connsiteX8" fmla="*/ 469346 w 608683"/>
                <a:gd name="connsiteY8" fmla="*/ 317610 h 485632"/>
                <a:gd name="connsiteX9" fmla="*/ 436375 w 608683"/>
                <a:gd name="connsiteY9" fmla="*/ 300625 h 485632"/>
                <a:gd name="connsiteX10" fmla="*/ 304342 w 608683"/>
                <a:gd name="connsiteY10" fmla="*/ 232687 h 485632"/>
                <a:gd name="connsiteX11" fmla="*/ 172309 w 608683"/>
                <a:gd name="connsiteY11" fmla="*/ 300625 h 485632"/>
                <a:gd name="connsiteX12" fmla="*/ 115766 w 608683"/>
                <a:gd name="connsiteY12" fmla="*/ 310012 h 485632"/>
                <a:gd name="connsiteX13" fmla="*/ 106367 w 608683"/>
                <a:gd name="connsiteY13" fmla="*/ 253545 h 485632"/>
                <a:gd name="connsiteX14" fmla="*/ 304342 w 608683"/>
                <a:gd name="connsiteY14" fmla="*/ 151786 h 485632"/>
                <a:gd name="connsiteX15" fmla="*/ 304342 w 608683"/>
                <a:gd name="connsiteY15" fmla="*/ 0 h 485632"/>
                <a:gd name="connsiteX16" fmla="*/ 598323 w 608683"/>
                <a:gd name="connsiteY16" fmla="*/ 130926 h 485632"/>
                <a:gd name="connsiteX17" fmla="*/ 595265 w 608683"/>
                <a:gd name="connsiteY17" fmla="*/ 188048 h 485632"/>
                <a:gd name="connsiteX18" fmla="*/ 538050 w 608683"/>
                <a:gd name="connsiteY18" fmla="*/ 184994 h 485632"/>
                <a:gd name="connsiteX19" fmla="*/ 304342 w 608683"/>
                <a:gd name="connsiteY19" fmla="*/ 80954 h 485632"/>
                <a:gd name="connsiteX20" fmla="*/ 70634 w 608683"/>
                <a:gd name="connsiteY20" fmla="*/ 184994 h 485632"/>
                <a:gd name="connsiteX21" fmla="*/ 40498 w 608683"/>
                <a:gd name="connsiteY21" fmla="*/ 198474 h 485632"/>
                <a:gd name="connsiteX22" fmla="*/ 13420 w 608683"/>
                <a:gd name="connsiteY22" fmla="*/ 188048 h 485632"/>
                <a:gd name="connsiteX23" fmla="*/ 10361 w 608683"/>
                <a:gd name="connsiteY23" fmla="*/ 130926 h 485632"/>
                <a:gd name="connsiteX24" fmla="*/ 304342 w 608683"/>
                <a:gd name="connsiteY24" fmla="*/ 0 h 48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08683" h="485632">
                  <a:moveTo>
                    <a:pt x="304307" y="303502"/>
                  </a:moveTo>
                  <a:cubicBezTo>
                    <a:pt x="354659" y="303502"/>
                    <a:pt x="395478" y="344273"/>
                    <a:pt x="395478" y="394567"/>
                  </a:cubicBezTo>
                  <a:cubicBezTo>
                    <a:pt x="395478" y="444861"/>
                    <a:pt x="354659" y="485632"/>
                    <a:pt x="304307" y="485632"/>
                  </a:cubicBezTo>
                  <a:cubicBezTo>
                    <a:pt x="253955" y="485632"/>
                    <a:pt x="213136" y="444861"/>
                    <a:pt x="213136" y="394567"/>
                  </a:cubicBezTo>
                  <a:cubicBezTo>
                    <a:pt x="213136" y="344273"/>
                    <a:pt x="253955" y="303502"/>
                    <a:pt x="304307" y="303502"/>
                  </a:cubicBezTo>
                  <a:close/>
                  <a:moveTo>
                    <a:pt x="304342" y="151786"/>
                  </a:moveTo>
                  <a:cubicBezTo>
                    <a:pt x="382667" y="151786"/>
                    <a:pt x="456740" y="189853"/>
                    <a:pt x="502318" y="253545"/>
                  </a:cubicBezTo>
                  <a:cubicBezTo>
                    <a:pt x="515297" y="271796"/>
                    <a:pt x="511120" y="297050"/>
                    <a:pt x="492919" y="310012"/>
                  </a:cubicBezTo>
                  <a:cubicBezTo>
                    <a:pt x="485757" y="315152"/>
                    <a:pt x="477552" y="317610"/>
                    <a:pt x="469346" y="317610"/>
                  </a:cubicBezTo>
                  <a:cubicBezTo>
                    <a:pt x="456740" y="317610"/>
                    <a:pt x="444283" y="311650"/>
                    <a:pt x="436375" y="300625"/>
                  </a:cubicBezTo>
                  <a:cubicBezTo>
                    <a:pt x="405941" y="258089"/>
                    <a:pt x="356559" y="232687"/>
                    <a:pt x="304342" y="232687"/>
                  </a:cubicBezTo>
                  <a:cubicBezTo>
                    <a:pt x="252125" y="232687"/>
                    <a:pt x="202744" y="258089"/>
                    <a:pt x="172309" y="300625"/>
                  </a:cubicBezTo>
                  <a:cubicBezTo>
                    <a:pt x="159329" y="318802"/>
                    <a:pt x="133967" y="323048"/>
                    <a:pt x="115766" y="310012"/>
                  </a:cubicBezTo>
                  <a:cubicBezTo>
                    <a:pt x="97564" y="297050"/>
                    <a:pt x="93387" y="271796"/>
                    <a:pt x="106367" y="253545"/>
                  </a:cubicBezTo>
                  <a:cubicBezTo>
                    <a:pt x="151944" y="189853"/>
                    <a:pt x="226017" y="151786"/>
                    <a:pt x="304342" y="151786"/>
                  </a:cubicBezTo>
                  <a:close/>
                  <a:moveTo>
                    <a:pt x="304342" y="0"/>
                  </a:moveTo>
                  <a:cubicBezTo>
                    <a:pt x="416310" y="0"/>
                    <a:pt x="523429" y="47738"/>
                    <a:pt x="598323" y="130926"/>
                  </a:cubicBezTo>
                  <a:cubicBezTo>
                    <a:pt x="613242" y="147534"/>
                    <a:pt x="611899" y="173153"/>
                    <a:pt x="595265" y="188048"/>
                  </a:cubicBezTo>
                  <a:cubicBezTo>
                    <a:pt x="578630" y="203017"/>
                    <a:pt x="552969" y="201602"/>
                    <a:pt x="538050" y="184994"/>
                  </a:cubicBezTo>
                  <a:cubicBezTo>
                    <a:pt x="478523" y="118861"/>
                    <a:pt x="393335" y="80954"/>
                    <a:pt x="304342" y="80954"/>
                  </a:cubicBezTo>
                  <a:cubicBezTo>
                    <a:pt x="215350" y="80954"/>
                    <a:pt x="130236" y="118861"/>
                    <a:pt x="70634" y="184994"/>
                  </a:cubicBezTo>
                  <a:cubicBezTo>
                    <a:pt x="62653" y="193931"/>
                    <a:pt x="51612" y="198400"/>
                    <a:pt x="40498" y="198474"/>
                  </a:cubicBezTo>
                  <a:cubicBezTo>
                    <a:pt x="30875" y="198474"/>
                    <a:pt x="21178" y="195048"/>
                    <a:pt x="13420" y="188048"/>
                  </a:cubicBezTo>
                  <a:cubicBezTo>
                    <a:pt x="-3215" y="173153"/>
                    <a:pt x="-4558" y="147534"/>
                    <a:pt x="10361" y="130926"/>
                  </a:cubicBezTo>
                  <a:cubicBezTo>
                    <a:pt x="85255" y="47738"/>
                    <a:pt x="192374" y="0"/>
                    <a:pt x="304342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5220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ḷ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ļiďê">
            <a:extLst>
              <a:ext uri="{FF2B5EF4-FFF2-40B4-BE49-F238E27FC236}">
                <a16:creationId xmlns:a16="http://schemas.microsoft.com/office/drawing/2014/main" id="{F9C3075D-0C62-4B64-822F-98090A9F8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Sḷïḓè">
            <a:extLst>
              <a:ext uri="{FF2B5EF4-FFF2-40B4-BE49-F238E27FC236}">
                <a16:creationId xmlns:a16="http://schemas.microsoft.com/office/drawing/2014/main" id="{0CC6FF0E-231D-40C3-B821-7EDE37A35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ṧḷïḍe">
            <a:extLst>
              <a:ext uri="{FF2B5EF4-FFF2-40B4-BE49-F238E27FC236}">
                <a16:creationId xmlns:a16="http://schemas.microsoft.com/office/drawing/2014/main" id="{655C3932-5781-491D-B146-FDC9CAEA1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8" name="iṥľïdê">
            <a:extLst>
              <a:ext uri="{FF2B5EF4-FFF2-40B4-BE49-F238E27FC236}">
                <a16:creationId xmlns:a16="http://schemas.microsoft.com/office/drawing/2014/main" id="{3579CB76-2CC0-4C80-A267-A7468921798C}"/>
              </a:ext>
            </a:extLst>
          </p:cNvPr>
          <p:cNvSpPr/>
          <p:nvPr/>
        </p:nvSpPr>
        <p:spPr>
          <a:xfrm>
            <a:off x="1550894" y="1733495"/>
            <a:ext cx="2616785" cy="2027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71" y="862"/>
                </a:moveTo>
                <a:lnTo>
                  <a:pt x="3355" y="857"/>
                </a:lnTo>
                <a:lnTo>
                  <a:pt x="3271" y="882"/>
                </a:lnTo>
                <a:lnTo>
                  <a:pt x="3183" y="953"/>
                </a:lnTo>
                <a:lnTo>
                  <a:pt x="3184" y="1042"/>
                </a:lnTo>
                <a:lnTo>
                  <a:pt x="3333" y="1224"/>
                </a:lnTo>
                <a:lnTo>
                  <a:pt x="3405" y="1341"/>
                </a:lnTo>
                <a:lnTo>
                  <a:pt x="3390" y="1464"/>
                </a:lnTo>
                <a:lnTo>
                  <a:pt x="3242" y="1537"/>
                </a:lnTo>
                <a:lnTo>
                  <a:pt x="3142" y="1593"/>
                </a:lnTo>
                <a:lnTo>
                  <a:pt x="3051" y="1629"/>
                </a:lnTo>
                <a:lnTo>
                  <a:pt x="2932" y="1629"/>
                </a:lnTo>
                <a:lnTo>
                  <a:pt x="2859" y="1585"/>
                </a:lnTo>
                <a:lnTo>
                  <a:pt x="2789" y="1563"/>
                </a:lnTo>
                <a:lnTo>
                  <a:pt x="2709" y="1563"/>
                </a:lnTo>
                <a:lnTo>
                  <a:pt x="2538" y="1534"/>
                </a:lnTo>
                <a:lnTo>
                  <a:pt x="2466" y="1563"/>
                </a:lnTo>
                <a:lnTo>
                  <a:pt x="2365" y="1607"/>
                </a:lnTo>
                <a:lnTo>
                  <a:pt x="2298" y="1641"/>
                </a:lnTo>
                <a:lnTo>
                  <a:pt x="2170" y="1699"/>
                </a:lnTo>
                <a:lnTo>
                  <a:pt x="2067" y="1750"/>
                </a:lnTo>
                <a:lnTo>
                  <a:pt x="1990" y="1821"/>
                </a:lnTo>
                <a:lnTo>
                  <a:pt x="1951" y="1874"/>
                </a:lnTo>
                <a:lnTo>
                  <a:pt x="1983" y="1939"/>
                </a:lnTo>
                <a:lnTo>
                  <a:pt x="2111" y="2002"/>
                </a:lnTo>
                <a:lnTo>
                  <a:pt x="2233" y="2014"/>
                </a:lnTo>
                <a:lnTo>
                  <a:pt x="2276" y="2084"/>
                </a:lnTo>
                <a:lnTo>
                  <a:pt x="2346" y="2091"/>
                </a:lnTo>
                <a:lnTo>
                  <a:pt x="2437" y="2062"/>
                </a:lnTo>
                <a:lnTo>
                  <a:pt x="2540" y="1999"/>
                </a:lnTo>
                <a:lnTo>
                  <a:pt x="2612" y="1957"/>
                </a:lnTo>
                <a:lnTo>
                  <a:pt x="2743" y="1921"/>
                </a:lnTo>
                <a:lnTo>
                  <a:pt x="2857" y="1964"/>
                </a:lnTo>
                <a:lnTo>
                  <a:pt x="2857" y="2077"/>
                </a:lnTo>
                <a:lnTo>
                  <a:pt x="2787" y="2146"/>
                </a:lnTo>
                <a:lnTo>
                  <a:pt x="2684" y="2233"/>
                </a:lnTo>
                <a:lnTo>
                  <a:pt x="2588" y="2379"/>
                </a:lnTo>
                <a:lnTo>
                  <a:pt x="2406" y="2517"/>
                </a:lnTo>
                <a:lnTo>
                  <a:pt x="2207" y="2539"/>
                </a:lnTo>
                <a:lnTo>
                  <a:pt x="1909" y="2568"/>
                </a:lnTo>
                <a:lnTo>
                  <a:pt x="1651" y="2627"/>
                </a:lnTo>
                <a:lnTo>
                  <a:pt x="1469" y="2721"/>
                </a:lnTo>
                <a:lnTo>
                  <a:pt x="1322" y="2843"/>
                </a:lnTo>
                <a:lnTo>
                  <a:pt x="1251" y="2882"/>
                </a:lnTo>
                <a:lnTo>
                  <a:pt x="1186" y="3000"/>
                </a:lnTo>
                <a:lnTo>
                  <a:pt x="1231" y="3090"/>
                </a:lnTo>
                <a:lnTo>
                  <a:pt x="1253" y="3243"/>
                </a:lnTo>
                <a:lnTo>
                  <a:pt x="1206" y="3386"/>
                </a:lnTo>
                <a:lnTo>
                  <a:pt x="1138" y="3503"/>
                </a:lnTo>
                <a:lnTo>
                  <a:pt x="1047" y="3568"/>
                </a:lnTo>
                <a:lnTo>
                  <a:pt x="990" y="3598"/>
                </a:lnTo>
                <a:lnTo>
                  <a:pt x="895" y="3671"/>
                </a:lnTo>
                <a:lnTo>
                  <a:pt x="846" y="3748"/>
                </a:lnTo>
                <a:lnTo>
                  <a:pt x="900" y="3817"/>
                </a:lnTo>
                <a:lnTo>
                  <a:pt x="1049" y="3874"/>
                </a:lnTo>
                <a:lnTo>
                  <a:pt x="1159" y="3952"/>
                </a:lnTo>
                <a:lnTo>
                  <a:pt x="1272" y="3905"/>
                </a:lnTo>
                <a:lnTo>
                  <a:pt x="1375" y="3811"/>
                </a:lnTo>
                <a:lnTo>
                  <a:pt x="1500" y="3789"/>
                </a:lnTo>
                <a:lnTo>
                  <a:pt x="1562" y="3898"/>
                </a:lnTo>
                <a:lnTo>
                  <a:pt x="1479" y="4034"/>
                </a:lnTo>
                <a:lnTo>
                  <a:pt x="1276" y="4180"/>
                </a:lnTo>
                <a:lnTo>
                  <a:pt x="967" y="4357"/>
                </a:lnTo>
                <a:lnTo>
                  <a:pt x="603" y="4579"/>
                </a:lnTo>
                <a:lnTo>
                  <a:pt x="227" y="4739"/>
                </a:lnTo>
                <a:lnTo>
                  <a:pt x="77" y="4776"/>
                </a:lnTo>
                <a:lnTo>
                  <a:pt x="0" y="4852"/>
                </a:lnTo>
                <a:lnTo>
                  <a:pt x="90" y="4896"/>
                </a:lnTo>
                <a:lnTo>
                  <a:pt x="253" y="4896"/>
                </a:lnTo>
                <a:lnTo>
                  <a:pt x="574" y="4762"/>
                </a:lnTo>
                <a:lnTo>
                  <a:pt x="1090" y="4512"/>
                </a:lnTo>
                <a:lnTo>
                  <a:pt x="1721" y="4146"/>
                </a:lnTo>
                <a:lnTo>
                  <a:pt x="1947" y="4061"/>
                </a:lnTo>
                <a:lnTo>
                  <a:pt x="2151" y="4010"/>
                </a:lnTo>
                <a:lnTo>
                  <a:pt x="2424" y="3876"/>
                </a:lnTo>
                <a:lnTo>
                  <a:pt x="2669" y="3694"/>
                </a:lnTo>
                <a:lnTo>
                  <a:pt x="2845" y="3589"/>
                </a:lnTo>
                <a:lnTo>
                  <a:pt x="3007" y="3485"/>
                </a:lnTo>
                <a:lnTo>
                  <a:pt x="3144" y="3448"/>
                </a:lnTo>
                <a:lnTo>
                  <a:pt x="3223" y="3477"/>
                </a:lnTo>
                <a:lnTo>
                  <a:pt x="3316" y="3526"/>
                </a:lnTo>
                <a:lnTo>
                  <a:pt x="3468" y="3467"/>
                </a:lnTo>
                <a:lnTo>
                  <a:pt x="3802" y="3365"/>
                </a:lnTo>
                <a:lnTo>
                  <a:pt x="3944" y="3233"/>
                </a:lnTo>
                <a:lnTo>
                  <a:pt x="4086" y="3138"/>
                </a:lnTo>
                <a:lnTo>
                  <a:pt x="4204" y="3181"/>
                </a:lnTo>
                <a:lnTo>
                  <a:pt x="4397" y="3244"/>
                </a:lnTo>
                <a:lnTo>
                  <a:pt x="4521" y="3281"/>
                </a:lnTo>
                <a:lnTo>
                  <a:pt x="4639" y="3339"/>
                </a:lnTo>
                <a:lnTo>
                  <a:pt x="4775" y="3368"/>
                </a:lnTo>
                <a:lnTo>
                  <a:pt x="4854" y="3425"/>
                </a:lnTo>
                <a:lnTo>
                  <a:pt x="5019" y="3462"/>
                </a:lnTo>
                <a:lnTo>
                  <a:pt x="5175" y="3517"/>
                </a:lnTo>
                <a:lnTo>
                  <a:pt x="5355" y="3539"/>
                </a:lnTo>
                <a:lnTo>
                  <a:pt x="5417" y="3626"/>
                </a:lnTo>
                <a:lnTo>
                  <a:pt x="5565" y="3719"/>
                </a:lnTo>
                <a:lnTo>
                  <a:pt x="5597" y="3852"/>
                </a:lnTo>
                <a:lnTo>
                  <a:pt x="5745" y="3981"/>
                </a:lnTo>
                <a:lnTo>
                  <a:pt x="5908" y="3981"/>
                </a:lnTo>
                <a:lnTo>
                  <a:pt x="6085" y="4147"/>
                </a:lnTo>
                <a:lnTo>
                  <a:pt x="6174" y="4375"/>
                </a:lnTo>
                <a:lnTo>
                  <a:pt x="6176" y="4532"/>
                </a:lnTo>
                <a:lnTo>
                  <a:pt x="6104" y="4646"/>
                </a:lnTo>
                <a:lnTo>
                  <a:pt x="6105" y="4760"/>
                </a:lnTo>
                <a:lnTo>
                  <a:pt x="6133" y="4859"/>
                </a:lnTo>
                <a:lnTo>
                  <a:pt x="6182" y="4992"/>
                </a:lnTo>
                <a:lnTo>
                  <a:pt x="6142" y="5132"/>
                </a:lnTo>
                <a:lnTo>
                  <a:pt x="6087" y="5256"/>
                </a:lnTo>
                <a:lnTo>
                  <a:pt x="6047" y="5423"/>
                </a:lnTo>
                <a:lnTo>
                  <a:pt x="5980" y="5547"/>
                </a:lnTo>
                <a:lnTo>
                  <a:pt x="5974" y="5648"/>
                </a:lnTo>
                <a:lnTo>
                  <a:pt x="5991" y="5729"/>
                </a:lnTo>
                <a:lnTo>
                  <a:pt x="6063" y="5807"/>
                </a:lnTo>
                <a:lnTo>
                  <a:pt x="6052" y="5953"/>
                </a:lnTo>
                <a:lnTo>
                  <a:pt x="5940" y="6067"/>
                </a:lnTo>
                <a:lnTo>
                  <a:pt x="5904" y="6154"/>
                </a:lnTo>
                <a:lnTo>
                  <a:pt x="5939" y="6241"/>
                </a:lnTo>
                <a:lnTo>
                  <a:pt x="6058" y="6365"/>
                </a:lnTo>
                <a:lnTo>
                  <a:pt x="6223" y="6556"/>
                </a:lnTo>
                <a:lnTo>
                  <a:pt x="6343" y="6699"/>
                </a:lnTo>
                <a:lnTo>
                  <a:pt x="6434" y="6845"/>
                </a:lnTo>
                <a:lnTo>
                  <a:pt x="6500" y="7107"/>
                </a:lnTo>
                <a:lnTo>
                  <a:pt x="6489" y="7297"/>
                </a:lnTo>
                <a:lnTo>
                  <a:pt x="6460" y="7435"/>
                </a:lnTo>
                <a:lnTo>
                  <a:pt x="6404" y="7536"/>
                </a:lnTo>
                <a:lnTo>
                  <a:pt x="6347" y="7646"/>
                </a:lnTo>
                <a:lnTo>
                  <a:pt x="6233" y="7774"/>
                </a:lnTo>
                <a:lnTo>
                  <a:pt x="6155" y="7825"/>
                </a:lnTo>
                <a:lnTo>
                  <a:pt x="6116" y="7774"/>
                </a:lnTo>
                <a:lnTo>
                  <a:pt x="6099" y="7686"/>
                </a:lnTo>
                <a:lnTo>
                  <a:pt x="6184" y="7556"/>
                </a:lnTo>
                <a:lnTo>
                  <a:pt x="6118" y="7534"/>
                </a:lnTo>
                <a:lnTo>
                  <a:pt x="5937" y="7519"/>
                </a:lnTo>
                <a:lnTo>
                  <a:pt x="5869" y="7534"/>
                </a:lnTo>
                <a:lnTo>
                  <a:pt x="5847" y="7626"/>
                </a:lnTo>
                <a:lnTo>
                  <a:pt x="5773" y="7891"/>
                </a:lnTo>
                <a:lnTo>
                  <a:pt x="5640" y="8226"/>
                </a:lnTo>
                <a:lnTo>
                  <a:pt x="5551" y="8409"/>
                </a:lnTo>
                <a:lnTo>
                  <a:pt x="5477" y="8496"/>
                </a:lnTo>
                <a:lnTo>
                  <a:pt x="5437" y="8605"/>
                </a:lnTo>
                <a:lnTo>
                  <a:pt x="5358" y="8684"/>
                </a:lnTo>
                <a:lnTo>
                  <a:pt x="5286" y="8789"/>
                </a:lnTo>
                <a:lnTo>
                  <a:pt x="5207" y="8896"/>
                </a:lnTo>
                <a:lnTo>
                  <a:pt x="5129" y="8983"/>
                </a:lnTo>
                <a:lnTo>
                  <a:pt x="5067" y="9121"/>
                </a:lnTo>
                <a:lnTo>
                  <a:pt x="4998" y="9301"/>
                </a:lnTo>
                <a:lnTo>
                  <a:pt x="4938" y="9544"/>
                </a:lnTo>
                <a:lnTo>
                  <a:pt x="4887" y="9705"/>
                </a:lnTo>
                <a:lnTo>
                  <a:pt x="4728" y="9947"/>
                </a:lnTo>
                <a:lnTo>
                  <a:pt x="4614" y="10032"/>
                </a:lnTo>
                <a:lnTo>
                  <a:pt x="4588" y="10124"/>
                </a:lnTo>
                <a:lnTo>
                  <a:pt x="4607" y="10221"/>
                </a:lnTo>
                <a:lnTo>
                  <a:pt x="4667" y="10298"/>
                </a:lnTo>
                <a:lnTo>
                  <a:pt x="4646" y="10400"/>
                </a:lnTo>
                <a:lnTo>
                  <a:pt x="4578" y="10466"/>
                </a:lnTo>
                <a:lnTo>
                  <a:pt x="4533" y="10596"/>
                </a:lnTo>
                <a:lnTo>
                  <a:pt x="4533" y="10730"/>
                </a:lnTo>
                <a:lnTo>
                  <a:pt x="4564" y="10866"/>
                </a:lnTo>
                <a:lnTo>
                  <a:pt x="4615" y="10975"/>
                </a:lnTo>
                <a:lnTo>
                  <a:pt x="4687" y="11050"/>
                </a:lnTo>
                <a:lnTo>
                  <a:pt x="4672" y="11124"/>
                </a:lnTo>
                <a:lnTo>
                  <a:pt x="4602" y="11167"/>
                </a:lnTo>
                <a:lnTo>
                  <a:pt x="4575" y="11232"/>
                </a:lnTo>
                <a:lnTo>
                  <a:pt x="4638" y="11310"/>
                </a:lnTo>
                <a:lnTo>
                  <a:pt x="4658" y="11489"/>
                </a:lnTo>
                <a:lnTo>
                  <a:pt x="4708" y="11732"/>
                </a:lnTo>
                <a:lnTo>
                  <a:pt x="4757" y="12031"/>
                </a:lnTo>
                <a:lnTo>
                  <a:pt x="4809" y="12198"/>
                </a:lnTo>
                <a:lnTo>
                  <a:pt x="4889" y="12242"/>
                </a:lnTo>
                <a:lnTo>
                  <a:pt x="4983" y="12307"/>
                </a:lnTo>
                <a:lnTo>
                  <a:pt x="5074" y="12365"/>
                </a:lnTo>
                <a:lnTo>
                  <a:pt x="5182" y="12551"/>
                </a:lnTo>
                <a:lnTo>
                  <a:pt x="5257" y="12784"/>
                </a:lnTo>
                <a:lnTo>
                  <a:pt x="5291" y="13051"/>
                </a:lnTo>
                <a:lnTo>
                  <a:pt x="5251" y="13252"/>
                </a:lnTo>
                <a:lnTo>
                  <a:pt x="5228" y="13427"/>
                </a:lnTo>
                <a:lnTo>
                  <a:pt x="5243" y="13556"/>
                </a:lnTo>
                <a:lnTo>
                  <a:pt x="5361" y="13731"/>
                </a:lnTo>
                <a:lnTo>
                  <a:pt x="5475" y="14018"/>
                </a:lnTo>
                <a:lnTo>
                  <a:pt x="5549" y="14237"/>
                </a:lnTo>
                <a:lnTo>
                  <a:pt x="5534" y="14380"/>
                </a:lnTo>
                <a:lnTo>
                  <a:pt x="5455" y="14489"/>
                </a:lnTo>
                <a:lnTo>
                  <a:pt x="5444" y="14620"/>
                </a:lnTo>
                <a:lnTo>
                  <a:pt x="5538" y="14705"/>
                </a:lnTo>
                <a:lnTo>
                  <a:pt x="5553" y="14790"/>
                </a:lnTo>
                <a:lnTo>
                  <a:pt x="5597" y="14873"/>
                </a:lnTo>
                <a:lnTo>
                  <a:pt x="5705" y="14957"/>
                </a:lnTo>
                <a:lnTo>
                  <a:pt x="5832" y="15137"/>
                </a:lnTo>
                <a:lnTo>
                  <a:pt x="5849" y="15280"/>
                </a:lnTo>
                <a:lnTo>
                  <a:pt x="5806" y="15409"/>
                </a:lnTo>
                <a:lnTo>
                  <a:pt x="5785" y="15479"/>
                </a:lnTo>
                <a:lnTo>
                  <a:pt x="5785" y="15568"/>
                </a:lnTo>
                <a:lnTo>
                  <a:pt x="5876" y="15690"/>
                </a:lnTo>
                <a:lnTo>
                  <a:pt x="5983" y="15842"/>
                </a:lnTo>
                <a:lnTo>
                  <a:pt x="6074" y="15973"/>
                </a:lnTo>
                <a:lnTo>
                  <a:pt x="6165" y="16095"/>
                </a:lnTo>
                <a:lnTo>
                  <a:pt x="6241" y="16141"/>
                </a:lnTo>
                <a:lnTo>
                  <a:pt x="6223" y="16045"/>
                </a:lnTo>
                <a:lnTo>
                  <a:pt x="6167" y="15916"/>
                </a:lnTo>
                <a:lnTo>
                  <a:pt x="6083" y="15746"/>
                </a:lnTo>
                <a:lnTo>
                  <a:pt x="6049" y="15645"/>
                </a:lnTo>
                <a:lnTo>
                  <a:pt x="6033" y="15535"/>
                </a:lnTo>
                <a:lnTo>
                  <a:pt x="6033" y="15389"/>
                </a:lnTo>
                <a:lnTo>
                  <a:pt x="6006" y="15260"/>
                </a:lnTo>
                <a:lnTo>
                  <a:pt x="5944" y="15173"/>
                </a:lnTo>
                <a:lnTo>
                  <a:pt x="5928" y="15052"/>
                </a:lnTo>
                <a:lnTo>
                  <a:pt x="5923" y="14877"/>
                </a:lnTo>
                <a:lnTo>
                  <a:pt x="5917" y="14782"/>
                </a:lnTo>
                <a:lnTo>
                  <a:pt x="5826" y="14534"/>
                </a:lnTo>
                <a:lnTo>
                  <a:pt x="5720" y="14254"/>
                </a:lnTo>
                <a:lnTo>
                  <a:pt x="5646" y="13909"/>
                </a:lnTo>
                <a:lnTo>
                  <a:pt x="5549" y="13654"/>
                </a:lnTo>
                <a:lnTo>
                  <a:pt x="5538" y="13489"/>
                </a:lnTo>
                <a:lnTo>
                  <a:pt x="5583" y="13314"/>
                </a:lnTo>
                <a:lnTo>
                  <a:pt x="5657" y="13214"/>
                </a:lnTo>
                <a:lnTo>
                  <a:pt x="5739" y="13178"/>
                </a:lnTo>
                <a:lnTo>
                  <a:pt x="5837" y="13204"/>
                </a:lnTo>
                <a:lnTo>
                  <a:pt x="6002" y="13298"/>
                </a:lnTo>
                <a:lnTo>
                  <a:pt x="6041" y="13466"/>
                </a:lnTo>
                <a:lnTo>
                  <a:pt x="6021" y="13669"/>
                </a:lnTo>
                <a:lnTo>
                  <a:pt x="6083" y="13842"/>
                </a:lnTo>
                <a:lnTo>
                  <a:pt x="6123" y="14044"/>
                </a:lnTo>
                <a:lnTo>
                  <a:pt x="6214" y="14248"/>
                </a:lnTo>
                <a:lnTo>
                  <a:pt x="6284" y="14430"/>
                </a:lnTo>
                <a:lnTo>
                  <a:pt x="6364" y="14595"/>
                </a:lnTo>
                <a:lnTo>
                  <a:pt x="6436" y="14724"/>
                </a:lnTo>
                <a:lnTo>
                  <a:pt x="6560" y="14862"/>
                </a:lnTo>
                <a:lnTo>
                  <a:pt x="6578" y="15043"/>
                </a:lnTo>
                <a:lnTo>
                  <a:pt x="6534" y="15102"/>
                </a:lnTo>
                <a:lnTo>
                  <a:pt x="6506" y="15225"/>
                </a:lnTo>
                <a:lnTo>
                  <a:pt x="6626" y="15313"/>
                </a:lnTo>
                <a:lnTo>
                  <a:pt x="6758" y="15490"/>
                </a:lnTo>
                <a:lnTo>
                  <a:pt x="6832" y="15660"/>
                </a:lnTo>
                <a:lnTo>
                  <a:pt x="6946" y="15755"/>
                </a:lnTo>
                <a:lnTo>
                  <a:pt x="7001" y="15932"/>
                </a:lnTo>
                <a:lnTo>
                  <a:pt x="7069" y="16078"/>
                </a:lnTo>
                <a:lnTo>
                  <a:pt x="7141" y="16216"/>
                </a:lnTo>
                <a:lnTo>
                  <a:pt x="7193" y="16447"/>
                </a:lnTo>
                <a:lnTo>
                  <a:pt x="7230" y="16668"/>
                </a:lnTo>
                <a:lnTo>
                  <a:pt x="7224" y="16870"/>
                </a:lnTo>
                <a:lnTo>
                  <a:pt x="7174" y="17029"/>
                </a:lnTo>
                <a:lnTo>
                  <a:pt x="7125" y="17173"/>
                </a:lnTo>
                <a:lnTo>
                  <a:pt x="7142" y="17291"/>
                </a:lnTo>
                <a:lnTo>
                  <a:pt x="7204" y="17363"/>
                </a:lnTo>
                <a:lnTo>
                  <a:pt x="7292" y="17443"/>
                </a:lnTo>
                <a:lnTo>
                  <a:pt x="7417" y="17611"/>
                </a:lnTo>
                <a:lnTo>
                  <a:pt x="7500" y="17756"/>
                </a:lnTo>
                <a:lnTo>
                  <a:pt x="7591" y="17820"/>
                </a:lnTo>
                <a:lnTo>
                  <a:pt x="7800" y="17893"/>
                </a:lnTo>
                <a:lnTo>
                  <a:pt x="7925" y="18009"/>
                </a:lnTo>
                <a:lnTo>
                  <a:pt x="8090" y="18111"/>
                </a:lnTo>
                <a:lnTo>
                  <a:pt x="8241" y="18220"/>
                </a:lnTo>
                <a:lnTo>
                  <a:pt x="8372" y="18315"/>
                </a:lnTo>
                <a:lnTo>
                  <a:pt x="8507" y="18400"/>
                </a:lnTo>
                <a:lnTo>
                  <a:pt x="8706" y="18516"/>
                </a:lnTo>
                <a:lnTo>
                  <a:pt x="8842" y="18596"/>
                </a:lnTo>
                <a:lnTo>
                  <a:pt x="8943" y="18660"/>
                </a:lnTo>
                <a:lnTo>
                  <a:pt x="9047" y="18713"/>
                </a:lnTo>
                <a:lnTo>
                  <a:pt x="9142" y="18769"/>
                </a:lnTo>
                <a:lnTo>
                  <a:pt x="9212" y="18725"/>
                </a:lnTo>
                <a:lnTo>
                  <a:pt x="9284" y="18698"/>
                </a:lnTo>
                <a:lnTo>
                  <a:pt x="9443" y="18618"/>
                </a:lnTo>
                <a:lnTo>
                  <a:pt x="9551" y="18567"/>
                </a:lnTo>
                <a:lnTo>
                  <a:pt x="9694" y="18567"/>
                </a:lnTo>
                <a:lnTo>
                  <a:pt x="9830" y="18670"/>
                </a:lnTo>
                <a:lnTo>
                  <a:pt x="10001" y="18799"/>
                </a:lnTo>
                <a:lnTo>
                  <a:pt x="10103" y="18897"/>
                </a:lnTo>
                <a:lnTo>
                  <a:pt x="10183" y="19065"/>
                </a:lnTo>
                <a:lnTo>
                  <a:pt x="10280" y="19194"/>
                </a:lnTo>
                <a:lnTo>
                  <a:pt x="10399" y="19279"/>
                </a:lnTo>
                <a:lnTo>
                  <a:pt x="10524" y="19345"/>
                </a:lnTo>
                <a:lnTo>
                  <a:pt x="10621" y="19420"/>
                </a:lnTo>
                <a:lnTo>
                  <a:pt x="10755" y="19493"/>
                </a:lnTo>
                <a:lnTo>
                  <a:pt x="10877" y="19578"/>
                </a:lnTo>
                <a:lnTo>
                  <a:pt x="11002" y="19607"/>
                </a:lnTo>
                <a:lnTo>
                  <a:pt x="11156" y="19612"/>
                </a:lnTo>
                <a:lnTo>
                  <a:pt x="11241" y="19532"/>
                </a:lnTo>
                <a:lnTo>
                  <a:pt x="11335" y="19547"/>
                </a:lnTo>
                <a:lnTo>
                  <a:pt x="11364" y="19707"/>
                </a:lnTo>
                <a:lnTo>
                  <a:pt x="11392" y="19855"/>
                </a:lnTo>
                <a:lnTo>
                  <a:pt x="11426" y="19991"/>
                </a:lnTo>
                <a:lnTo>
                  <a:pt x="11500" y="20114"/>
                </a:lnTo>
                <a:lnTo>
                  <a:pt x="11589" y="20243"/>
                </a:lnTo>
                <a:lnTo>
                  <a:pt x="11653" y="20382"/>
                </a:lnTo>
                <a:lnTo>
                  <a:pt x="11664" y="20506"/>
                </a:lnTo>
                <a:lnTo>
                  <a:pt x="11682" y="20676"/>
                </a:lnTo>
                <a:lnTo>
                  <a:pt x="11772" y="20819"/>
                </a:lnTo>
                <a:lnTo>
                  <a:pt x="11902" y="20848"/>
                </a:lnTo>
                <a:lnTo>
                  <a:pt x="12025" y="20953"/>
                </a:lnTo>
                <a:lnTo>
                  <a:pt x="12094" y="21084"/>
                </a:lnTo>
                <a:lnTo>
                  <a:pt x="12179" y="21177"/>
                </a:lnTo>
                <a:lnTo>
                  <a:pt x="12295" y="21296"/>
                </a:lnTo>
                <a:lnTo>
                  <a:pt x="12435" y="21310"/>
                </a:lnTo>
                <a:lnTo>
                  <a:pt x="12549" y="21391"/>
                </a:lnTo>
                <a:lnTo>
                  <a:pt x="12667" y="21461"/>
                </a:lnTo>
                <a:lnTo>
                  <a:pt x="12729" y="21510"/>
                </a:lnTo>
                <a:lnTo>
                  <a:pt x="12864" y="21571"/>
                </a:lnTo>
                <a:lnTo>
                  <a:pt x="12989" y="21600"/>
                </a:lnTo>
                <a:lnTo>
                  <a:pt x="13033" y="21529"/>
                </a:lnTo>
                <a:lnTo>
                  <a:pt x="12995" y="21406"/>
                </a:lnTo>
                <a:lnTo>
                  <a:pt x="13103" y="21304"/>
                </a:lnTo>
                <a:lnTo>
                  <a:pt x="13183" y="21223"/>
                </a:lnTo>
                <a:lnTo>
                  <a:pt x="13268" y="21158"/>
                </a:lnTo>
                <a:lnTo>
                  <a:pt x="13213" y="21056"/>
                </a:lnTo>
                <a:lnTo>
                  <a:pt x="13081" y="21093"/>
                </a:lnTo>
                <a:lnTo>
                  <a:pt x="12971" y="21149"/>
                </a:lnTo>
                <a:lnTo>
                  <a:pt x="12887" y="21241"/>
                </a:lnTo>
                <a:lnTo>
                  <a:pt x="12803" y="21285"/>
                </a:lnTo>
                <a:lnTo>
                  <a:pt x="12762" y="21202"/>
                </a:lnTo>
                <a:lnTo>
                  <a:pt x="12656" y="21154"/>
                </a:lnTo>
                <a:lnTo>
                  <a:pt x="12537" y="21095"/>
                </a:lnTo>
                <a:lnTo>
                  <a:pt x="12412" y="20986"/>
                </a:lnTo>
                <a:lnTo>
                  <a:pt x="12350" y="20797"/>
                </a:lnTo>
                <a:lnTo>
                  <a:pt x="12262" y="20656"/>
                </a:lnTo>
                <a:lnTo>
                  <a:pt x="12209" y="20570"/>
                </a:lnTo>
                <a:lnTo>
                  <a:pt x="12187" y="20410"/>
                </a:lnTo>
                <a:lnTo>
                  <a:pt x="12198" y="20249"/>
                </a:lnTo>
                <a:lnTo>
                  <a:pt x="12225" y="20028"/>
                </a:lnTo>
                <a:lnTo>
                  <a:pt x="12236" y="19853"/>
                </a:lnTo>
                <a:lnTo>
                  <a:pt x="12264" y="19692"/>
                </a:lnTo>
                <a:lnTo>
                  <a:pt x="12287" y="19534"/>
                </a:lnTo>
                <a:lnTo>
                  <a:pt x="12302" y="19376"/>
                </a:lnTo>
                <a:lnTo>
                  <a:pt x="12330" y="19230"/>
                </a:lnTo>
                <a:lnTo>
                  <a:pt x="12364" y="19073"/>
                </a:lnTo>
                <a:lnTo>
                  <a:pt x="12324" y="18924"/>
                </a:lnTo>
                <a:lnTo>
                  <a:pt x="12279" y="18783"/>
                </a:lnTo>
                <a:lnTo>
                  <a:pt x="12107" y="18728"/>
                </a:lnTo>
                <a:lnTo>
                  <a:pt x="11924" y="18714"/>
                </a:lnTo>
                <a:lnTo>
                  <a:pt x="11751" y="18714"/>
                </a:lnTo>
                <a:lnTo>
                  <a:pt x="11628" y="18765"/>
                </a:lnTo>
                <a:lnTo>
                  <a:pt x="11406" y="18816"/>
                </a:lnTo>
                <a:lnTo>
                  <a:pt x="11165" y="18816"/>
                </a:lnTo>
                <a:lnTo>
                  <a:pt x="11133" y="18658"/>
                </a:lnTo>
                <a:lnTo>
                  <a:pt x="11154" y="18467"/>
                </a:lnTo>
                <a:lnTo>
                  <a:pt x="11237" y="18145"/>
                </a:lnTo>
                <a:lnTo>
                  <a:pt x="11347" y="17912"/>
                </a:lnTo>
                <a:lnTo>
                  <a:pt x="11460" y="17663"/>
                </a:lnTo>
                <a:lnTo>
                  <a:pt x="11505" y="17483"/>
                </a:lnTo>
                <a:lnTo>
                  <a:pt x="11604" y="17196"/>
                </a:lnTo>
                <a:lnTo>
                  <a:pt x="11683" y="17024"/>
                </a:lnTo>
                <a:lnTo>
                  <a:pt x="11689" y="16887"/>
                </a:lnTo>
                <a:lnTo>
                  <a:pt x="11632" y="16817"/>
                </a:lnTo>
                <a:lnTo>
                  <a:pt x="11551" y="16802"/>
                </a:lnTo>
                <a:lnTo>
                  <a:pt x="11477" y="16780"/>
                </a:lnTo>
                <a:lnTo>
                  <a:pt x="11365" y="16780"/>
                </a:lnTo>
                <a:lnTo>
                  <a:pt x="11234" y="16802"/>
                </a:lnTo>
                <a:lnTo>
                  <a:pt x="11104" y="16839"/>
                </a:lnTo>
                <a:lnTo>
                  <a:pt x="11028" y="16887"/>
                </a:lnTo>
                <a:lnTo>
                  <a:pt x="10924" y="16956"/>
                </a:lnTo>
                <a:lnTo>
                  <a:pt x="10890" y="17029"/>
                </a:lnTo>
                <a:lnTo>
                  <a:pt x="10884" y="17157"/>
                </a:lnTo>
                <a:lnTo>
                  <a:pt x="10833" y="17347"/>
                </a:lnTo>
                <a:lnTo>
                  <a:pt x="10751" y="17509"/>
                </a:lnTo>
                <a:lnTo>
                  <a:pt x="10649" y="17596"/>
                </a:lnTo>
                <a:lnTo>
                  <a:pt x="10454" y="17759"/>
                </a:lnTo>
                <a:lnTo>
                  <a:pt x="10312" y="17818"/>
                </a:lnTo>
                <a:lnTo>
                  <a:pt x="10135" y="17898"/>
                </a:lnTo>
                <a:lnTo>
                  <a:pt x="9999" y="17898"/>
                </a:lnTo>
                <a:lnTo>
                  <a:pt x="9792" y="17879"/>
                </a:lnTo>
                <a:lnTo>
                  <a:pt x="9606" y="17831"/>
                </a:lnTo>
                <a:lnTo>
                  <a:pt x="9447" y="17654"/>
                </a:lnTo>
                <a:lnTo>
                  <a:pt x="9334" y="17487"/>
                </a:lnTo>
                <a:lnTo>
                  <a:pt x="9279" y="17285"/>
                </a:lnTo>
                <a:lnTo>
                  <a:pt x="9196" y="16914"/>
                </a:lnTo>
                <a:lnTo>
                  <a:pt x="9146" y="16624"/>
                </a:lnTo>
                <a:lnTo>
                  <a:pt x="9129" y="16345"/>
                </a:lnTo>
                <a:lnTo>
                  <a:pt x="9167" y="16032"/>
                </a:lnTo>
                <a:lnTo>
                  <a:pt x="9286" y="15655"/>
                </a:lnTo>
                <a:lnTo>
                  <a:pt x="9383" y="15401"/>
                </a:lnTo>
                <a:lnTo>
                  <a:pt x="9400" y="15183"/>
                </a:lnTo>
                <a:lnTo>
                  <a:pt x="9406" y="14977"/>
                </a:lnTo>
                <a:lnTo>
                  <a:pt x="9444" y="14790"/>
                </a:lnTo>
                <a:lnTo>
                  <a:pt x="9506" y="14595"/>
                </a:lnTo>
                <a:lnTo>
                  <a:pt x="9635" y="14457"/>
                </a:lnTo>
                <a:lnTo>
                  <a:pt x="9806" y="14284"/>
                </a:lnTo>
                <a:lnTo>
                  <a:pt x="10189" y="14050"/>
                </a:lnTo>
                <a:lnTo>
                  <a:pt x="10354" y="13911"/>
                </a:lnTo>
                <a:lnTo>
                  <a:pt x="10480" y="13836"/>
                </a:lnTo>
                <a:lnTo>
                  <a:pt x="10603" y="13720"/>
                </a:lnTo>
                <a:lnTo>
                  <a:pt x="10739" y="13684"/>
                </a:lnTo>
                <a:lnTo>
                  <a:pt x="10870" y="13684"/>
                </a:lnTo>
                <a:lnTo>
                  <a:pt x="10993" y="13742"/>
                </a:lnTo>
                <a:lnTo>
                  <a:pt x="11150" y="13886"/>
                </a:lnTo>
                <a:lnTo>
                  <a:pt x="11296" y="13993"/>
                </a:lnTo>
                <a:lnTo>
                  <a:pt x="11413" y="14043"/>
                </a:lnTo>
                <a:lnTo>
                  <a:pt x="11504" y="14043"/>
                </a:lnTo>
                <a:lnTo>
                  <a:pt x="11606" y="13970"/>
                </a:lnTo>
                <a:lnTo>
                  <a:pt x="11711" y="13735"/>
                </a:lnTo>
                <a:lnTo>
                  <a:pt x="11875" y="13611"/>
                </a:lnTo>
                <a:lnTo>
                  <a:pt x="12014" y="13548"/>
                </a:lnTo>
                <a:lnTo>
                  <a:pt x="12178" y="13504"/>
                </a:lnTo>
                <a:lnTo>
                  <a:pt x="12297" y="13548"/>
                </a:lnTo>
                <a:lnTo>
                  <a:pt x="12373" y="13646"/>
                </a:lnTo>
                <a:lnTo>
                  <a:pt x="12497" y="13704"/>
                </a:lnTo>
                <a:lnTo>
                  <a:pt x="12604" y="13781"/>
                </a:lnTo>
                <a:lnTo>
                  <a:pt x="12701" y="13812"/>
                </a:lnTo>
                <a:lnTo>
                  <a:pt x="12778" y="13740"/>
                </a:lnTo>
                <a:lnTo>
                  <a:pt x="12875" y="13710"/>
                </a:lnTo>
                <a:lnTo>
                  <a:pt x="12998" y="13746"/>
                </a:lnTo>
                <a:lnTo>
                  <a:pt x="13081" y="13890"/>
                </a:lnTo>
                <a:lnTo>
                  <a:pt x="13168" y="13996"/>
                </a:lnTo>
                <a:lnTo>
                  <a:pt x="13228" y="14124"/>
                </a:lnTo>
                <a:lnTo>
                  <a:pt x="13245" y="14260"/>
                </a:lnTo>
                <a:lnTo>
                  <a:pt x="13188" y="14382"/>
                </a:lnTo>
                <a:lnTo>
                  <a:pt x="13150" y="14515"/>
                </a:lnTo>
                <a:lnTo>
                  <a:pt x="13150" y="14661"/>
                </a:lnTo>
                <a:lnTo>
                  <a:pt x="13213" y="14744"/>
                </a:lnTo>
                <a:lnTo>
                  <a:pt x="13265" y="14853"/>
                </a:lnTo>
                <a:lnTo>
                  <a:pt x="13283" y="15108"/>
                </a:lnTo>
                <a:lnTo>
                  <a:pt x="13334" y="15290"/>
                </a:lnTo>
                <a:lnTo>
                  <a:pt x="13452" y="15424"/>
                </a:lnTo>
                <a:lnTo>
                  <a:pt x="13548" y="15365"/>
                </a:lnTo>
                <a:lnTo>
                  <a:pt x="13603" y="15222"/>
                </a:lnTo>
                <a:lnTo>
                  <a:pt x="13654" y="15037"/>
                </a:lnTo>
                <a:lnTo>
                  <a:pt x="13654" y="14814"/>
                </a:lnTo>
                <a:lnTo>
                  <a:pt x="13681" y="14602"/>
                </a:lnTo>
                <a:lnTo>
                  <a:pt x="13650" y="14293"/>
                </a:lnTo>
                <a:lnTo>
                  <a:pt x="13616" y="14170"/>
                </a:lnTo>
                <a:lnTo>
                  <a:pt x="13599" y="13973"/>
                </a:lnTo>
                <a:lnTo>
                  <a:pt x="13582" y="13688"/>
                </a:lnTo>
                <a:lnTo>
                  <a:pt x="13593" y="13506"/>
                </a:lnTo>
                <a:lnTo>
                  <a:pt x="13658" y="13353"/>
                </a:lnTo>
                <a:lnTo>
                  <a:pt x="13728" y="13200"/>
                </a:lnTo>
                <a:lnTo>
                  <a:pt x="13825" y="13091"/>
                </a:lnTo>
                <a:lnTo>
                  <a:pt x="13927" y="12967"/>
                </a:lnTo>
                <a:lnTo>
                  <a:pt x="14218" y="12701"/>
                </a:lnTo>
                <a:lnTo>
                  <a:pt x="14326" y="12563"/>
                </a:lnTo>
                <a:lnTo>
                  <a:pt x="14453" y="12468"/>
                </a:lnTo>
                <a:lnTo>
                  <a:pt x="14577" y="12404"/>
                </a:lnTo>
                <a:lnTo>
                  <a:pt x="14723" y="12341"/>
                </a:lnTo>
                <a:lnTo>
                  <a:pt x="14852" y="12246"/>
                </a:lnTo>
                <a:lnTo>
                  <a:pt x="14935" y="12127"/>
                </a:lnTo>
                <a:lnTo>
                  <a:pt x="15055" y="12032"/>
                </a:lnTo>
                <a:lnTo>
                  <a:pt x="15152" y="11945"/>
                </a:lnTo>
                <a:lnTo>
                  <a:pt x="15263" y="11753"/>
                </a:lnTo>
                <a:lnTo>
                  <a:pt x="15280" y="11595"/>
                </a:lnTo>
                <a:lnTo>
                  <a:pt x="15303" y="11434"/>
                </a:lnTo>
                <a:lnTo>
                  <a:pt x="15281" y="11276"/>
                </a:lnTo>
                <a:lnTo>
                  <a:pt x="15281" y="11116"/>
                </a:lnTo>
                <a:lnTo>
                  <a:pt x="15303" y="10934"/>
                </a:lnTo>
                <a:lnTo>
                  <a:pt x="15389" y="10761"/>
                </a:lnTo>
                <a:lnTo>
                  <a:pt x="15482" y="10761"/>
                </a:lnTo>
                <a:lnTo>
                  <a:pt x="15499" y="10880"/>
                </a:lnTo>
                <a:lnTo>
                  <a:pt x="15546" y="11021"/>
                </a:lnTo>
                <a:lnTo>
                  <a:pt x="15614" y="10967"/>
                </a:lnTo>
                <a:lnTo>
                  <a:pt x="15535" y="10727"/>
                </a:lnTo>
                <a:lnTo>
                  <a:pt x="15650" y="10569"/>
                </a:lnTo>
                <a:lnTo>
                  <a:pt x="15762" y="10432"/>
                </a:lnTo>
                <a:lnTo>
                  <a:pt x="16024" y="10381"/>
                </a:lnTo>
                <a:lnTo>
                  <a:pt x="16117" y="10289"/>
                </a:lnTo>
                <a:lnTo>
                  <a:pt x="16183" y="10120"/>
                </a:lnTo>
                <a:lnTo>
                  <a:pt x="16253" y="10035"/>
                </a:lnTo>
                <a:lnTo>
                  <a:pt x="16440" y="9841"/>
                </a:lnTo>
                <a:lnTo>
                  <a:pt x="16600" y="9797"/>
                </a:lnTo>
                <a:lnTo>
                  <a:pt x="16827" y="9761"/>
                </a:lnTo>
                <a:lnTo>
                  <a:pt x="16975" y="9680"/>
                </a:lnTo>
                <a:lnTo>
                  <a:pt x="17100" y="9613"/>
                </a:lnTo>
                <a:lnTo>
                  <a:pt x="17191" y="9547"/>
                </a:lnTo>
                <a:lnTo>
                  <a:pt x="17242" y="9250"/>
                </a:lnTo>
                <a:lnTo>
                  <a:pt x="17356" y="9134"/>
                </a:lnTo>
                <a:lnTo>
                  <a:pt x="17482" y="9045"/>
                </a:lnTo>
                <a:lnTo>
                  <a:pt x="17579" y="8965"/>
                </a:lnTo>
                <a:lnTo>
                  <a:pt x="17788" y="8827"/>
                </a:lnTo>
                <a:lnTo>
                  <a:pt x="17966" y="8684"/>
                </a:lnTo>
                <a:lnTo>
                  <a:pt x="18192" y="8613"/>
                </a:lnTo>
                <a:lnTo>
                  <a:pt x="18339" y="8516"/>
                </a:lnTo>
                <a:lnTo>
                  <a:pt x="18489" y="8428"/>
                </a:lnTo>
                <a:lnTo>
                  <a:pt x="18633" y="8365"/>
                </a:lnTo>
                <a:lnTo>
                  <a:pt x="18762" y="8309"/>
                </a:lnTo>
                <a:lnTo>
                  <a:pt x="18913" y="8309"/>
                </a:lnTo>
                <a:lnTo>
                  <a:pt x="19010" y="8350"/>
                </a:lnTo>
                <a:lnTo>
                  <a:pt x="19016" y="8472"/>
                </a:lnTo>
                <a:lnTo>
                  <a:pt x="18873" y="8513"/>
                </a:lnTo>
                <a:lnTo>
                  <a:pt x="18706" y="8635"/>
                </a:lnTo>
                <a:lnTo>
                  <a:pt x="18595" y="8691"/>
                </a:lnTo>
                <a:lnTo>
                  <a:pt x="18495" y="8751"/>
                </a:lnTo>
                <a:lnTo>
                  <a:pt x="18450" y="8839"/>
                </a:lnTo>
                <a:lnTo>
                  <a:pt x="18511" y="8931"/>
                </a:lnTo>
                <a:lnTo>
                  <a:pt x="18611" y="8931"/>
                </a:lnTo>
                <a:lnTo>
                  <a:pt x="18791" y="8827"/>
                </a:lnTo>
                <a:lnTo>
                  <a:pt x="18930" y="8727"/>
                </a:lnTo>
                <a:lnTo>
                  <a:pt x="19074" y="8650"/>
                </a:lnTo>
                <a:lnTo>
                  <a:pt x="19244" y="8635"/>
                </a:lnTo>
                <a:cubicBezTo>
                  <a:pt x="19290" y="8619"/>
                  <a:pt x="19335" y="8600"/>
                  <a:pt x="19379" y="8579"/>
                </a:cubicBezTo>
                <a:cubicBezTo>
                  <a:pt x="19434" y="8553"/>
                  <a:pt x="19488" y="8523"/>
                  <a:pt x="19541" y="8489"/>
                </a:cubicBezTo>
                <a:lnTo>
                  <a:pt x="19653" y="8409"/>
                </a:lnTo>
                <a:lnTo>
                  <a:pt x="19869" y="8294"/>
                </a:lnTo>
                <a:lnTo>
                  <a:pt x="19833" y="8195"/>
                </a:lnTo>
                <a:lnTo>
                  <a:pt x="19698" y="8202"/>
                </a:lnTo>
                <a:lnTo>
                  <a:pt x="19554" y="8292"/>
                </a:lnTo>
                <a:lnTo>
                  <a:pt x="19488" y="8314"/>
                </a:lnTo>
                <a:lnTo>
                  <a:pt x="19341" y="8314"/>
                </a:lnTo>
                <a:lnTo>
                  <a:pt x="19174" y="8207"/>
                </a:lnTo>
                <a:lnTo>
                  <a:pt x="18993" y="8112"/>
                </a:lnTo>
                <a:lnTo>
                  <a:pt x="18933" y="7978"/>
                </a:lnTo>
                <a:lnTo>
                  <a:pt x="18938" y="7840"/>
                </a:lnTo>
                <a:lnTo>
                  <a:pt x="18944" y="7690"/>
                </a:lnTo>
                <a:lnTo>
                  <a:pt x="19006" y="7610"/>
                </a:lnTo>
                <a:lnTo>
                  <a:pt x="19140" y="7428"/>
                </a:lnTo>
                <a:lnTo>
                  <a:pt x="19187" y="7345"/>
                </a:lnTo>
                <a:lnTo>
                  <a:pt x="19237" y="7180"/>
                </a:lnTo>
                <a:lnTo>
                  <a:pt x="19106" y="7144"/>
                </a:lnTo>
                <a:lnTo>
                  <a:pt x="18892" y="7163"/>
                </a:lnTo>
                <a:lnTo>
                  <a:pt x="18659" y="7228"/>
                </a:lnTo>
                <a:lnTo>
                  <a:pt x="18407" y="7344"/>
                </a:lnTo>
                <a:lnTo>
                  <a:pt x="18286" y="7459"/>
                </a:lnTo>
                <a:lnTo>
                  <a:pt x="18115" y="7495"/>
                </a:lnTo>
                <a:lnTo>
                  <a:pt x="18053" y="7522"/>
                </a:lnTo>
                <a:lnTo>
                  <a:pt x="17997" y="7406"/>
                </a:lnTo>
                <a:lnTo>
                  <a:pt x="18048" y="7304"/>
                </a:lnTo>
                <a:lnTo>
                  <a:pt x="18150" y="7238"/>
                </a:lnTo>
                <a:lnTo>
                  <a:pt x="18577" y="7007"/>
                </a:lnTo>
                <a:lnTo>
                  <a:pt x="18765" y="6862"/>
                </a:lnTo>
                <a:cubicBezTo>
                  <a:pt x="18809" y="6831"/>
                  <a:pt x="18854" y="6805"/>
                  <a:pt x="18901" y="6781"/>
                </a:cubicBezTo>
                <a:cubicBezTo>
                  <a:pt x="18965" y="6749"/>
                  <a:pt x="19031" y="6724"/>
                  <a:pt x="19098" y="6706"/>
                </a:cubicBezTo>
                <a:lnTo>
                  <a:pt x="19233" y="6665"/>
                </a:lnTo>
                <a:lnTo>
                  <a:pt x="19413" y="6636"/>
                </a:lnTo>
                <a:lnTo>
                  <a:pt x="19652" y="6658"/>
                </a:lnTo>
                <a:lnTo>
                  <a:pt x="19921" y="6687"/>
                </a:lnTo>
                <a:lnTo>
                  <a:pt x="20075" y="6660"/>
                </a:lnTo>
                <a:lnTo>
                  <a:pt x="20242" y="6618"/>
                </a:lnTo>
                <a:lnTo>
                  <a:pt x="20490" y="6615"/>
                </a:lnTo>
                <a:lnTo>
                  <a:pt x="20803" y="6477"/>
                </a:lnTo>
                <a:lnTo>
                  <a:pt x="20930" y="6409"/>
                </a:lnTo>
                <a:cubicBezTo>
                  <a:pt x="20988" y="6390"/>
                  <a:pt x="21045" y="6366"/>
                  <a:pt x="21099" y="6336"/>
                </a:cubicBezTo>
                <a:cubicBezTo>
                  <a:pt x="21140" y="6313"/>
                  <a:pt x="21179" y="6288"/>
                  <a:pt x="21217" y="6260"/>
                </a:cubicBezTo>
                <a:lnTo>
                  <a:pt x="21276" y="6209"/>
                </a:lnTo>
                <a:lnTo>
                  <a:pt x="21373" y="6131"/>
                </a:lnTo>
                <a:cubicBezTo>
                  <a:pt x="21397" y="6115"/>
                  <a:pt x="21420" y="6096"/>
                  <a:pt x="21441" y="6073"/>
                </a:cubicBezTo>
                <a:cubicBezTo>
                  <a:pt x="21471" y="6042"/>
                  <a:pt x="21497" y="6005"/>
                  <a:pt x="21518" y="5964"/>
                </a:cubicBezTo>
                <a:lnTo>
                  <a:pt x="21583" y="5842"/>
                </a:lnTo>
                <a:lnTo>
                  <a:pt x="21600" y="5716"/>
                </a:lnTo>
                <a:lnTo>
                  <a:pt x="21594" y="5645"/>
                </a:lnTo>
                <a:lnTo>
                  <a:pt x="21471" y="5526"/>
                </a:lnTo>
                <a:lnTo>
                  <a:pt x="21403" y="5467"/>
                </a:lnTo>
                <a:lnTo>
                  <a:pt x="21327" y="5446"/>
                </a:lnTo>
                <a:lnTo>
                  <a:pt x="21196" y="5446"/>
                </a:lnTo>
                <a:lnTo>
                  <a:pt x="21091" y="5453"/>
                </a:lnTo>
                <a:lnTo>
                  <a:pt x="20995" y="5547"/>
                </a:lnTo>
                <a:lnTo>
                  <a:pt x="20900" y="5567"/>
                </a:lnTo>
                <a:lnTo>
                  <a:pt x="20828" y="5523"/>
                </a:lnTo>
                <a:lnTo>
                  <a:pt x="20828" y="5416"/>
                </a:lnTo>
                <a:cubicBezTo>
                  <a:pt x="20860" y="5376"/>
                  <a:pt x="20896" y="5339"/>
                  <a:pt x="20934" y="5307"/>
                </a:cubicBezTo>
                <a:cubicBezTo>
                  <a:pt x="20959" y="5286"/>
                  <a:pt x="20985" y="5266"/>
                  <a:pt x="21011" y="5249"/>
                </a:cubicBezTo>
                <a:lnTo>
                  <a:pt x="20920" y="5120"/>
                </a:lnTo>
                <a:lnTo>
                  <a:pt x="20871" y="4942"/>
                </a:lnTo>
                <a:lnTo>
                  <a:pt x="20814" y="4814"/>
                </a:lnTo>
                <a:lnTo>
                  <a:pt x="20734" y="4712"/>
                </a:lnTo>
                <a:lnTo>
                  <a:pt x="20746" y="4563"/>
                </a:lnTo>
                <a:lnTo>
                  <a:pt x="20846" y="4476"/>
                </a:lnTo>
                <a:lnTo>
                  <a:pt x="20856" y="4345"/>
                </a:lnTo>
                <a:lnTo>
                  <a:pt x="20833" y="4183"/>
                </a:lnTo>
                <a:lnTo>
                  <a:pt x="20762" y="4113"/>
                </a:lnTo>
                <a:lnTo>
                  <a:pt x="20722" y="4001"/>
                </a:lnTo>
                <a:cubicBezTo>
                  <a:pt x="20752" y="3980"/>
                  <a:pt x="20776" y="3947"/>
                  <a:pt x="20790" y="3907"/>
                </a:cubicBezTo>
                <a:cubicBezTo>
                  <a:pt x="20808" y="3857"/>
                  <a:pt x="20810" y="3800"/>
                  <a:pt x="20796" y="3749"/>
                </a:cubicBezTo>
                <a:lnTo>
                  <a:pt x="20745" y="3647"/>
                </a:lnTo>
                <a:lnTo>
                  <a:pt x="20720" y="3537"/>
                </a:lnTo>
                <a:lnTo>
                  <a:pt x="20625" y="3493"/>
                </a:lnTo>
                <a:lnTo>
                  <a:pt x="20528" y="3632"/>
                </a:lnTo>
                <a:lnTo>
                  <a:pt x="20392" y="3756"/>
                </a:lnTo>
                <a:lnTo>
                  <a:pt x="20250" y="3892"/>
                </a:lnTo>
                <a:lnTo>
                  <a:pt x="20115" y="4018"/>
                </a:lnTo>
                <a:lnTo>
                  <a:pt x="19946" y="4098"/>
                </a:lnTo>
                <a:lnTo>
                  <a:pt x="19822" y="4091"/>
                </a:lnTo>
                <a:lnTo>
                  <a:pt x="19744" y="4074"/>
                </a:lnTo>
                <a:lnTo>
                  <a:pt x="19649" y="3952"/>
                </a:lnTo>
                <a:lnTo>
                  <a:pt x="19564" y="3858"/>
                </a:lnTo>
                <a:lnTo>
                  <a:pt x="19617" y="3705"/>
                </a:lnTo>
                <a:lnTo>
                  <a:pt x="19691" y="3562"/>
                </a:lnTo>
                <a:lnTo>
                  <a:pt x="19670" y="3362"/>
                </a:lnTo>
                <a:lnTo>
                  <a:pt x="19615" y="3265"/>
                </a:lnTo>
                <a:lnTo>
                  <a:pt x="19484" y="3118"/>
                </a:lnTo>
                <a:lnTo>
                  <a:pt x="19382" y="3053"/>
                </a:lnTo>
                <a:lnTo>
                  <a:pt x="19268" y="2958"/>
                </a:lnTo>
                <a:lnTo>
                  <a:pt x="19145" y="2912"/>
                </a:lnTo>
                <a:lnTo>
                  <a:pt x="19014" y="2919"/>
                </a:lnTo>
                <a:lnTo>
                  <a:pt x="18924" y="2834"/>
                </a:lnTo>
                <a:lnTo>
                  <a:pt x="18793" y="2819"/>
                </a:lnTo>
                <a:lnTo>
                  <a:pt x="18658" y="2819"/>
                </a:lnTo>
                <a:lnTo>
                  <a:pt x="18524" y="2863"/>
                </a:lnTo>
                <a:lnTo>
                  <a:pt x="18416" y="2934"/>
                </a:lnTo>
                <a:lnTo>
                  <a:pt x="18334" y="2997"/>
                </a:lnTo>
                <a:lnTo>
                  <a:pt x="18277" y="3133"/>
                </a:lnTo>
                <a:lnTo>
                  <a:pt x="18228" y="3344"/>
                </a:lnTo>
                <a:lnTo>
                  <a:pt x="18114" y="3556"/>
                </a:lnTo>
                <a:lnTo>
                  <a:pt x="18057" y="3665"/>
                </a:lnTo>
                <a:lnTo>
                  <a:pt x="17966" y="3765"/>
                </a:lnTo>
                <a:lnTo>
                  <a:pt x="17864" y="3806"/>
                </a:lnTo>
                <a:lnTo>
                  <a:pt x="17813" y="3908"/>
                </a:lnTo>
                <a:lnTo>
                  <a:pt x="17790" y="3988"/>
                </a:lnTo>
                <a:lnTo>
                  <a:pt x="17790" y="4105"/>
                </a:lnTo>
                <a:lnTo>
                  <a:pt x="17807" y="4220"/>
                </a:lnTo>
                <a:lnTo>
                  <a:pt x="17813" y="4330"/>
                </a:lnTo>
                <a:lnTo>
                  <a:pt x="17807" y="4419"/>
                </a:lnTo>
                <a:lnTo>
                  <a:pt x="17727" y="4570"/>
                </a:lnTo>
                <a:lnTo>
                  <a:pt x="17608" y="4723"/>
                </a:lnTo>
                <a:lnTo>
                  <a:pt x="17570" y="4807"/>
                </a:lnTo>
                <a:lnTo>
                  <a:pt x="17479" y="4941"/>
                </a:lnTo>
                <a:lnTo>
                  <a:pt x="17394" y="5028"/>
                </a:lnTo>
                <a:lnTo>
                  <a:pt x="17345" y="5072"/>
                </a:lnTo>
                <a:lnTo>
                  <a:pt x="17172" y="5175"/>
                </a:lnTo>
                <a:lnTo>
                  <a:pt x="17093" y="5197"/>
                </a:lnTo>
                <a:lnTo>
                  <a:pt x="16951" y="5269"/>
                </a:lnTo>
                <a:lnTo>
                  <a:pt x="16873" y="5378"/>
                </a:lnTo>
                <a:lnTo>
                  <a:pt x="16811" y="5487"/>
                </a:lnTo>
                <a:lnTo>
                  <a:pt x="16771" y="5592"/>
                </a:lnTo>
                <a:lnTo>
                  <a:pt x="16743" y="5750"/>
                </a:lnTo>
                <a:lnTo>
                  <a:pt x="16726" y="5871"/>
                </a:lnTo>
                <a:lnTo>
                  <a:pt x="16709" y="5944"/>
                </a:lnTo>
                <a:lnTo>
                  <a:pt x="16652" y="6076"/>
                </a:lnTo>
                <a:lnTo>
                  <a:pt x="16601" y="6191"/>
                </a:lnTo>
                <a:lnTo>
                  <a:pt x="16482" y="6279"/>
                </a:lnTo>
                <a:lnTo>
                  <a:pt x="16345" y="6351"/>
                </a:lnTo>
                <a:lnTo>
                  <a:pt x="16220" y="6410"/>
                </a:lnTo>
                <a:lnTo>
                  <a:pt x="16108" y="6417"/>
                </a:lnTo>
                <a:lnTo>
                  <a:pt x="16026" y="6249"/>
                </a:lnTo>
                <a:lnTo>
                  <a:pt x="15965" y="6129"/>
                </a:lnTo>
                <a:lnTo>
                  <a:pt x="15948" y="6014"/>
                </a:lnTo>
                <a:lnTo>
                  <a:pt x="15982" y="5833"/>
                </a:lnTo>
                <a:lnTo>
                  <a:pt x="16056" y="5667"/>
                </a:lnTo>
                <a:lnTo>
                  <a:pt x="16079" y="5551"/>
                </a:lnTo>
                <a:lnTo>
                  <a:pt x="16130" y="5398"/>
                </a:lnTo>
                <a:lnTo>
                  <a:pt x="16168" y="5299"/>
                </a:lnTo>
                <a:lnTo>
                  <a:pt x="16158" y="5212"/>
                </a:lnTo>
                <a:lnTo>
                  <a:pt x="16120" y="5149"/>
                </a:lnTo>
                <a:lnTo>
                  <a:pt x="16044" y="5134"/>
                </a:lnTo>
                <a:lnTo>
                  <a:pt x="15842" y="5066"/>
                </a:lnTo>
                <a:lnTo>
                  <a:pt x="15649" y="5016"/>
                </a:lnTo>
                <a:lnTo>
                  <a:pt x="15519" y="4899"/>
                </a:lnTo>
                <a:lnTo>
                  <a:pt x="15428" y="4807"/>
                </a:lnTo>
                <a:lnTo>
                  <a:pt x="15295" y="4703"/>
                </a:lnTo>
                <a:lnTo>
                  <a:pt x="15101" y="4615"/>
                </a:lnTo>
                <a:lnTo>
                  <a:pt x="15030" y="4608"/>
                </a:lnTo>
                <a:lnTo>
                  <a:pt x="14853" y="4596"/>
                </a:lnTo>
                <a:lnTo>
                  <a:pt x="14711" y="4533"/>
                </a:lnTo>
                <a:lnTo>
                  <a:pt x="14656" y="4441"/>
                </a:lnTo>
                <a:lnTo>
                  <a:pt x="14613" y="4335"/>
                </a:lnTo>
                <a:lnTo>
                  <a:pt x="14581" y="4174"/>
                </a:lnTo>
                <a:lnTo>
                  <a:pt x="14534" y="4070"/>
                </a:lnTo>
                <a:lnTo>
                  <a:pt x="14451" y="4048"/>
                </a:lnTo>
                <a:lnTo>
                  <a:pt x="14384" y="3982"/>
                </a:lnTo>
                <a:lnTo>
                  <a:pt x="14380" y="3875"/>
                </a:lnTo>
                <a:lnTo>
                  <a:pt x="14437" y="3743"/>
                </a:lnTo>
                <a:lnTo>
                  <a:pt x="14496" y="3639"/>
                </a:lnTo>
                <a:lnTo>
                  <a:pt x="14589" y="3529"/>
                </a:lnTo>
                <a:lnTo>
                  <a:pt x="14644" y="3420"/>
                </a:lnTo>
                <a:lnTo>
                  <a:pt x="14712" y="3355"/>
                </a:lnTo>
                <a:lnTo>
                  <a:pt x="14846" y="3290"/>
                </a:lnTo>
                <a:lnTo>
                  <a:pt x="14960" y="3224"/>
                </a:lnTo>
                <a:lnTo>
                  <a:pt x="15117" y="3068"/>
                </a:lnTo>
                <a:lnTo>
                  <a:pt x="15265" y="2971"/>
                </a:lnTo>
                <a:lnTo>
                  <a:pt x="15367" y="2891"/>
                </a:lnTo>
                <a:lnTo>
                  <a:pt x="15479" y="2833"/>
                </a:lnTo>
                <a:lnTo>
                  <a:pt x="15627" y="2760"/>
                </a:lnTo>
                <a:lnTo>
                  <a:pt x="15801" y="2672"/>
                </a:lnTo>
                <a:lnTo>
                  <a:pt x="15902" y="2616"/>
                </a:lnTo>
                <a:lnTo>
                  <a:pt x="15953" y="2544"/>
                </a:lnTo>
                <a:lnTo>
                  <a:pt x="15902" y="2480"/>
                </a:lnTo>
                <a:lnTo>
                  <a:pt x="15942" y="2320"/>
                </a:lnTo>
                <a:lnTo>
                  <a:pt x="16029" y="2276"/>
                </a:lnTo>
                <a:lnTo>
                  <a:pt x="16111" y="2336"/>
                </a:lnTo>
                <a:lnTo>
                  <a:pt x="16338" y="2329"/>
                </a:lnTo>
                <a:lnTo>
                  <a:pt x="16515" y="2242"/>
                </a:lnTo>
                <a:lnTo>
                  <a:pt x="16662" y="2213"/>
                </a:lnTo>
                <a:lnTo>
                  <a:pt x="16803" y="2154"/>
                </a:lnTo>
                <a:lnTo>
                  <a:pt x="16958" y="2088"/>
                </a:lnTo>
                <a:lnTo>
                  <a:pt x="16928" y="1994"/>
                </a:lnTo>
                <a:lnTo>
                  <a:pt x="16828" y="1852"/>
                </a:lnTo>
                <a:lnTo>
                  <a:pt x="16746" y="1775"/>
                </a:lnTo>
                <a:lnTo>
                  <a:pt x="16786" y="1685"/>
                </a:lnTo>
                <a:lnTo>
                  <a:pt x="16894" y="1649"/>
                </a:lnTo>
                <a:lnTo>
                  <a:pt x="17022" y="1728"/>
                </a:lnTo>
                <a:cubicBezTo>
                  <a:pt x="17065" y="1745"/>
                  <a:pt x="17109" y="1754"/>
                  <a:pt x="17154" y="1754"/>
                </a:cubicBezTo>
                <a:cubicBezTo>
                  <a:pt x="17193" y="1754"/>
                  <a:pt x="17232" y="1748"/>
                  <a:pt x="17270" y="1735"/>
                </a:cubicBezTo>
                <a:lnTo>
                  <a:pt x="17369" y="1675"/>
                </a:lnTo>
                <a:lnTo>
                  <a:pt x="17463" y="1580"/>
                </a:lnTo>
                <a:lnTo>
                  <a:pt x="17617" y="1551"/>
                </a:lnTo>
                <a:lnTo>
                  <a:pt x="17797" y="1546"/>
                </a:lnTo>
                <a:lnTo>
                  <a:pt x="17945" y="1517"/>
                </a:lnTo>
                <a:cubicBezTo>
                  <a:pt x="18025" y="1530"/>
                  <a:pt x="18106" y="1530"/>
                  <a:pt x="18186" y="1517"/>
                </a:cubicBezTo>
                <a:cubicBezTo>
                  <a:pt x="18230" y="1510"/>
                  <a:pt x="18274" y="1499"/>
                  <a:pt x="18316" y="1480"/>
                </a:cubicBezTo>
                <a:cubicBezTo>
                  <a:pt x="18379" y="1453"/>
                  <a:pt x="18437" y="1411"/>
                  <a:pt x="18487" y="1357"/>
                </a:cubicBezTo>
                <a:lnTo>
                  <a:pt x="18576" y="1269"/>
                </a:lnTo>
                <a:lnTo>
                  <a:pt x="18679" y="1133"/>
                </a:lnTo>
                <a:lnTo>
                  <a:pt x="18740" y="1033"/>
                </a:lnTo>
                <a:lnTo>
                  <a:pt x="18827" y="887"/>
                </a:lnTo>
                <a:lnTo>
                  <a:pt x="18865" y="773"/>
                </a:lnTo>
                <a:lnTo>
                  <a:pt x="18842" y="683"/>
                </a:lnTo>
                <a:lnTo>
                  <a:pt x="18706" y="662"/>
                </a:lnTo>
                <a:lnTo>
                  <a:pt x="18611" y="642"/>
                </a:lnTo>
                <a:lnTo>
                  <a:pt x="18371" y="642"/>
                </a:lnTo>
                <a:lnTo>
                  <a:pt x="18303" y="678"/>
                </a:lnTo>
                <a:lnTo>
                  <a:pt x="18196" y="812"/>
                </a:lnTo>
                <a:lnTo>
                  <a:pt x="18035" y="1029"/>
                </a:lnTo>
                <a:lnTo>
                  <a:pt x="17939" y="1072"/>
                </a:lnTo>
                <a:lnTo>
                  <a:pt x="17774" y="1203"/>
                </a:lnTo>
                <a:lnTo>
                  <a:pt x="17708" y="1283"/>
                </a:lnTo>
                <a:lnTo>
                  <a:pt x="17630" y="1324"/>
                </a:lnTo>
                <a:lnTo>
                  <a:pt x="17575" y="1297"/>
                </a:lnTo>
                <a:lnTo>
                  <a:pt x="17456" y="1210"/>
                </a:lnTo>
                <a:lnTo>
                  <a:pt x="17478" y="1123"/>
                </a:lnTo>
                <a:lnTo>
                  <a:pt x="17579" y="987"/>
                </a:lnTo>
                <a:lnTo>
                  <a:pt x="17620" y="848"/>
                </a:lnTo>
                <a:lnTo>
                  <a:pt x="17580" y="746"/>
                </a:lnTo>
                <a:lnTo>
                  <a:pt x="17480" y="713"/>
                </a:lnTo>
                <a:lnTo>
                  <a:pt x="17389" y="669"/>
                </a:lnTo>
                <a:lnTo>
                  <a:pt x="17377" y="770"/>
                </a:lnTo>
                <a:lnTo>
                  <a:pt x="17275" y="843"/>
                </a:lnTo>
                <a:lnTo>
                  <a:pt x="17223" y="719"/>
                </a:lnTo>
                <a:lnTo>
                  <a:pt x="17188" y="550"/>
                </a:lnTo>
                <a:lnTo>
                  <a:pt x="17158" y="474"/>
                </a:lnTo>
                <a:lnTo>
                  <a:pt x="17158" y="393"/>
                </a:lnTo>
                <a:lnTo>
                  <a:pt x="17262" y="250"/>
                </a:lnTo>
                <a:lnTo>
                  <a:pt x="17279" y="137"/>
                </a:lnTo>
                <a:lnTo>
                  <a:pt x="17211" y="42"/>
                </a:lnTo>
                <a:lnTo>
                  <a:pt x="17121" y="0"/>
                </a:lnTo>
                <a:lnTo>
                  <a:pt x="16997" y="69"/>
                </a:lnTo>
                <a:lnTo>
                  <a:pt x="16878" y="193"/>
                </a:lnTo>
                <a:lnTo>
                  <a:pt x="16739" y="264"/>
                </a:lnTo>
                <a:lnTo>
                  <a:pt x="16601" y="308"/>
                </a:lnTo>
                <a:lnTo>
                  <a:pt x="16495" y="385"/>
                </a:lnTo>
                <a:lnTo>
                  <a:pt x="16478" y="478"/>
                </a:lnTo>
                <a:lnTo>
                  <a:pt x="16580" y="499"/>
                </a:lnTo>
                <a:lnTo>
                  <a:pt x="16696" y="652"/>
                </a:lnTo>
                <a:lnTo>
                  <a:pt x="16774" y="698"/>
                </a:lnTo>
                <a:lnTo>
                  <a:pt x="16711" y="834"/>
                </a:lnTo>
                <a:lnTo>
                  <a:pt x="16611" y="914"/>
                </a:lnTo>
                <a:lnTo>
                  <a:pt x="16484" y="970"/>
                </a:lnTo>
                <a:lnTo>
                  <a:pt x="16336" y="992"/>
                </a:lnTo>
                <a:lnTo>
                  <a:pt x="16211" y="1072"/>
                </a:lnTo>
                <a:lnTo>
                  <a:pt x="16065" y="1208"/>
                </a:lnTo>
                <a:lnTo>
                  <a:pt x="15938" y="1300"/>
                </a:lnTo>
                <a:lnTo>
                  <a:pt x="15900" y="1403"/>
                </a:lnTo>
                <a:lnTo>
                  <a:pt x="15840" y="1405"/>
                </a:lnTo>
                <a:lnTo>
                  <a:pt x="15806" y="1296"/>
                </a:lnTo>
                <a:lnTo>
                  <a:pt x="15726" y="1252"/>
                </a:lnTo>
                <a:lnTo>
                  <a:pt x="15631" y="1267"/>
                </a:lnTo>
                <a:lnTo>
                  <a:pt x="15605" y="1192"/>
                </a:lnTo>
                <a:cubicBezTo>
                  <a:pt x="15584" y="1165"/>
                  <a:pt x="15559" y="1144"/>
                  <a:pt x="15531" y="1131"/>
                </a:cubicBezTo>
                <a:cubicBezTo>
                  <a:pt x="15512" y="1122"/>
                  <a:pt x="15491" y="1117"/>
                  <a:pt x="15471" y="1117"/>
                </a:cubicBezTo>
                <a:lnTo>
                  <a:pt x="15344" y="1117"/>
                </a:lnTo>
                <a:lnTo>
                  <a:pt x="15199" y="1177"/>
                </a:lnTo>
                <a:lnTo>
                  <a:pt x="15108" y="1170"/>
                </a:lnTo>
                <a:lnTo>
                  <a:pt x="14956" y="1162"/>
                </a:lnTo>
                <a:lnTo>
                  <a:pt x="14865" y="1119"/>
                </a:lnTo>
                <a:cubicBezTo>
                  <a:pt x="14833" y="1105"/>
                  <a:pt x="14801" y="1091"/>
                  <a:pt x="14769" y="1075"/>
                </a:cubicBezTo>
                <a:cubicBezTo>
                  <a:pt x="14722" y="1053"/>
                  <a:pt x="14676" y="1028"/>
                  <a:pt x="14628" y="1010"/>
                </a:cubicBezTo>
                <a:cubicBezTo>
                  <a:pt x="14586" y="993"/>
                  <a:pt x="14542" y="981"/>
                  <a:pt x="14498" y="973"/>
                </a:cubicBezTo>
                <a:lnTo>
                  <a:pt x="14362" y="995"/>
                </a:lnTo>
                <a:lnTo>
                  <a:pt x="14227" y="1051"/>
                </a:lnTo>
                <a:lnTo>
                  <a:pt x="14126" y="1073"/>
                </a:lnTo>
                <a:lnTo>
                  <a:pt x="14007" y="1095"/>
                </a:lnTo>
                <a:lnTo>
                  <a:pt x="13915" y="1160"/>
                </a:lnTo>
                <a:lnTo>
                  <a:pt x="13864" y="1223"/>
                </a:lnTo>
                <a:lnTo>
                  <a:pt x="13791" y="1318"/>
                </a:lnTo>
                <a:cubicBezTo>
                  <a:pt x="13779" y="1341"/>
                  <a:pt x="13766" y="1364"/>
                  <a:pt x="13753" y="1386"/>
                </a:cubicBezTo>
                <a:cubicBezTo>
                  <a:pt x="13728" y="1427"/>
                  <a:pt x="13701" y="1467"/>
                  <a:pt x="13670" y="1500"/>
                </a:cubicBezTo>
                <a:cubicBezTo>
                  <a:pt x="13638" y="1533"/>
                  <a:pt x="13603" y="1560"/>
                  <a:pt x="13565" y="1580"/>
                </a:cubicBezTo>
                <a:lnTo>
                  <a:pt x="13469" y="1480"/>
                </a:lnTo>
                <a:lnTo>
                  <a:pt x="13459" y="1310"/>
                </a:lnTo>
                <a:lnTo>
                  <a:pt x="13425" y="1176"/>
                </a:lnTo>
                <a:lnTo>
                  <a:pt x="13378" y="1120"/>
                </a:lnTo>
                <a:lnTo>
                  <a:pt x="13268" y="1101"/>
                </a:lnTo>
                <a:lnTo>
                  <a:pt x="13148" y="1115"/>
                </a:lnTo>
                <a:lnTo>
                  <a:pt x="13089" y="1183"/>
                </a:lnTo>
                <a:lnTo>
                  <a:pt x="13018" y="1183"/>
                </a:lnTo>
                <a:lnTo>
                  <a:pt x="12818" y="1192"/>
                </a:lnTo>
                <a:lnTo>
                  <a:pt x="12642" y="1192"/>
                </a:lnTo>
                <a:lnTo>
                  <a:pt x="12500" y="1104"/>
                </a:lnTo>
                <a:lnTo>
                  <a:pt x="12494" y="1027"/>
                </a:lnTo>
                <a:lnTo>
                  <a:pt x="12560" y="956"/>
                </a:lnTo>
                <a:lnTo>
                  <a:pt x="12650" y="915"/>
                </a:lnTo>
                <a:lnTo>
                  <a:pt x="12674" y="840"/>
                </a:lnTo>
                <a:lnTo>
                  <a:pt x="12555" y="840"/>
                </a:lnTo>
                <a:lnTo>
                  <a:pt x="12364" y="876"/>
                </a:lnTo>
                <a:lnTo>
                  <a:pt x="12266" y="825"/>
                </a:lnTo>
                <a:lnTo>
                  <a:pt x="12129" y="723"/>
                </a:lnTo>
                <a:lnTo>
                  <a:pt x="11999" y="650"/>
                </a:lnTo>
                <a:lnTo>
                  <a:pt x="11913" y="614"/>
                </a:lnTo>
                <a:lnTo>
                  <a:pt x="11760" y="572"/>
                </a:lnTo>
                <a:lnTo>
                  <a:pt x="11642" y="550"/>
                </a:lnTo>
                <a:lnTo>
                  <a:pt x="11514" y="550"/>
                </a:lnTo>
                <a:lnTo>
                  <a:pt x="11415" y="558"/>
                </a:lnTo>
                <a:lnTo>
                  <a:pt x="11319" y="601"/>
                </a:lnTo>
                <a:lnTo>
                  <a:pt x="11143" y="637"/>
                </a:lnTo>
                <a:lnTo>
                  <a:pt x="11018" y="616"/>
                </a:lnTo>
                <a:lnTo>
                  <a:pt x="10847" y="514"/>
                </a:lnTo>
                <a:lnTo>
                  <a:pt x="10762" y="449"/>
                </a:lnTo>
                <a:lnTo>
                  <a:pt x="10681" y="458"/>
                </a:lnTo>
                <a:lnTo>
                  <a:pt x="10573" y="509"/>
                </a:lnTo>
                <a:lnTo>
                  <a:pt x="10499" y="546"/>
                </a:lnTo>
                <a:lnTo>
                  <a:pt x="10376" y="524"/>
                </a:lnTo>
                <a:lnTo>
                  <a:pt x="10291" y="502"/>
                </a:lnTo>
                <a:lnTo>
                  <a:pt x="10121" y="517"/>
                </a:lnTo>
                <a:lnTo>
                  <a:pt x="9918" y="575"/>
                </a:lnTo>
                <a:lnTo>
                  <a:pt x="9714" y="655"/>
                </a:lnTo>
                <a:lnTo>
                  <a:pt x="9448" y="747"/>
                </a:lnTo>
                <a:lnTo>
                  <a:pt x="9329" y="769"/>
                </a:lnTo>
                <a:lnTo>
                  <a:pt x="8951" y="819"/>
                </a:lnTo>
                <a:lnTo>
                  <a:pt x="8616" y="776"/>
                </a:lnTo>
                <a:lnTo>
                  <a:pt x="8127" y="613"/>
                </a:lnTo>
                <a:lnTo>
                  <a:pt x="7941" y="509"/>
                </a:lnTo>
                <a:lnTo>
                  <a:pt x="7648" y="483"/>
                </a:lnTo>
                <a:lnTo>
                  <a:pt x="7075" y="407"/>
                </a:lnTo>
                <a:lnTo>
                  <a:pt x="6936" y="356"/>
                </a:lnTo>
                <a:lnTo>
                  <a:pt x="6817" y="290"/>
                </a:lnTo>
                <a:lnTo>
                  <a:pt x="6682" y="254"/>
                </a:lnTo>
                <a:lnTo>
                  <a:pt x="6466" y="217"/>
                </a:lnTo>
                <a:lnTo>
                  <a:pt x="6284" y="195"/>
                </a:lnTo>
                <a:lnTo>
                  <a:pt x="6126" y="188"/>
                </a:lnTo>
                <a:lnTo>
                  <a:pt x="5969" y="188"/>
                </a:lnTo>
                <a:lnTo>
                  <a:pt x="5690" y="225"/>
                </a:lnTo>
                <a:lnTo>
                  <a:pt x="5320" y="268"/>
                </a:lnTo>
                <a:lnTo>
                  <a:pt x="5074" y="361"/>
                </a:lnTo>
                <a:lnTo>
                  <a:pt x="4688" y="433"/>
                </a:lnTo>
                <a:lnTo>
                  <a:pt x="4586" y="477"/>
                </a:lnTo>
                <a:lnTo>
                  <a:pt x="4348" y="572"/>
                </a:lnTo>
                <a:lnTo>
                  <a:pt x="4054" y="701"/>
                </a:lnTo>
                <a:lnTo>
                  <a:pt x="3823" y="793"/>
                </a:lnTo>
                <a:lnTo>
                  <a:pt x="3588" y="866"/>
                </a:lnTo>
                <a:lnTo>
                  <a:pt x="3471" y="86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9" name="í$ľiḋê">
            <a:extLst>
              <a:ext uri="{FF2B5EF4-FFF2-40B4-BE49-F238E27FC236}">
                <a16:creationId xmlns:a16="http://schemas.microsoft.com/office/drawing/2014/main" id="{784F6C74-FD21-4F8B-A6B3-131432156901}"/>
              </a:ext>
            </a:extLst>
          </p:cNvPr>
          <p:cNvSpPr/>
          <p:nvPr/>
        </p:nvSpPr>
        <p:spPr>
          <a:xfrm>
            <a:off x="2987379" y="1655084"/>
            <a:ext cx="439908" cy="1586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634" y="1167"/>
                </a:moveTo>
                <a:lnTo>
                  <a:pt x="4811" y="2252"/>
                </a:lnTo>
                <a:lnTo>
                  <a:pt x="2967" y="4498"/>
                </a:lnTo>
                <a:lnTo>
                  <a:pt x="1963" y="5618"/>
                </a:lnTo>
                <a:lnTo>
                  <a:pt x="576" y="7014"/>
                </a:lnTo>
                <a:lnTo>
                  <a:pt x="80" y="8227"/>
                </a:lnTo>
                <a:lnTo>
                  <a:pt x="0" y="9312"/>
                </a:lnTo>
                <a:lnTo>
                  <a:pt x="451" y="10588"/>
                </a:lnTo>
                <a:lnTo>
                  <a:pt x="1016" y="11735"/>
                </a:lnTo>
                <a:cubicBezTo>
                  <a:pt x="1189" y="11851"/>
                  <a:pt x="1367" y="11914"/>
                  <a:pt x="1545" y="11921"/>
                </a:cubicBezTo>
                <a:cubicBezTo>
                  <a:pt x="2101" y="11944"/>
                  <a:pt x="2642" y="11441"/>
                  <a:pt x="3079" y="10495"/>
                </a:cubicBezTo>
                <a:lnTo>
                  <a:pt x="3970" y="9406"/>
                </a:lnTo>
                <a:lnTo>
                  <a:pt x="5427" y="8286"/>
                </a:lnTo>
                <a:lnTo>
                  <a:pt x="6330" y="8286"/>
                </a:lnTo>
                <a:lnTo>
                  <a:pt x="7392" y="10183"/>
                </a:lnTo>
                <a:lnTo>
                  <a:pt x="7965" y="10836"/>
                </a:lnTo>
                <a:lnTo>
                  <a:pt x="7774" y="11797"/>
                </a:lnTo>
                <a:lnTo>
                  <a:pt x="7111" y="12073"/>
                </a:lnTo>
                <a:cubicBezTo>
                  <a:pt x="6813" y="12042"/>
                  <a:pt x="6516" y="12011"/>
                  <a:pt x="6219" y="11980"/>
                </a:cubicBezTo>
                <a:cubicBezTo>
                  <a:pt x="5914" y="11948"/>
                  <a:pt x="5609" y="11917"/>
                  <a:pt x="5304" y="11886"/>
                </a:cubicBezTo>
                <a:lnTo>
                  <a:pt x="5201" y="13473"/>
                </a:lnTo>
                <a:lnTo>
                  <a:pt x="6409" y="14126"/>
                </a:lnTo>
                <a:cubicBezTo>
                  <a:pt x="6963" y="14051"/>
                  <a:pt x="7516" y="13958"/>
                  <a:pt x="8069" y="13846"/>
                </a:cubicBezTo>
                <a:cubicBezTo>
                  <a:pt x="8714" y="13716"/>
                  <a:pt x="9358" y="13560"/>
                  <a:pt x="10001" y="13380"/>
                </a:cubicBezTo>
                <a:lnTo>
                  <a:pt x="10642" y="15239"/>
                </a:lnTo>
                <a:lnTo>
                  <a:pt x="9896" y="15981"/>
                </a:lnTo>
                <a:cubicBezTo>
                  <a:pt x="9546" y="16191"/>
                  <a:pt x="9192" y="16347"/>
                  <a:pt x="8836" y="16448"/>
                </a:cubicBezTo>
                <a:cubicBezTo>
                  <a:pt x="7951" y="16697"/>
                  <a:pt x="7059" y="16604"/>
                  <a:pt x="6183" y="16172"/>
                </a:cubicBezTo>
                <a:lnTo>
                  <a:pt x="4831" y="16172"/>
                </a:lnTo>
                <a:lnTo>
                  <a:pt x="4764" y="17467"/>
                </a:lnTo>
                <a:lnTo>
                  <a:pt x="5860" y="18555"/>
                </a:lnTo>
                <a:lnTo>
                  <a:pt x="7450" y="19951"/>
                </a:lnTo>
                <a:lnTo>
                  <a:pt x="9207" y="21320"/>
                </a:lnTo>
                <a:lnTo>
                  <a:pt x="10369" y="21600"/>
                </a:lnTo>
                <a:lnTo>
                  <a:pt x="11950" y="21507"/>
                </a:lnTo>
                <a:lnTo>
                  <a:pt x="13656" y="20231"/>
                </a:lnTo>
                <a:cubicBezTo>
                  <a:pt x="13887" y="19682"/>
                  <a:pt x="14168" y="19316"/>
                  <a:pt x="14469" y="19174"/>
                </a:cubicBezTo>
                <a:cubicBezTo>
                  <a:pt x="14818" y="19009"/>
                  <a:pt x="15172" y="19150"/>
                  <a:pt x="15519" y="19329"/>
                </a:cubicBezTo>
                <a:cubicBezTo>
                  <a:pt x="15975" y="19564"/>
                  <a:pt x="16427" y="19863"/>
                  <a:pt x="16872" y="20224"/>
                </a:cubicBezTo>
                <a:lnTo>
                  <a:pt x="18689" y="19850"/>
                </a:lnTo>
                <a:lnTo>
                  <a:pt x="20146" y="18544"/>
                </a:lnTo>
                <a:lnTo>
                  <a:pt x="21195" y="17237"/>
                </a:lnTo>
                <a:lnTo>
                  <a:pt x="21600" y="15873"/>
                </a:lnTo>
                <a:lnTo>
                  <a:pt x="21374" y="15130"/>
                </a:lnTo>
                <a:cubicBezTo>
                  <a:pt x="21049" y="15131"/>
                  <a:pt x="20734" y="14814"/>
                  <a:pt x="20486" y="14235"/>
                </a:cubicBezTo>
                <a:cubicBezTo>
                  <a:pt x="20325" y="13859"/>
                  <a:pt x="20198" y="13383"/>
                  <a:pt x="20115" y="12847"/>
                </a:cubicBezTo>
                <a:cubicBezTo>
                  <a:pt x="20094" y="12509"/>
                  <a:pt x="20094" y="12163"/>
                  <a:pt x="20115" y="11824"/>
                </a:cubicBezTo>
                <a:cubicBezTo>
                  <a:pt x="20168" y="10953"/>
                  <a:pt x="20353" y="10185"/>
                  <a:pt x="20623" y="9709"/>
                </a:cubicBezTo>
                <a:lnTo>
                  <a:pt x="21199" y="6443"/>
                </a:lnTo>
                <a:lnTo>
                  <a:pt x="21301" y="5513"/>
                </a:lnTo>
                <a:cubicBezTo>
                  <a:pt x="21336" y="5080"/>
                  <a:pt x="21268" y="4633"/>
                  <a:pt x="21131" y="4397"/>
                </a:cubicBezTo>
                <a:cubicBezTo>
                  <a:pt x="20903" y="4004"/>
                  <a:pt x="20627" y="4349"/>
                  <a:pt x="20376" y="4646"/>
                </a:cubicBezTo>
                <a:cubicBezTo>
                  <a:pt x="20058" y="5024"/>
                  <a:pt x="19716" y="5284"/>
                  <a:pt x="19439" y="5860"/>
                </a:cubicBezTo>
                <a:cubicBezTo>
                  <a:pt x="19169" y="6418"/>
                  <a:pt x="18986" y="7219"/>
                  <a:pt x="18761" y="7909"/>
                </a:cubicBezTo>
                <a:cubicBezTo>
                  <a:pt x="18530" y="8617"/>
                  <a:pt x="18255" y="9207"/>
                  <a:pt x="17949" y="9651"/>
                </a:cubicBezTo>
                <a:lnTo>
                  <a:pt x="17192" y="8997"/>
                </a:lnTo>
                <a:cubicBezTo>
                  <a:pt x="17245" y="8451"/>
                  <a:pt x="17264" y="7885"/>
                  <a:pt x="17249" y="7321"/>
                </a:cubicBezTo>
                <a:cubicBezTo>
                  <a:pt x="17234" y="6788"/>
                  <a:pt x="17188" y="6264"/>
                  <a:pt x="17113" y="5770"/>
                </a:cubicBezTo>
                <a:lnTo>
                  <a:pt x="16235" y="5863"/>
                </a:lnTo>
                <a:lnTo>
                  <a:pt x="15637" y="7539"/>
                </a:lnTo>
                <a:lnTo>
                  <a:pt x="14936" y="7349"/>
                </a:lnTo>
                <a:lnTo>
                  <a:pt x="14394" y="6820"/>
                </a:lnTo>
                <a:lnTo>
                  <a:pt x="13160" y="5925"/>
                </a:lnTo>
                <a:lnTo>
                  <a:pt x="12891" y="4996"/>
                </a:lnTo>
                <a:lnTo>
                  <a:pt x="12371" y="3658"/>
                </a:lnTo>
                <a:lnTo>
                  <a:pt x="11460" y="2356"/>
                </a:lnTo>
                <a:lnTo>
                  <a:pt x="10150" y="1298"/>
                </a:lnTo>
                <a:lnTo>
                  <a:pt x="9103" y="649"/>
                </a:lnTo>
                <a:lnTo>
                  <a:pt x="8371" y="2"/>
                </a:lnTo>
                <a:lnTo>
                  <a:pt x="7461" y="0"/>
                </a:lnTo>
                <a:lnTo>
                  <a:pt x="6933" y="376"/>
                </a:lnTo>
                <a:lnTo>
                  <a:pt x="5634" y="1167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0" name="íŝḻïḋé">
            <a:extLst>
              <a:ext uri="{FF2B5EF4-FFF2-40B4-BE49-F238E27FC236}">
                <a16:creationId xmlns:a16="http://schemas.microsoft.com/office/drawing/2014/main" id="{83192F97-F7AF-44DF-8A82-F90276B145B6}"/>
              </a:ext>
            </a:extLst>
          </p:cNvPr>
          <p:cNvSpPr/>
          <p:nvPr/>
        </p:nvSpPr>
        <p:spPr>
          <a:xfrm>
            <a:off x="3462064" y="1783319"/>
            <a:ext cx="76263" cy="378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670" y="2473"/>
                </a:moveTo>
                <a:lnTo>
                  <a:pt x="5361" y="4164"/>
                </a:lnTo>
                <a:lnTo>
                  <a:pt x="2017" y="7047"/>
                </a:lnTo>
                <a:lnTo>
                  <a:pt x="0" y="10954"/>
                </a:lnTo>
                <a:lnTo>
                  <a:pt x="2552" y="17693"/>
                </a:lnTo>
                <a:lnTo>
                  <a:pt x="5850" y="21600"/>
                </a:lnTo>
                <a:cubicBezTo>
                  <a:pt x="7389" y="21202"/>
                  <a:pt x="8897" y="20415"/>
                  <a:pt x="10337" y="19256"/>
                </a:cubicBezTo>
                <a:cubicBezTo>
                  <a:pt x="12339" y="17645"/>
                  <a:pt x="14178" y="15341"/>
                  <a:pt x="16135" y="13527"/>
                </a:cubicBezTo>
                <a:cubicBezTo>
                  <a:pt x="17883" y="11907"/>
                  <a:pt x="19716" y="10684"/>
                  <a:pt x="21600" y="9880"/>
                </a:cubicBezTo>
                <a:lnTo>
                  <a:pt x="21014" y="4151"/>
                </a:lnTo>
                <a:lnTo>
                  <a:pt x="17112" y="2719"/>
                </a:lnTo>
                <a:lnTo>
                  <a:pt x="14661" y="0"/>
                </a:lnTo>
                <a:lnTo>
                  <a:pt x="10670" y="247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1" name="ïSlïḓê">
            <a:extLst>
              <a:ext uri="{FF2B5EF4-FFF2-40B4-BE49-F238E27FC236}">
                <a16:creationId xmlns:a16="http://schemas.microsoft.com/office/drawing/2014/main" id="{43D82AE8-4DED-4A9C-8C2F-F42AC51BAFA4}"/>
              </a:ext>
            </a:extLst>
          </p:cNvPr>
          <p:cNvSpPr/>
          <p:nvPr/>
        </p:nvSpPr>
        <p:spPr>
          <a:xfrm>
            <a:off x="3490300" y="1664970"/>
            <a:ext cx="136396" cy="696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55" y="8070"/>
                </a:moveTo>
                <a:lnTo>
                  <a:pt x="7801" y="11552"/>
                </a:lnTo>
                <a:lnTo>
                  <a:pt x="5516" y="10656"/>
                </a:lnTo>
                <a:lnTo>
                  <a:pt x="2915" y="8883"/>
                </a:lnTo>
                <a:lnTo>
                  <a:pt x="484" y="9938"/>
                </a:lnTo>
                <a:lnTo>
                  <a:pt x="0" y="12339"/>
                </a:lnTo>
                <a:lnTo>
                  <a:pt x="2322" y="13819"/>
                </a:lnTo>
                <a:lnTo>
                  <a:pt x="4989" y="16372"/>
                </a:lnTo>
                <a:lnTo>
                  <a:pt x="6259" y="21600"/>
                </a:lnTo>
                <a:lnTo>
                  <a:pt x="8764" y="21166"/>
                </a:lnTo>
                <a:lnTo>
                  <a:pt x="11419" y="18835"/>
                </a:lnTo>
                <a:lnTo>
                  <a:pt x="13595" y="17559"/>
                </a:lnTo>
                <a:lnTo>
                  <a:pt x="16209" y="16717"/>
                </a:lnTo>
                <a:lnTo>
                  <a:pt x="18103" y="12039"/>
                </a:lnTo>
                <a:lnTo>
                  <a:pt x="18868" y="8289"/>
                </a:lnTo>
                <a:lnTo>
                  <a:pt x="21600" y="2573"/>
                </a:lnTo>
                <a:lnTo>
                  <a:pt x="21345" y="797"/>
                </a:lnTo>
                <a:lnTo>
                  <a:pt x="19965" y="0"/>
                </a:lnTo>
                <a:lnTo>
                  <a:pt x="18121" y="1761"/>
                </a:lnTo>
                <a:lnTo>
                  <a:pt x="15430" y="3083"/>
                </a:lnTo>
                <a:cubicBezTo>
                  <a:pt x="14909" y="2790"/>
                  <a:pt x="14357" y="2790"/>
                  <a:pt x="13836" y="3083"/>
                </a:cubicBezTo>
                <a:cubicBezTo>
                  <a:pt x="13246" y="3416"/>
                  <a:pt x="12725" y="4109"/>
                  <a:pt x="12352" y="5060"/>
                </a:cubicBezTo>
                <a:lnTo>
                  <a:pt x="9855" y="807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2" name="i$1íḑê">
            <a:extLst>
              <a:ext uri="{FF2B5EF4-FFF2-40B4-BE49-F238E27FC236}">
                <a16:creationId xmlns:a16="http://schemas.microsoft.com/office/drawing/2014/main" id="{11301794-4396-4B41-87B1-16718F205DB7}"/>
              </a:ext>
            </a:extLst>
          </p:cNvPr>
          <p:cNvSpPr/>
          <p:nvPr/>
        </p:nvSpPr>
        <p:spPr>
          <a:xfrm>
            <a:off x="3637016" y="1664547"/>
            <a:ext cx="106103" cy="463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83" y="0"/>
                </a:moveTo>
                <a:lnTo>
                  <a:pt x="11928" y="3126"/>
                </a:lnTo>
                <a:lnTo>
                  <a:pt x="8108" y="3244"/>
                </a:lnTo>
                <a:lnTo>
                  <a:pt x="5428" y="5147"/>
                </a:lnTo>
                <a:lnTo>
                  <a:pt x="1745" y="9615"/>
                </a:lnTo>
                <a:lnTo>
                  <a:pt x="0" y="15547"/>
                </a:lnTo>
                <a:lnTo>
                  <a:pt x="588" y="20642"/>
                </a:lnTo>
                <a:lnTo>
                  <a:pt x="3255" y="21600"/>
                </a:lnTo>
                <a:lnTo>
                  <a:pt x="5550" y="17130"/>
                </a:lnTo>
                <a:lnTo>
                  <a:pt x="11731" y="15960"/>
                </a:lnTo>
                <a:lnTo>
                  <a:pt x="16226" y="17237"/>
                </a:lnTo>
                <a:lnTo>
                  <a:pt x="19914" y="14058"/>
                </a:lnTo>
                <a:lnTo>
                  <a:pt x="21459" y="10547"/>
                </a:lnTo>
                <a:lnTo>
                  <a:pt x="21600" y="3750"/>
                </a:lnTo>
                <a:lnTo>
                  <a:pt x="20248" y="1848"/>
                </a:lnTo>
                <a:lnTo>
                  <a:pt x="16283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3" name="ïṩľîḋe">
            <a:extLst>
              <a:ext uri="{FF2B5EF4-FFF2-40B4-BE49-F238E27FC236}">
                <a16:creationId xmlns:a16="http://schemas.microsoft.com/office/drawing/2014/main" id="{775ABAFD-6B55-4270-B465-AEC17575D124}"/>
              </a:ext>
            </a:extLst>
          </p:cNvPr>
          <p:cNvSpPr/>
          <p:nvPr/>
        </p:nvSpPr>
        <p:spPr>
          <a:xfrm>
            <a:off x="3781366" y="1604989"/>
            <a:ext cx="261583" cy="599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838" y="93"/>
                </a:moveTo>
                <a:lnTo>
                  <a:pt x="2736" y="1503"/>
                </a:lnTo>
                <a:lnTo>
                  <a:pt x="1623" y="3591"/>
                </a:lnTo>
                <a:lnTo>
                  <a:pt x="622" y="6051"/>
                </a:lnTo>
                <a:lnTo>
                  <a:pt x="0" y="11309"/>
                </a:lnTo>
                <a:cubicBezTo>
                  <a:pt x="23" y="12625"/>
                  <a:pt x="147" y="13870"/>
                  <a:pt x="350" y="14850"/>
                </a:cubicBezTo>
                <a:cubicBezTo>
                  <a:pt x="1005" y="17999"/>
                  <a:pt x="2162" y="17761"/>
                  <a:pt x="2744" y="14356"/>
                </a:cubicBezTo>
                <a:lnTo>
                  <a:pt x="5745" y="14109"/>
                </a:lnTo>
                <a:lnTo>
                  <a:pt x="6941" y="15344"/>
                </a:lnTo>
                <a:lnTo>
                  <a:pt x="7732" y="17545"/>
                </a:lnTo>
                <a:lnTo>
                  <a:pt x="11998" y="18080"/>
                </a:lnTo>
                <a:lnTo>
                  <a:pt x="14484" y="17092"/>
                </a:lnTo>
                <a:lnTo>
                  <a:pt x="15087" y="21600"/>
                </a:lnTo>
                <a:lnTo>
                  <a:pt x="16550" y="21600"/>
                </a:lnTo>
                <a:lnTo>
                  <a:pt x="17231" y="19140"/>
                </a:lnTo>
                <a:lnTo>
                  <a:pt x="18865" y="15518"/>
                </a:lnTo>
                <a:lnTo>
                  <a:pt x="20308" y="14036"/>
                </a:lnTo>
                <a:lnTo>
                  <a:pt x="21600" y="11412"/>
                </a:lnTo>
                <a:cubicBezTo>
                  <a:pt x="21334" y="10787"/>
                  <a:pt x="21058" y="10251"/>
                  <a:pt x="20774" y="9806"/>
                </a:cubicBezTo>
                <a:cubicBezTo>
                  <a:pt x="20288" y="9047"/>
                  <a:pt x="19783" y="8563"/>
                  <a:pt x="19275" y="8160"/>
                </a:cubicBezTo>
                <a:cubicBezTo>
                  <a:pt x="18598" y="7622"/>
                  <a:pt x="17913" y="7228"/>
                  <a:pt x="17224" y="7172"/>
                </a:cubicBezTo>
                <a:cubicBezTo>
                  <a:pt x="16485" y="7113"/>
                  <a:pt x="15746" y="7444"/>
                  <a:pt x="15026" y="8160"/>
                </a:cubicBezTo>
                <a:lnTo>
                  <a:pt x="12369" y="8407"/>
                </a:lnTo>
                <a:lnTo>
                  <a:pt x="10911" y="9394"/>
                </a:lnTo>
                <a:lnTo>
                  <a:pt x="8883" y="10619"/>
                </a:lnTo>
                <a:lnTo>
                  <a:pt x="7915" y="8232"/>
                </a:lnTo>
                <a:lnTo>
                  <a:pt x="5806" y="3786"/>
                </a:lnTo>
                <a:lnTo>
                  <a:pt x="5241" y="0"/>
                </a:lnTo>
                <a:lnTo>
                  <a:pt x="3838" y="9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4" name="ïŝḷîḓé">
            <a:extLst>
              <a:ext uri="{FF2B5EF4-FFF2-40B4-BE49-F238E27FC236}">
                <a16:creationId xmlns:a16="http://schemas.microsoft.com/office/drawing/2014/main" id="{7DCE6C33-F94C-4215-88F4-D6486F865A29}"/>
              </a:ext>
            </a:extLst>
          </p:cNvPr>
          <p:cNvSpPr/>
          <p:nvPr/>
        </p:nvSpPr>
        <p:spPr>
          <a:xfrm>
            <a:off x="3904070" y="1450409"/>
            <a:ext cx="599333" cy="16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561" y="13378"/>
                </a:moveTo>
                <a:lnTo>
                  <a:pt x="5088" y="13526"/>
                </a:lnTo>
                <a:lnTo>
                  <a:pt x="4669" y="12962"/>
                </a:lnTo>
                <a:lnTo>
                  <a:pt x="4219" y="12959"/>
                </a:lnTo>
                <a:lnTo>
                  <a:pt x="3753" y="12614"/>
                </a:lnTo>
                <a:lnTo>
                  <a:pt x="3243" y="12700"/>
                </a:lnTo>
                <a:lnTo>
                  <a:pt x="3001" y="13654"/>
                </a:lnTo>
                <a:lnTo>
                  <a:pt x="3447" y="14348"/>
                </a:lnTo>
                <a:lnTo>
                  <a:pt x="4117" y="13825"/>
                </a:lnTo>
                <a:lnTo>
                  <a:pt x="4612" y="14954"/>
                </a:lnTo>
                <a:lnTo>
                  <a:pt x="4247" y="16144"/>
                </a:lnTo>
                <a:lnTo>
                  <a:pt x="3401" y="16493"/>
                </a:lnTo>
                <a:lnTo>
                  <a:pt x="3037" y="17070"/>
                </a:lnTo>
                <a:lnTo>
                  <a:pt x="2338" y="17502"/>
                </a:lnTo>
                <a:lnTo>
                  <a:pt x="1089" y="17154"/>
                </a:lnTo>
                <a:lnTo>
                  <a:pt x="368" y="16144"/>
                </a:lnTo>
                <a:lnTo>
                  <a:pt x="0" y="16754"/>
                </a:lnTo>
                <a:lnTo>
                  <a:pt x="473" y="17680"/>
                </a:lnTo>
                <a:lnTo>
                  <a:pt x="1410" y="19248"/>
                </a:lnTo>
                <a:cubicBezTo>
                  <a:pt x="1564" y="19437"/>
                  <a:pt x="1722" y="19583"/>
                  <a:pt x="1882" y="19684"/>
                </a:cubicBezTo>
                <a:cubicBezTo>
                  <a:pt x="2315" y="19954"/>
                  <a:pt x="2758" y="19895"/>
                  <a:pt x="3184" y="19509"/>
                </a:cubicBezTo>
                <a:lnTo>
                  <a:pt x="4003" y="18899"/>
                </a:lnTo>
                <a:lnTo>
                  <a:pt x="4865" y="19684"/>
                </a:lnTo>
                <a:lnTo>
                  <a:pt x="5810" y="21600"/>
                </a:lnTo>
                <a:lnTo>
                  <a:pt x="6299" y="20087"/>
                </a:lnTo>
                <a:cubicBezTo>
                  <a:pt x="6564" y="19546"/>
                  <a:pt x="6838" y="19061"/>
                  <a:pt x="7119" y="18634"/>
                </a:cubicBezTo>
                <a:cubicBezTo>
                  <a:pt x="7498" y="18061"/>
                  <a:pt x="7889" y="17595"/>
                  <a:pt x="8288" y="17241"/>
                </a:cubicBezTo>
                <a:lnTo>
                  <a:pt x="8943" y="16573"/>
                </a:lnTo>
                <a:cubicBezTo>
                  <a:pt x="9325" y="16367"/>
                  <a:pt x="9696" y="15967"/>
                  <a:pt x="10045" y="15386"/>
                </a:cubicBezTo>
                <a:cubicBezTo>
                  <a:pt x="10339" y="14896"/>
                  <a:pt x="10614" y="14282"/>
                  <a:pt x="10865" y="13557"/>
                </a:cubicBezTo>
                <a:lnTo>
                  <a:pt x="11910" y="11553"/>
                </a:lnTo>
                <a:lnTo>
                  <a:pt x="12755" y="10329"/>
                </a:lnTo>
                <a:lnTo>
                  <a:pt x="14123" y="9460"/>
                </a:lnTo>
                <a:lnTo>
                  <a:pt x="15016" y="8853"/>
                </a:lnTo>
                <a:lnTo>
                  <a:pt x="16306" y="7600"/>
                </a:lnTo>
                <a:lnTo>
                  <a:pt x="17582" y="6587"/>
                </a:lnTo>
                <a:lnTo>
                  <a:pt x="19014" y="5139"/>
                </a:lnTo>
                <a:lnTo>
                  <a:pt x="20556" y="3047"/>
                </a:lnTo>
                <a:lnTo>
                  <a:pt x="21202" y="1453"/>
                </a:lnTo>
                <a:lnTo>
                  <a:pt x="21600" y="174"/>
                </a:lnTo>
                <a:lnTo>
                  <a:pt x="21294" y="0"/>
                </a:lnTo>
                <a:lnTo>
                  <a:pt x="20633" y="10"/>
                </a:lnTo>
                <a:lnTo>
                  <a:pt x="19151" y="1139"/>
                </a:lnTo>
                <a:cubicBezTo>
                  <a:pt x="18849" y="1367"/>
                  <a:pt x="18545" y="1570"/>
                  <a:pt x="18239" y="1749"/>
                </a:cubicBezTo>
                <a:cubicBezTo>
                  <a:pt x="17545" y="2156"/>
                  <a:pt x="16846" y="2436"/>
                  <a:pt x="16143" y="2588"/>
                </a:cubicBezTo>
                <a:lnTo>
                  <a:pt x="14478" y="2326"/>
                </a:lnTo>
                <a:lnTo>
                  <a:pt x="13302" y="2239"/>
                </a:lnTo>
                <a:lnTo>
                  <a:pt x="12681" y="2239"/>
                </a:lnTo>
                <a:lnTo>
                  <a:pt x="11912" y="2497"/>
                </a:lnTo>
                <a:lnTo>
                  <a:pt x="10970" y="2932"/>
                </a:lnTo>
                <a:cubicBezTo>
                  <a:pt x="10552" y="3620"/>
                  <a:pt x="10097" y="3995"/>
                  <a:pt x="9635" y="4036"/>
                </a:cubicBezTo>
                <a:cubicBezTo>
                  <a:pt x="9179" y="4076"/>
                  <a:pt x="8728" y="3788"/>
                  <a:pt x="8276" y="3600"/>
                </a:cubicBezTo>
                <a:cubicBezTo>
                  <a:pt x="7888" y="3439"/>
                  <a:pt x="7498" y="3352"/>
                  <a:pt x="7108" y="3339"/>
                </a:cubicBezTo>
                <a:lnTo>
                  <a:pt x="6305" y="3339"/>
                </a:lnTo>
                <a:lnTo>
                  <a:pt x="5909" y="3945"/>
                </a:lnTo>
                <a:lnTo>
                  <a:pt x="6356" y="4864"/>
                </a:lnTo>
                <a:lnTo>
                  <a:pt x="6967" y="5096"/>
                </a:lnTo>
                <a:cubicBezTo>
                  <a:pt x="7229" y="5258"/>
                  <a:pt x="7491" y="5403"/>
                  <a:pt x="7755" y="5531"/>
                </a:cubicBezTo>
                <a:cubicBezTo>
                  <a:pt x="8151" y="5725"/>
                  <a:pt x="8549" y="5880"/>
                  <a:pt x="8948" y="5996"/>
                </a:cubicBezTo>
                <a:cubicBezTo>
                  <a:pt x="9130" y="6050"/>
                  <a:pt x="9312" y="6050"/>
                  <a:pt x="9493" y="5996"/>
                </a:cubicBezTo>
                <a:cubicBezTo>
                  <a:pt x="9721" y="5928"/>
                  <a:pt x="9946" y="5776"/>
                  <a:pt x="10171" y="5648"/>
                </a:cubicBezTo>
                <a:cubicBezTo>
                  <a:pt x="10400" y="5517"/>
                  <a:pt x="10629" y="5411"/>
                  <a:pt x="10859" y="5328"/>
                </a:cubicBezTo>
                <a:lnTo>
                  <a:pt x="11646" y="6374"/>
                </a:lnTo>
                <a:lnTo>
                  <a:pt x="11398" y="7992"/>
                </a:lnTo>
                <a:lnTo>
                  <a:pt x="10289" y="8686"/>
                </a:lnTo>
                <a:cubicBezTo>
                  <a:pt x="9973" y="8994"/>
                  <a:pt x="9649" y="9198"/>
                  <a:pt x="9321" y="9296"/>
                </a:cubicBezTo>
                <a:cubicBezTo>
                  <a:pt x="8943" y="9409"/>
                  <a:pt x="8562" y="9380"/>
                  <a:pt x="8186" y="9209"/>
                </a:cubicBezTo>
                <a:lnTo>
                  <a:pt x="7166" y="9034"/>
                </a:lnTo>
                <a:cubicBezTo>
                  <a:pt x="6949" y="8622"/>
                  <a:pt x="6715" y="8329"/>
                  <a:pt x="6473" y="8167"/>
                </a:cubicBezTo>
                <a:cubicBezTo>
                  <a:pt x="6175" y="7967"/>
                  <a:pt x="5868" y="7967"/>
                  <a:pt x="5570" y="8167"/>
                </a:cubicBezTo>
                <a:lnTo>
                  <a:pt x="4985" y="8744"/>
                </a:lnTo>
                <a:lnTo>
                  <a:pt x="5399" y="10189"/>
                </a:lnTo>
                <a:lnTo>
                  <a:pt x="5614" y="11056"/>
                </a:lnTo>
                <a:lnTo>
                  <a:pt x="5762" y="12595"/>
                </a:lnTo>
                <a:lnTo>
                  <a:pt x="5561" y="1337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35" name="íṡḻïḓe">
            <a:extLst>
              <a:ext uri="{FF2B5EF4-FFF2-40B4-BE49-F238E27FC236}">
                <a16:creationId xmlns:a16="http://schemas.microsoft.com/office/drawing/2014/main" id="{039E95C0-4F75-4377-9999-A691E0390DF1}"/>
              </a:ext>
            </a:extLst>
          </p:cNvPr>
          <p:cNvSpPr/>
          <p:nvPr/>
        </p:nvSpPr>
        <p:spPr>
          <a:xfrm>
            <a:off x="4265111" y="1455411"/>
            <a:ext cx="1167220" cy="5983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570" y="1596"/>
                </a:moveTo>
                <a:lnTo>
                  <a:pt x="3927" y="2113"/>
                </a:lnTo>
                <a:lnTo>
                  <a:pt x="2963" y="3015"/>
                </a:lnTo>
                <a:lnTo>
                  <a:pt x="2197" y="3378"/>
                </a:lnTo>
                <a:cubicBezTo>
                  <a:pt x="1959" y="3423"/>
                  <a:pt x="1720" y="3456"/>
                  <a:pt x="1481" y="3477"/>
                </a:cubicBezTo>
                <a:cubicBezTo>
                  <a:pt x="1325" y="3490"/>
                  <a:pt x="1168" y="3498"/>
                  <a:pt x="1012" y="3501"/>
                </a:cubicBezTo>
                <a:lnTo>
                  <a:pt x="480" y="3625"/>
                </a:lnTo>
                <a:lnTo>
                  <a:pt x="0" y="4046"/>
                </a:lnTo>
                <a:lnTo>
                  <a:pt x="205" y="4266"/>
                </a:lnTo>
                <a:lnTo>
                  <a:pt x="192" y="4578"/>
                </a:lnTo>
                <a:lnTo>
                  <a:pt x="145" y="4873"/>
                </a:lnTo>
                <a:lnTo>
                  <a:pt x="366" y="5235"/>
                </a:lnTo>
                <a:cubicBezTo>
                  <a:pt x="483" y="5325"/>
                  <a:pt x="606" y="5381"/>
                  <a:pt x="731" y="5399"/>
                </a:cubicBezTo>
                <a:cubicBezTo>
                  <a:pt x="871" y="5420"/>
                  <a:pt x="1012" y="5394"/>
                  <a:pt x="1152" y="5399"/>
                </a:cubicBezTo>
                <a:cubicBezTo>
                  <a:pt x="1276" y="5404"/>
                  <a:pt x="1400" y="5432"/>
                  <a:pt x="1522" y="5399"/>
                </a:cubicBezTo>
                <a:cubicBezTo>
                  <a:pt x="1649" y="5365"/>
                  <a:pt x="1769" y="5267"/>
                  <a:pt x="1892" y="5202"/>
                </a:cubicBezTo>
                <a:cubicBezTo>
                  <a:pt x="2058" y="5116"/>
                  <a:pt x="2231" y="5090"/>
                  <a:pt x="2402" y="5128"/>
                </a:cubicBezTo>
                <a:lnTo>
                  <a:pt x="2767" y="5276"/>
                </a:lnTo>
                <a:cubicBezTo>
                  <a:pt x="2900" y="5352"/>
                  <a:pt x="3033" y="5420"/>
                  <a:pt x="3167" y="5482"/>
                </a:cubicBezTo>
                <a:cubicBezTo>
                  <a:pt x="3243" y="5518"/>
                  <a:pt x="3319" y="5551"/>
                  <a:pt x="3395" y="5581"/>
                </a:cubicBezTo>
                <a:lnTo>
                  <a:pt x="3650" y="5902"/>
                </a:lnTo>
                <a:lnTo>
                  <a:pt x="4020" y="6514"/>
                </a:lnTo>
                <a:lnTo>
                  <a:pt x="4415" y="7659"/>
                </a:lnTo>
                <a:lnTo>
                  <a:pt x="4440" y="8450"/>
                </a:lnTo>
                <a:lnTo>
                  <a:pt x="4352" y="9024"/>
                </a:lnTo>
                <a:lnTo>
                  <a:pt x="4531" y="9485"/>
                </a:lnTo>
                <a:lnTo>
                  <a:pt x="4876" y="9749"/>
                </a:lnTo>
                <a:lnTo>
                  <a:pt x="5054" y="10490"/>
                </a:lnTo>
                <a:lnTo>
                  <a:pt x="5054" y="11980"/>
                </a:lnTo>
                <a:lnTo>
                  <a:pt x="4876" y="12838"/>
                </a:lnTo>
                <a:lnTo>
                  <a:pt x="4638" y="13183"/>
                </a:lnTo>
                <a:lnTo>
                  <a:pt x="3903" y="13807"/>
                </a:lnTo>
                <a:lnTo>
                  <a:pt x="3525" y="14343"/>
                </a:lnTo>
                <a:lnTo>
                  <a:pt x="3368" y="15002"/>
                </a:lnTo>
                <a:lnTo>
                  <a:pt x="3321" y="15677"/>
                </a:lnTo>
                <a:cubicBezTo>
                  <a:pt x="3404" y="15780"/>
                  <a:pt x="3470" y="15925"/>
                  <a:pt x="3512" y="16096"/>
                </a:cubicBezTo>
                <a:cubicBezTo>
                  <a:pt x="3580" y="16367"/>
                  <a:pt x="3585" y="16682"/>
                  <a:pt x="3525" y="16960"/>
                </a:cubicBezTo>
                <a:lnTo>
                  <a:pt x="3385" y="17619"/>
                </a:lnTo>
                <a:lnTo>
                  <a:pt x="3351" y="18130"/>
                </a:lnTo>
                <a:lnTo>
                  <a:pt x="3444" y="18881"/>
                </a:lnTo>
                <a:lnTo>
                  <a:pt x="3708" y="19400"/>
                </a:lnTo>
                <a:lnTo>
                  <a:pt x="4236" y="20174"/>
                </a:lnTo>
                <a:lnTo>
                  <a:pt x="4376" y="20719"/>
                </a:lnTo>
                <a:lnTo>
                  <a:pt x="4670" y="21057"/>
                </a:lnTo>
                <a:lnTo>
                  <a:pt x="4900" y="21337"/>
                </a:lnTo>
                <a:lnTo>
                  <a:pt x="5157" y="21600"/>
                </a:lnTo>
                <a:lnTo>
                  <a:pt x="5715" y="21600"/>
                </a:lnTo>
                <a:lnTo>
                  <a:pt x="6033" y="21031"/>
                </a:lnTo>
                <a:lnTo>
                  <a:pt x="6548" y="20355"/>
                </a:lnTo>
                <a:lnTo>
                  <a:pt x="6705" y="19796"/>
                </a:lnTo>
                <a:lnTo>
                  <a:pt x="6910" y="19062"/>
                </a:lnTo>
                <a:lnTo>
                  <a:pt x="7139" y="18519"/>
                </a:lnTo>
                <a:lnTo>
                  <a:pt x="7301" y="17868"/>
                </a:lnTo>
                <a:lnTo>
                  <a:pt x="7390" y="17406"/>
                </a:lnTo>
                <a:lnTo>
                  <a:pt x="7761" y="16591"/>
                </a:lnTo>
                <a:cubicBezTo>
                  <a:pt x="7873" y="16404"/>
                  <a:pt x="7997" y="16246"/>
                  <a:pt x="8131" y="16121"/>
                </a:cubicBezTo>
                <a:cubicBezTo>
                  <a:pt x="8328" y="15937"/>
                  <a:pt x="8542" y="15828"/>
                  <a:pt x="8761" y="15801"/>
                </a:cubicBezTo>
                <a:lnTo>
                  <a:pt x="9305" y="15727"/>
                </a:lnTo>
                <a:cubicBezTo>
                  <a:pt x="9405" y="15710"/>
                  <a:pt x="9504" y="15685"/>
                  <a:pt x="9603" y="15652"/>
                </a:cubicBezTo>
                <a:cubicBezTo>
                  <a:pt x="9812" y="15583"/>
                  <a:pt x="10017" y="15478"/>
                  <a:pt x="10216" y="15339"/>
                </a:cubicBezTo>
                <a:cubicBezTo>
                  <a:pt x="10289" y="15303"/>
                  <a:pt x="10361" y="15262"/>
                  <a:pt x="10433" y="15215"/>
                </a:cubicBezTo>
                <a:cubicBezTo>
                  <a:pt x="10645" y="15077"/>
                  <a:pt x="10849" y="14891"/>
                  <a:pt x="11040" y="14663"/>
                </a:cubicBezTo>
                <a:lnTo>
                  <a:pt x="11355" y="14177"/>
                </a:lnTo>
                <a:lnTo>
                  <a:pt x="11891" y="13522"/>
                </a:lnTo>
                <a:lnTo>
                  <a:pt x="12235" y="13078"/>
                </a:lnTo>
                <a:lnTo>
                  <a:pt x="12847" y="13004"/>
                </a:lnTo>
                <a:lnTo>
                  <a:pt x="13102" y="13144"/>
                </a:lnTo>
                <a:lnTo>
                  <a:pt x="13519" y="13218"/>
                </a:lnTo>
                <a:lnTo>
                  <a:pt x="13829" y="13053"/>
                </a:lnTo>
                <a:lnTo>
                  <a:pt x="14271" y="12814"/>
                </a:lnTo>
                <a:lnTo>
                  <a:pt x="14663" y="12566"/>
                </a:lnTo>
                <a:lnTo>
                  <a:pt x="15084" y="12467"/>
                </a:lnTo>
                <a:lnTo>
                  <a:pt x="15497" y="12402"/>
                </a:lnTo>
                <a:lnTo>
                  <a:pt x="15854" y="12327"/>
                </a:lnTo>
                <a:lnTo>
                  <a:pt x="16108" y="12327"/>
                </a:lnTo>
                <a:lnTo>
                  <a:pt x="16138" y="11701"/>
                </a:lnTo>
                <a:lnTo>
                  <a:pt x="15849" y="11379"/>
                </a:lnTo>
                <a:cubicBezTo>
                  <a:pt x="15736" y="11393"/>
                  <a:pt x="15622" y="11407"/>
                  <a:pt x="15509" y="11420"/>
                </a:cubicBezTo>
                <a:cubicBezTo>
                  <a:pt x="15303" y="11445"/>
                  <a:pt x="15098" y="11470"/>
                  <a:pt x="14892" y="11494"/>
                </a:cubicBezTo>
                <a:lnTo>
                  <a:pt x="14740" y="11123"/>
                </a:lnTo>
                <a:cubicBezTo>
                  <a:pt x="14769" y="10919"/>
                  <a:pt x="14851" y="10760"/>
                  <a:pt x="14956" y="10703"/>
                </a:cubicBezTo>
                <a:cubicBezTo>
                  <a:pt x="15099" y="10626"/>
                  <a:pt x="15250" y="10749"/>
                  <a:pt x="15322" y="11000"/>
                </a:cubicBezTo>
                <a:cubicBezTo>
                  <a:pt x="15374" y="10900"/>
                  <a:pt x="15405" y="10769"/>
                  <a:pt x="15412" y="10629"/>
                </a:cubicBezTo>
                <a:cubicBezTo>
                  <a:pt x="15424" y="10350"/>
                  <a:pt x="15341" y="10089"/>
                  <a:pt x="15207" y="9985"/>
                </a:cubicBezTo>
                <a:lnTo>
                  <a:pt x="15493" y="9515"/>
                </a:lnTo>
                <a:cubicBezTo>
                  <a:pt x="15637" y="9640"/>
                  <a:pt x="15768" y="9813"/>
                  <a:pt x="15880" y="10027"/>
                </a:cubicBezTo>
                <a:cubicBezTo>
                  <a:pt x="15998" y="10251"/>
                  <a:pt x="16093" y="10517"/>
                  <a:pt x="16160" y="10810"/>
                </a:cubicBezTo>
                <a:lnTo>
                  <a:pt x="16658" y="11082"/>
                </a:lnTo>
                <a:lnTo>
                  <a:pt x="16895" y="10959"/>
                </a:lnTo>
                <a:lnTo>
                  <a:pt x="17018" y="10515"/>
                </a:lnTo>
                <a:lnTo>
                  <a:pt x="16294" y="9855"/>
                </a:lnTo>
                <a:lnTo>
                  <a:pt x="16103" y="9419"/>
                </a:lnTo>
                <a:lnTo>
                  <a:pt x="15695" y="8999"/>
                </a:lnTo>
                <a:lnTo>
                  <a:pt x="15487" y="8406"/>
                </a:lnTo>
                <a:lnTo>
                  <a:pt x="15870" y="8134"/>
                </a:lnTo>
                <a:lnTo>
                  <a:pt x="16533" y="8547"/>
                </a:lnTo>
                <a:cubicBezTo>
                  <a:pt x="16596" y="8499"/>
                  <a:pt x="16659" y="8450"/>
                  <a:pt x="16721" y="8398"/>
                </a:cubicBezTo>
                <a:cubicBezTo>
                  <a:pt x="16929" y="8224"/>
                  <a:pt x="17132" y="8026"/>
                  <a:pt x="17328" y="7805"/>
                </a:cubicBezTo>
                <a:lnTo>
                  <a:pt x="17788" y="7319"/>
                </a:lnTo>
                <a:lnTo>
                  <a:pt x="18210" y="6429"/>
                </a:lnTo>
                <a:lnTo>
                  <a:pt x="18235" y="5884"/>
                </a:lnTo>
                <a:cubicBezTo>
                  <a:pt x="18303" y="5655"/>
                  <a:pt x="18399" y="5463"/>
                  <a:pt x="18515" y="5325"/>
                </a:cubicBezTo>
                <a:cubicBezTo>
                  <a:pt x="18632" y="5186"/>
                  <a:pt x="18765" y="5106"/>
                  <a:pt x="18902" y="5094"/>
                </a:cubicBezTo>
                <a:lnTo>
                  <a:pt x="18902" y="4509"/>
                </a:lnTo>
                <a:lnTo>
                  <a:pt x="18817" y="4263"/>
                </a:lnTo>
                <a:lnTo>
                  <a:pt x="18746" y="3869"/>
                </a:lnTo>
                <a:lnTo>
                  <a:pt x="18880" y="3190"/>
                </a:lnTo>
                <a:lnTo>
                  <a:pt x="19186" y="2499"/>
                </a:lnTo>
                <a:lnTo>
                  <a:pt x="19696" y="2178"/>
                </a:lnTo>
                <a:lnTo>
                  <a:pt x="20121" y="2202"/>
                </a:lnTo>
                <a:lnTo>
                  <a:pt x="20414" y="1856"/>
                </a:lnTo>
                <a:lnTo>
                  <a:pt x="21001" y="1881"/>
                </a:lnTo>
                <a:cubicBezTo>
                  <a:pt x="21065" y="1886"/>
                  <a:pt x="21130" y="1860"/>
                  <a:pt x="21188" y="1807"/>
                </a:cubicBezTo>
                <a:cubicBezTo>
                  <a:pt x="21269" y="1732"/>
                  <a:pt x="21335" y="1607"/>
                  <a:pt x="21375" y="1452"/>
                </a:cubicBezTo>
                <a:lnTo>
                  <a:pt x="21591" y="1348"/>
                </a:lnTo>
                <a:lnTo>
                  <a:pt x="21600" y="1011"/>
                </a:lnTo>
                <a:lnTo>
                  <a:pt x="21150" y="975"/>
                </a:lnTo>
                <a:cubicBezTo>
                  <a:pt x="20995" y="1003"/>
                  <a:pt x="20843" y="1062"/>
                  <a:pt x="20694" y="1151"/>
                </a:cubicBezTo>
                <a:cubicBezTo>
                  <a:pt x="20557" y="1233"/>
                  <a:pt x="20423" y="1342"/>
                  <a:pt x="20282" y="1390"/>
                </a:cubicBezTo>
                <a:cubicBezTo>
                  <a:pt x="20093" y="1454"/>
                  <a:pt x="19900" y="1411"/>
                  <a:pt x="19724" y="1265"/>
                </a:cubicBezTo>
                <a:cubicBezTo>
                  <a:pt x="19577" y="1262"/>
                  <a:pt x="19430" y="1212"/>
                  <a:pt x="19291" y="1117"/>
                </a:cubicBezTo>
                <a:cubicBezTo>
                  <a:pt x="19095" y="983"/>
                  <a:pt x="18917" y="763"/>
                  <a:pt x="18772" y="474"/>
                </a:cubicBezTo>
                <a:lnTo>
                  <a:pt x="18083" y="0"/>
                </a:lnTo>
                <a:lnTo>
                  <a:pt x="16508" y="3"/>
                </a:lnTo>
                <a:lnTo>
                  <a:pt x="15693" y="275"/>
                </a:lnTo>
                <a:lnTo>
                  <a:pt x="14944" y="531"/>
                </a:lnTo>
                <a:lnTo>
                  <a:pt x="14463" y="291"/>
                </a:lnTo>
                <a:lnTo>
                  <a:pt x="13875" y="143"/>
                </a:lnTo>
                <a:lnTo>
                  <a:pt x="13340" y="291"/>
                </a:lnTo>
                <a:lnTo>
                  <a:pt x="12195" y="653"/>
                </a:lnTo>
                <a:lnTo>
                  <a:pt x="10633" y="1133"/>
                </a:lnTo>
                <a:lnTo>
                  <a:pt x="9702" y="1133"/>
                </a:lnTo>
                <a:lnTo>
                  <a:pt x="8978" y="1388"/>
                </a:lnTo>
                <a:lnTo>
                  <a:pt x="8396" y="1388"/>
                </a:lnTo>
                <a:lnTo>
                  <a:pt x="7809" y="1141"/>
                </a:lnTo>
                <a:lnTo>
                  <a:pt x="7009" y="1092"/>
                </a:lnTo>
                <a:lnTo>
                  <a:pt x="6559" y="1002"/>
                </a:lnTo>
                <a:lnTo>
                  <a:pt x="5776" y="1002"/>
                </a:lnTo>
                <a:lnTo>
                  <a:pt x="5285" y="1142"/>
                </a:lnTo>
                <a:lnTo>
                  <a:pt x="4570" y="159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6" name="íšļiḓè">
            <a:extLst>
              <a:ext uri="{FF2B5EF4-FFF2-40B4-BE49-F238E27FC236}">
                <a16:creationId xmlns:a16="http://schemas.microsoft.com/office/drawing/2014/main" id="{FD6D08E9-D3A5-407A-939F-5645A6B288A1}"/>
              </a:ext>
            </a:extLst>
          </p:cNvPr>
          <p:cNvSpPr/>
          <p:nvPr/>
        </p:nvSpPr>
        <p:spPr>
          <a:xfrm>
            <a:off x="3729187" y="1674307"/>
            <a:ext cx="480258" cy="3337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021" y="593"/>
                </a:moveTo>
                <a:lnTo>
                  <a:pt x="7339" y="943"/>
                </a:lnTo>
                <a:lnTo>
                  <a:pt x="6138" y="1776"/>
                </a:lnTo>
                <a:lnTo>
                  <a:pt x="5808" y="2763"/>
                </a:lnTo>
                <a:lnTo>
                  <a:pt x="5092" y="3323"/>
                </a:lnTo>
                <a:cubicBezTo>
                  <a:pt x="4981" y="3552"/>
                  <a:pt x="4794" y="3681"/>
                  <a:pt x="4600" y="3663"/>
                </a:cubicBezTo>
                <a:cubicBezTo>
                  <a:pt x="4347" y="3639"/>
                  <a:pt x="4136" y="3380"/>
                  <a:pt x="4082" y="3027"/>
                </a:cubicBezTo>
                <a:lnTo>
                  <a:pt x="4399" y="1979"/>
                </a:lnTo>
                <a:lnTo>
                  <a:pt x="5690" y="798"/>
                </a:lnTo>
                <a:lnTo>
                  <a:pt x="5100" y="0"/>
                </a:lnTo>
                <a:cubicBezTo>
                  <a:pt x="4899" y="133"/>
                  <a:pt x="4693" y="250"/>
                  <a:pt x="4483" y="350"/>
                </a:cubicBezTo>
                <a:cubicBezTo>
                  <a:pt x="4069" y="547"/>
                  <a:pt x="3640" y="676"/>
                  <a:pt x="3206" y="735"/>
                </a:cubicBezTo>
                <a:lnTo>
                  <a:pt x="2729" y="1223"/>
                </a:lnTo>
                <a:lnTo>
                  <a:pt x="1867" y="1975"/>
                </a:lnTo>
                <a:lnTo>
                  <a:pt x="1287" y="3024"/>
                </a:lnTo>
                <a:lnTo>
                  <a:pt x="765" y="3246"/>
                </a:lnTo>
                <a:lnTo>
                  <a:pt x="240" y="4131"/>
                </a:lnTo>
                <a:lnTo>
                  <a:pt x="0" y="4706"/>
                </a:lnTo>
                <a:lnTo>
                  <a:pt x="488" y="5355"/>
                </a:lnTo>
                <a:lnTo>
                  <a:pt x="1157" y="5843"/>
                </a:lnTo>
                <a:lnTo>
                  <a:pt x="1737" y="6153"/>
                </a:lnTo>
                <a:lnTo>
                  <a:pt x="2377" y="6286"/>
                </a:lnTo>
                <a:lnTo>
                  <a:pt x="3276" y="6064"/>
                </a:lnTo>
                <a:lnTo>
                  <a:pt x="4259" y="5754"/>
                </a:lnTo>
                <a:lnTo>
                  <a:pt x="5354" y="6094"/>
                </a:lnTo>
                <a:lnTo>
                  <a:pt x="6511" y="6183"/>
                </a:lnTo>
                <a:lnTo>
                  <a:pt x="7184" y="6626"/>
                </a:lnTo>
                <a:cubicBezTo>
                  <a:pt x="7405" y="6541"/>
                  <a:pt x="7623" y="6437"/>
                  <a:pt x="7835" y="6316"/>
                </a:cubicBezTo>
                <a:cubicBezTo>
                  <a:pt x="8220" y="6096"/>
                  <a:pt x="8587" y="5819"/>
                  <a:pt x="8931" y="5490"/>
                </a:cubicBezTo>
                <a:lnTo>
                  <a:pt x="9355" y="5312"/>
                </a:lnTo>
                <a:lnTo>
                  <a:pt x="9932" y="5575"/>
                </a:lnTo>
                <a:lnTo>
                  <a:pt x="10644" y="6240"/>
                </a:lnTo>
                <a:lnTo>
                  <a:pt x="11141" y="6846"/>
                </a:lnTo>
                <a:lnTo>
                  <a:pt x="12060" y="7539"/>
                </a:lnTo>
                <a:lnTo>
                  <a:pt x="12619" y="8736"/>
                </a:lnTo>
                <a:lnTo>
                  <a:pt x="13095" y="10006"/>
                </a:lnTo>
                <a:lnTo>
                  <a:pt x="13435" y="11054"/>
                </a:lnTo>
                <a:lnTo>
                  <a:pt x="14056" y="11586"/>
                </a:lnTo>
                <a:lnTo>
                  <a:pt x="14914" y="12148"/>
                </a:lnTo>
                <a:lnTo>
                  <a:pt x="14833" y="12869"/>
                </a:lnTo>
                <a:lnTo>
                  <a:pt x="14379" y="13177"/>
                </a:lnTo>
                <a:lnTo>
                  <a:pt x="13740" y="13602"/>
                </a:lnTo>
                <a:lnTo>
                  <a:pt x="12986" y="13647"/>
                </a:lnTo>
                <a:lnTo>
                  <a:pt x="12638" y="13264"/>
                </a:lnTo>
                <a:lnTo>
                  <a:pt x="11587" y="13042"/>
                </a:lnTo>
                <a:lnTo>
                  <a:pt x="10513" y="13484"/>
                </a:lnTo>
                <a:lnTo>
                  <a:pt x="9841" y="14502"/>
                </a:lnTo>
                <a:lnTo>
                  <a:pt x="9564" y="15162"/>
                </a:lnTo>
                <a:lnTo>
                  <a:pt x="9078" y="15545"/>
                </a:lnTo>
                <a:lnTo>
                  <a:pt x="7809" y="15678"/>
                </a:lnTo>
                <a:lnTo>
                  <a:pt x="6983" y="15367"/>
                </a:lnTo>
                <a:lnTo>
                  <a:pt x="6084" y="15147"/>
                </a:lnTo>
                <a:lnTo>
                  <a:pt x="5096" y="15369"/>
                </a:lnTo>
                <a:lnTo>
                  <a:pt x="4413" y="16019"/>
                </a:lnTo>
                <a:lnTo>
                  <a:pt x="5045" y="16668"/>
                </a:lnTo>
                <a:lnTo>
                  <a:pt x="6285" y="16934"/>
                </a:lnTo>
                <a:lnTo>
                  <a:pt x="7287" y="16420"/>
                </a:lnTo>
                <a:lnTo>
                  <a:pt x="8059" y="16243"/>
                </a:lnTo>
                <a:lnTo>
                  <a:pt x="9091" y="16300"/>
                </a:lnTo>
                <a:lnTo>
                  <a:pt x="9462" y="16921"/>
                </a:lnTo>
                <a:lnTo>
                  <a:pt x="9564" y="17355"/>
                </a:lnTo>
                <a:lnTo>
                  <a:pt x="9891" y="18150"/>
                </a:lnTo>
                <a:lnTo>
                  <a:pt x="10014" y="18797"/>
                </a:lnTo>
                <a:lnTo>
                  <a:pt x="10439" y="19327"/>
                </a:lnTo>
                <a:lnTo>
                  <a:pt x="10902" y="19443"/>
                </a:lnTo>
                <a:lnTo>
                  <a:pt x="12019" y="20417"/>
                </a:lnTo>
                <a:lnTo>
                  <a:pt x="12722" y="21245"/>
                </a:lnTo>
                <a:lnTo>
                  <a:pt x="14241" y="21600"/>
                </a:lnTo>
                <a:lnTo>
                  <a:pt x="14643" y="21336"/>
                </a:lnTo>
                <a:lnTo>
                  <a:pt x="15294" y="20804"/>
                </a:lnTo>
                <a:cubicBezTo>
                  <a:pt x="15170" y="20619"/>
                  <a:pt x="15023" y="20469"/>
                  <a:pt x="14861" y="20360"/>
                </a:cubicBezTo>
                <a:cubicBezTo>
                  <a:pt x="14623" y="20200"/>
                  <a:pt x="14358" y="20132"/>
                  <a:pt x="14128" y="19948"/>
                </a:cubicBezTo>
                <a:cubicBezTo>
                  <a:pt x="13879" y="19749"/>
                  <a:pt x="13688" y="19429"/>
                  <a:pt x="13590" y="19046"/>
                </a:cubicBezTo>
                <a:lnTo>
                  <a:pt x="13158" y="18532"/>
                </a:lnTo>
                <a:lnTo>
                  <a:pt x="13427" y="18017"/>
                </a:lnTo>
                <a:lnTo>
                  <a:pt x="14110" y="18105"/>
                </a:lnTo>
                <a:lnTo>
                  <a:pt x="14793" y="18460"/>
                </a:lnTo>
                <a:lnTo>
                  <a:pt x="15377" y="18697"/>
                </a:lnTo>
                <a:lnTo>
                  <a:pt x="15778" y="19005"/>
                </a:lnTo>
                <a:lnTo>
                  <a:pt x="16295" y="19094"/>
                </a:lnTo>
                <a:lnTo>
                  <a:pt x="16532" y="18785"/>
                </a:lnTo>
                <a:lnTo>
                  <a:pt x="16863" y="17974"/>
                </a:lnTo>
                <a:lnTo>
                  <a:pt x="16832" y="16720"/>
                </a:lnTo>
                <a:lnTo>
                  <a:pt x="16410" y="15436"/>
                </a:lnTo>
                <a:lnTo>
                  <a:pt x="16038" y="14519"/>
                </a:lnTo>
                <a:lnTo>
                  <a:pt x="16348" y="13987"/>
                </a:lnTo>
                <a:lnTo>
                  <a:pt x="17092" y="13263"/>
                </a:lnTo>
                <a:lnTo>
                  <a:pt x="17959" y="13751"/>
                </a:lnTo>
                <a:cubicBezTo>
                  <a:pt x="18224" y="13919"/>
                  <a:pt x="18489" y="14087"/>
                  <a:pt x="18755" y="14253"/>
                </a:cubicBezTo>
                <a:cubicBezTo>
                  <a:pt x="19010" y="14412"/>
                  <a:pt x="19265" y="14570"/>
                  <a:pt x="19521" y="14726"/>
                </a:cubicBezTo>
                <a:lnTo>
                  <a:pt x="20059" y="14800"/>
                </a:lnTo>
                <a:cubicBezTo>
                  <a:pt x="20261" y="14738"/>
                  <a:pt x="20456" y="14633"/>
                  <a:pt x="20638" y="14490"/>
                </a:cubicBezTo>
                <a:cubicBezTo>
                  <a:pt x="21053" y="14162"/>
                  <a:pt x="21380" y="13647"/>
                  <a:pt x="21569" y="13026"/>
                </a:cubicBezTo>
                <a:lnTo>
                  <a:pt x="21600" y="12364"/>
                </a:lnTo>
                <a:lnTo>
                  <a:pt x="20876" y="11537"/>
                </a:lnTo>
                <a:lnTo>
                  <a:pt x="20172" y="11271"/>
                </a:lnTo>
                <a:cubicBezTo>
                  <a:pt x="19977" y="10989"/>
                  <a:pt x="19782" y="10709"/>
                  <a:pt x="19585" y="10430"/>
                </a:cubicBezTo>
                <a:cubicBezTo>
                  <a:pt x="19314" y="10044"/>
                  <a:pt x="19041" y="9659"/>
                  <a:pt x="18768" y="9277"/>
                </a:cubicBezTo>
                <a:lnTo>
                  <a:pt x="18552" y="8352"/>
                </a:lnTo>
                <a:lnTo>
                  <a:pt x="18707" y="7850"/>
                </a:lnTo>
                <a:lnTo>
                  <a:pt x="18707" y="7053"/>
                </a:lnTo>
                <a:lnTo>
                  <a:pt x="18460" y="6506"/>
                </a:lnTo>
                <a:lnTo>
                  <a:pt x="17665" y="6018"/>
                </a:lnTo>
                <a:lnTo>
                  <a:pt x="16139" y="5357"/>
                </a:lnTo>
                <a:lnTo>
                  <a:pt x="15519" y="4734"/>
                </a:lnTo>
                <a:lnTo>
                  <a:pt x="14962" y="3542"/>
                </a:lnTo>
                <a:lnTo>
                  <a:pt x="14662" y="2965"/>
                </a:lnTo>
                <a:lnTo>
                  <a:pt x="14176" y="2226"/>
                </a:lnTo>
                <a:lnTo>
                  <a:pt x="13369" y="2581"/>
                </a:lnTo>
                <a:lnTo>
                  <a:pt x="12408" y="3126"/>
                </a:lnTo>
                <a:lnTo>
                  <a:pt x="11913" y="2771"/>
                </a:lnTo>
                <a:cubicBezTo>
                  <a:pt x="11698" y="2567"/>
                  <a:pt x="11484" y="2360"/>
                  <a:pt x="11271" y="2150"/>
                </a:cubicBezTo>
                <a:cubicBezTo>
                  <a:pt x="11036" y="1918"/>
                  <a:pt x="10801" y="1682"/>
                  <a:pt x="10569" y="1443"/>
                </a:cubicBezTo>
                <a:lnTo>
                  <a:pt x="9607" y="777"/>
                </a:lnTo>
                <a:lnTo>
                  <a:pt x="9009" y="497"/>
                </a:lnTo>
                <a:lnTo>
                  <a:pt x="8021" y="59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/>
            <a:endParaRPr/>
          </a:p>
        </p:txBody>
      </p:sp>
      <p:sp>
        <p:nvSpPr>
          <p:cNvPr id="37" name="ïṡḷíḑê">
            <a:extLst>
              <a:ext uri="{FF2B5EF4-FFF2-40B4-BE49-F238E27FC236}">
                <a16:creationId xmlns:a16="http://schemas.microsoft.com/office/drawing/2014/main" id="{3197C980-7401-4F47-A21E-498412C7A806}"/>
              </a:ext>
            </a:extLst>
          </p:cNvPr>
          <p:cNvSpPr/>
          <p:nvPr/>
        </p:nvSpPr>
        <p:spPr>
          <a:xfrm>
            <a:off x="3628156" y="1909627"/>
            <a:ext cx="121512" cy="57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86" h="21600" extrusionOk="0">
                <a:moveTo>
                  <a:pt x="14288" y="2825"/>
                </a:moveTo>
                <a:lnTo>
                  <a:pt x="10337" y="0"/>
                </a:lnTo>
                <a:lnTo>
                  <a:pt x="6944" y="635"/>
                </a:lnTo>
                <a:lnTo>
                  <a:pt x="4261" y="5531"/>
                </a:lnTo>
                <a:lnTo>
                  <a:pt x="923" y="10880"/>
                </a:lnTo>
                <a:lnTo>
                  <a:pt x="0" y="13544"/>
                </a:lnTo>
                <a:lnTo>
                  <a:pt x="505" y="17480"/>
                </a:lnTo>
                <a:lnTo>
                  <a:pt x="3926" y="18763"/>
                </a:lnTo>
                <a:lnTo>
                  <a:pt x="6234" y="16694"/>
                </a:lnTo>
                <a:lnTo>
                  <a:pt x="9366" y="14882"/>
                </a:lnTo>
                <a:cubicBezTo>
                  <a:pt x="10482" y="14254"/>
                  <a:pt x="11657" y="14254"/>
                  <a:pt x="12773" y="14882"/>
                </a:cubicBezTo>
                <a:cubicBezTo>
                  <a:pt x="14008" y="15576"/>
                  <a:pt x="15124" y="17010"/>
                  <a:pt x="15986" y="19012"/>
                </a:cubicBezTo>
                <a:lnTo>
                  <a:pt x="19647" y="21600"/>
                </a:lnTo>
                <a:cubicBezTo>
                  <a:pt x="20643" y="20974"/>
                  <a:pt x="21364" y="19135"/>
                  <a:pt x="21472" y="16942"/>
                </a:cubicBezTo>
                <a:cubicBezTo>
                  <a:pt x="21600" y="14339"/>
                  <a:pt x="20855" y="11900"/>
                  <a:pt x="19682" y="11085"/>
                </a:cubicBezTo>
                <a:lnTo>
                  <a:pt x="16154" y="7063"/>
                </a:lnTo>
                <a:lnTo>
                  <a:pt x="14288" y="282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8" name="ïšļîḍé">
            <a:extLst>
              <a:ext uri="{FF2B5EF4-FFF2-40B4-BE49-F238E27FC236}">
                <a16:creationId xmlns:a16="http://schemas.microsoft.com/office/drawing/2014/main" id="{A0CF4F92-43EB-4137-9177-7874407D8224}"/>
              </a:ext>
            </a:extLst>
          </p:cNvPr>
          <p:cNvSpPr/>
          <p:nvPr/>
        </p:nvSpPr>
        <p:spPr>
          <a:xfrm>
            <a:off x="4017364" y="2341871"/>
            <a:ext cx="173290" cy="1378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617" y="713"/>
                </a:moveTo>
                <a:lnTo>
                  <a:pt x="12158" y="1430"/>
                </a:lnTo>
                <a:lnTo>
                  <a:pt x="10460" y="3510"/>
                </a:lnTo>
                <a:lnTo>
                  <a:pt x="9735" y="5219"/>
                </a:lnTo>
                <a:lnTo>
                  <a:pt x="8711" y="7368"/>
                </a:lnTo>
                <a:lnTo>
                  <a:pt x="6506" y="9587"/>
                </a:lnTo>
                <a:lnTo>
                  <a:pt x="4116" y="10124"/>
                </a:lnTo>
                <a:lnTo>
                  <a:pt x="3238" y="12590"/>
                </a:lnTo>
                <a:lnTo>
                  <a:pt x="2264" y="14703"/>
                </a:lnTo>
                <a:lnTo>
                  <a:pt x="112" y="15347"/>
                </a:lnTo>
                <a:lnTo>
                  <a:pt x="0" y="16883"/>
                </a:lnTo>
                <a:lnTo>
                  <a:pt x="2956" y="16668"/>
                </a:lnTo>
                <a:lnTo>
                  <a:pt x="4669" y="16668"/>
                </a:lnTo>
                <a:lnTo>
                  <a:pt x="6963" y="17384"/>
                </a:lnTo>
                <a:lnTo>
                  <a:pt x="8339" y="17778"/>
                </a:lnTo>
                <a:lnTo>
                  <a:pt x="7794" y="19707"/>
                </a:lnTo>
                <a:lnTo>
                  <a:pt x="8250" y="21600"/>
                </a:lnTo>
                <a:lnTo>
                  <a:pt x="9877" y="20459"/>
                </a:lnTo>
                <a:lnTo>
                  <a:pt x="9307" y="17997"/>
                </a:lnTo>
                <a:lnTo>
                  <a:pt x="11744" y="17389"/>
                </a:lnTo>
                <a:lnTo>
                  <a:pt x="13751" y="17389"/>
                </a:lnTo>
                <a:lnTo>
                  <a:pt x="15873" y="16529"/>
                </a:lnTo>
                <a:lnTo>
                  <a:pt x="18822" y="16207"/>
                </a:lnTo>
                <a:lnTo>
                  <a:pt x="20342" y="15240"/>
                </a:lnTo>
                <a:lnTo>
                  <a:pt x="21600" y="14632"/>
                </a:lnTo>
                <a:lnTo>
                  <a:pt x="18847" y="11235"/>
                </a:lnTo>
                <a:lnTo>
                  <a:pt x="17711" y="9945"/>
                </a:lnTo>
                <a:lnTo>
                  <a:pt x="15740" y="9095"/>
                </a:lnTo>
                <a:lnTo>
                  <a:pt x="13625" y="8379"/>
                </a:lnTo>
                <a:lnTo>
                  <a:pt x="12948" y="7206"/>
                </a:lnTo>
                <a:cubicBezTo>
                  <a:pt x="12674" y="6625"/>
                  <a:pt x="12582" y="5938"/>
                  <a:pt x="12690" y="5277"/>
                </a:cubicBezTo>
                <a:cubicBezTo>
                  <a:pt x="12841" y="4349"/>
                  <a:pt x="13359" y="3580"/>
                  <a:pt x="14066" y="3237"/>
                </a:cubicBezTo>
                <a:cubicBezTo>
                  <a:pt x="14497" y="2942"/>
                  <a:pt x="14876" y="2541"/>
                  <a:pt x="15181" y="2059"/>
                </a:cubicBezTo>
                <a:cubicBezTo>
                  <a:pt x="15444" y="1642"/>
                  <a:pt x="15646" y="1171"/>
                  <a:pt x="15779" y="667"/>
                </a:cubicBezTo>
                <a:lnTo>
                  <a:pt x="15098" y="0"/>
                </a:lnTo>
                <a:lnTo>
                  <a:pt x="13617" y="71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39" name="îŝļïdé">
            <a:extLst>
              <a:ext uri="{FF2B5EF4-FFF2-40B4-BE49-F238E27FC236}">
                <a16:creationId xmlns:a16="http://schemas.microsoft.com/office/drawing/2014/main" id="{E5D16D57-4AAA-4D45-B582-5146A6D10CB6}"/>
              </a:ext>
            </a:extLst>
          </p:cNvPr>
          <p:cNvSpPr/>
          <p:nvPr/>
        </p:nvSpPr>
        <p:spPr>
          <a:xfrm>
            <a:off x="3696675" y="2918396"/>
            <a:ext cx="39002" cy="285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449" y="0"/>
                </a:moveTo>
                <a:lnTo>
                  <a:pt x="4511" y="2596"/>
                </a:lnTo>
                <a:lnTo>
                  <a:pt x="0" y="15912"/>
                </a:lnTo>
                <a:lnTo>
                  <a:pt x="12679" y="21600"/>
                </a:lnTo>
                <a:lnTo>
                  <a:pt x="21600" y="12688"/>
                </a:lnTo>
                <a:lnTo>
                  <a:pt x="944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0" name="ï$lîḍè">
            <a:extLst>
              <a:ext uri="{FF2B5EF4-FFF2-40B4-BE49-F238E27FC236}">
                <a16:creationId xmlns:a16="http://schemas.microsoft.com/office/drawing/2014/main" id="{97AADEBB-86ED-44F6-8D6B-1A1788B98FCC}"/>
              </a:ext>
            </a:extLst>
          </p:cNvPr>
          <p:cNvSpPr/>
          <p:nvPr/>
        </p:nvSpPr>
        <p:spPr>
          <a:xfrm>
            <a:off x="3043644" y="3252113"/>
            <a:ext cx="303961" cy="1087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4" extrusionOk="0">
                <a:moveTo>
                  <a:pt x="6693" y="0"/>
                </a:moveTo>
                <a:lnTo>
                  <a:pt x="3994" y="298"/>
                </a:lnTo>
                <a:lnTo>
                  <a:pt x="1905" y="1849"/>
                </a:lnTo>
                <a:lnTo>
                  <a:pt x="0" y="4685"/>
                </a:lnTo>
                <a:lnTo>
                  <a:pt x="3" y="8050"/>
                </a:lnTo>
                <a:lnTo>
                  <a:pt x="2136" y="6609"/>
                </a:lnTo>
                <a:lnTo>
                  <a:pt x="5761" y="4730"/>
                </a:lnTo>
                <a:lnTo>
                  <a:pt x="7958" y="6075"/>
                </a:lnTo>
                <a:lnTo>
                  <a:pt x="10066" y="8095"/>
                </a:lnTo>
                <a:lnTo>
                  <a:pt x="12698" y="10886"/>
                </a:lnTo>
                <a:lnTo>
                  <a:pt x="13431" y="13491"/>
                </a:lnTo>
                <a:lnTo>
                  <a:pt x="13576" y="16728"/>
                </a:lnTo>
                <a:lnTo>
                  <a:pt x="13202" y="18838"/>
                </a:lnTo>
                <a:lnTo>
                  <a:pt x="14379" y="19732"/>
                </a:lnTo>
                <a:lnTo>
                  <a:pt x="15587" y="19372"/>
                </a:lnTo>
                <a:lnTo>
                  <a:pt x="17041" y="19372"/>
                </a:lnTo>
                <a:lnTo>
                  <a:pt x="17973" y="20722"/>
                </a:lnTo>
                <a:cubicBezTo>
                  <a:pt x="18362" y="21404"/>
                  <a:pt x="18837" y="21600"/>
                  <a:pt x="19281" y="21263"/>
                </a:cubicBezTo>
                <a:cubicBezTo>
                  <a:pt x="19538" y="21068"/>
                  <a:pt x="19773" y="20698"/>
                  <a:pt x="19965" y="20188"/>
                </a:cubicBezTo>
                <a:lnTo>
                  <a:pt x="20995" y="19018"/>
                </a:lnTo>
                <a:lnTo>
                  <a:pt x="21584" y="18883"/>
                </a:lnTo>
                <a:lnTo>
                  <a:pt x="21600" y="16502"/>
                </a:lnTo>
                <a:lnTo>
                  <a:pt x="20145" y="14116"/>
                </a:lnTo>
                <a:cubicBezTo>
                  <a:pt x="19497" y="13439"/>
                  <a:pt x="18849" y="12764"/>
                  <a:pt x="18200" y="12091"/>
                </a:cubicBezTo>
                <a:cubicBezTo>
                  <a:pt x="17606" y="11474"/>
                  <a:pt x="17013" y="10859"/>
                  <a:pt x="16418" y="10245"/>
                </a:cubicBezTo>
                <a:lnTo>
                  <a:pt x="14034" y="5974"/>
                </a:lnTo>
                <a:lnTo>
                  <a:pt x="11880" y="2378"/>
                </a:lnTo>
                <a:lnTo>
                  <a:pt x="9839" y="1348"/>
                </a:lnTo>
                <a:lnTo>
                  <a:pt x="8476" y="678"/>
                </a:lnTo>
                <a:lnTo>
                  <a:pt x="6693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1" name="iṡľïďê">
            <a:extLst>
              <a:ext uri="{FF2B5EF4-FFF2-40B4-BE49-F238E27FC236}">
                <a16:creationId xmlns:a16="http://schemas.microsoft.com/office/drawing/2014/main" id="{626493F0-8377-44CB-A4AD-CD13378A3649}"/>
              </a:ext>
            </a:extLst>
          </p:cNvPr>
          <p:cNvSpPr/>
          <p:nvPr/>
        </p:nvSpPr>
        <p:spPr>
          <a:xfrm>
            <a:off x="3308511" y="3362165"/>
            <a:ext cx="201238" cy="629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21" extrusionOk="0">
                <a:moveTo>
                  <a:pt x="8080" y="2346"/>
                </a:moveTo>
                <a:lnTo>
                  <a:pt x="7608" y="5248"/>
                </a:lnTo>
                <a:lnTo>
                  <a:pt x="9192" y="9941"/>
                </a:lnTo>
                <a:lnTo>
                  <a:pt x="8133" y="13268"/>
                </a:lnTo>
                <a:lnTo>
                  <a:pt x="6167" y="13491"/>
                </a:lnTo>
                <a:cubicBezTo>
                  <a:pt x="5337" y="12924"/>
                  <a:pt x="4494" y="12536"/>
                  <a:pt x="3646" y="12331"/>
                </a:cubicBezTo>
                <a:cubicBezTo>
                  <a:pt x="2705" y="12103"/>
                  <a:pt x="1759" y="12099"/>
                  <a:pt x="817" y="12321"/>
                </a:cubicBezTo>
                <a:lnTo>
                  <a:pt x="0" y="15310"/>
                </a:lnTo>
                <a:lnTo>
                  <a:pt x="1925" y="18019"/>
                </a:lnTo>
                <a:lnTo>
                  <a:pt x="4070" y="18251"/>
                </a:lnTo>
                <a:lnTo>
                  <a:pt x="5845" y="19877"/>
                </a:lnTo>
                <a:lnTo>
                  <a:pt x="7598" y="18329"/>
                </a:lnTo>
                <a:lnTo>
                  <a:pt x="9746" y="17400"/>
                </a:lnTo>
                <a:cubicBezTo>
                  <a:pt x="10130" y="18713"/>
                  <a:pt x="10602" y="19744"/>
                  <a:pt x="11128" y="20417"/>
                </a:cubicBezTo>
                <a:cubicBezTo>
                  <a:pt x="11927" y="21440"/>
                  <a:pt x="12812" y="21600"/>
                  <a:pt x="13644" y="20872"/>
                </a:cubicBezTo>
                <a:cubicBezTo>
                  <a:pt x="14104" y="19420"/>
                  <a:pt x="14627" y="18174"/>
                  <a:pt x="15196" y="17168"/>
                </a:cubicBezTo>
                <a:cubicBezTo>
                  <a:pt x="15866" y="15984"/>
                  <a:pt x="16591" y="15148"/>
                  <a:pt x="17341" y="14614"/>
                </a:cubicBezTo>
                <a:cubicBezTo>
                  <a:pt x="18005" y="14141"/>
                  <a:pt x="18684" y="13907"/>
                  <a:pt x="19365" y="13918"/>
                </a:cubicBezTo>
                <a:lnTo>
                  <a:pt x="20717" y="13841"/>
                </a:lnTo>
                <a:lnTo>
                  <a:pt x="21600" y="12215"/>
                </a:lnTo>
                <a:lnTo>
                  <a:pt x="21378" y="8984"/>
                </a:lnTo>
                <a:lnTo>
                  <a:pt x="19406" y="7282"/>
                </a:lnTo>
                <a:lnTo>
                  <a:pt x="18248" y="4350"/>
                </a:lnTo>
                <a:lnTo>
                  <a:pt x="15434" y="1333"/>
                </a:lnTo>
                <a:lnTo>
                  <a:pt x="12671" y="459"/>
                </a:lnTo>
                <a:lnTo>
                  <a:pt x="10801" y="0"/>
                </a:lnTo>
                <a:lnTo>
                  <a:pt x="9496" y="697"/>
                </a:lnTo>
                <a:lnTo>
                  <a:pt x="8080" y="234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2" name="íṥļiḓê">
            <a:extLst>
              <a:ext uri="{FF2B5EF4-FFF2-40B4-BE49-F238E27FC236}">
                <a16:creationId xmlns:a16="http://schemas.microsoft.com/office/drawing/2014/main" id="{36F87688-D685-4940-9DBB-A7687C4B5535}"/>
              </a:ext>
            </a:extLst>
          </p:cNvPr>
          <p:cNvSpPr/>
          <p:nvPr/>
        </p:nvSpPr>
        <p:spPr>
          <a:xfrm>
            <a:off x="3200317" y="3399389"/>
            <a:ext cx="65852" cy="277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60" y="778"/>
                </a:moveTo>
                <a:lnTo>
                  <a:pt x="5952" y="0"/>
                </a:lnTo>
                <a:lnTo>
                  <a:pt x="0" y="4529"/>
                </a:lnTo>
                <a:lnTo>
                  <a:pt x="4023" y="14144"/>
                </a:lnTo>
                <a:lnTo>
                  <a:pt x="9924" y="18396"/>
                </a:lnTo>
                <a:lnTo>
                  <a:pt x="16715" y="21600"/>
                </a:lnTo>
                <a:lnTo>
                  <a:pt x="21157" y="18240"/>
                </a:lnTo>
                <a:lnTo>
                  <a:pt x="21600" y="11139"/>
                </a:lnTo>
                <a:lnTo>
                  <a:pt x="17129" y="5862"/>
                </a:lnTo>
                <a:lnTo>
                  <a:pt x="14054" y="2835"/>
                </a:lnTo>
                <a:lnTo>
                  <a:pt x="9960" y="77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3" name="iś1ïḓê">
            <a:extLst>
              <a:ext uri="{FF2B5EF4-FFF2-40B4-BE49-F238E27FC236}">
                <a16:creationId xmlns:a16="http://schemas.microsoft.com/office/drawing/2014/main" id="{EF7CD58A-4A21-4488-96DC-824B6FCD2EB2}"/>
              </a:ext>
            </a:extLst>
          </p:cNvPr>
          <p:cNvSpPr/>
          <p:nvPr/>
        </p:nvSpPr>
        <p:spPr>
          <a:xfrm>
            <a:off x="3540459" y="3398416"/>
            <a:ext cx="50741" cy="266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17" y="0"/>
                </a:moveTo>
                <a:lnTo>
                  <a:pt x="6904" y="785"/>
                </a:lnTo>
                <a:lnTo>
                  <a:pt x="2619" y="2158"/>
                </a:lnTo>
                <a:lnTo>
                  <a:pt x="0" y="9325"/>
                </a:lnTo>
                <a:lnTo>
                  <a:pt x="1145" y="14597"/>
                </a:lnTo>
                <a:cubicBezTo>
                  <a:pt x="2957" y="16107"/>
                  <a:pt x="4818" y="17397"/>
                  <a:pt x="6717" y="18458"/>
                </a:cubicBezTo>
                <a:cubicBezTo>
                  <a:pt x="9466" y="19994"/>
                  <a:pt x="12285" y="21046"/>
                  <a:pt x="15138" y="21600"/>
                </a:cubicBezTo>
                <a:lnTo>
                  <a:pt x="21600" y="11985"/>
                </a:lnTo>
                <a:lnTo>
                  <a:pt x="18686" y="4286"/>
                </a:lnTo>
                <a:lnTo>
                  <a:pt x="12717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4" name="iŝḻiḋe">
            <a:extLst>
              <a:ext uri="{FF2B5EF4-FFF2-40B4-BE49-F238E27FC236}">
                <a16:creationId xmlns:a16="http://schemas.microsoft.com/office/drawing/2014/main" id="{B4A85D52-05D2-407F-A253-5BAF647207AC}"/>
              </a:ext>
            </a:extLst>
          </p:cNvPr>
          <p:cNvSpPr/>
          <p:nvPr/>
        </p:nvSpPr>
        <p:spPr>
          <a:xfrm>
            <a:off x="3385659" y="3256446"/>
            <a:ext cx="44035" cy="26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591" y="2096"/>
                </a:moveTo>
                <a:lnTo>
                  <a:pt x="5726" y="2074"/>
                </a:lnTo>
                <a:lnTo>
                  <a:pt x="0" y="12257"/>
                </a:lnTo>
                <a:lnTo>
                  <a:pt x="3941" y="21600"/>
                </a:lnTo>
                <a:lnTo>
                  <a:pt x="9231" y="16101"/>
                </a:lnTo>
                <a:lnTo>
                  <a:pt x="15549" y="13362"/>
                </a:lnTo>
                <a:lnTo>
                  <a:pt x="21600" y="7815"/>
                </a:lnTo>
                <a:lnTo>
                  <a:pt x="20020" y="727"/>
                </a:lnTo>
                <a:lnTo>
                  <a:pt x="15874" y="0"/>
                </a:lnTo>
                <a:lnTo>
                  <a:pt x="10591" y="209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5" name="íṩḷïḍé">
            <a:extLst>
              <a:ext uri="{FF2B5EF4-FFF2-40B4-BE49-F238E27FC236}">
                <a16:creationId xmlns:a16="http://schemas.microsoft.com/office/drawing/2014/main" id="{E4980293-2703-49A4-918F-5E4A6448232F}"/>
              </a:ext>
            </a:extLst>
          </p:cNvPr>
          <p:cNvSpPr/>
          <p:nvPr/>
        </p:nvSpPr>
        <p:spPr>
          <a:xfrm>
            <a:off x="3331641" y="3283346"/>
            <a:ext cx="36169" cy="173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68" y="0"/>
                </a:moveTo>
                <a:lnTo>
                  <a:pt x="6280" y="4263"/>
                </a:lnTo>
                <a:lnTo>
                  <a:pt x="0" y="14496"/>
                </a:lnTo>
                <a:lnTo>
                  <a:pt x="4170" y="17941"/>
                </a:lnTo>
                <a:lnTo>
                  <a:pt x="13786" y="19078"/>
                </a:lnTo>
                <a:lnTo>
                  <a:pt x="21583" y="21600"/>
                </a:lnTo>
                <a:lnTo>
                  <a:pt x="21600" y="6005"/>
                </a:lnTo>
                <a:lnTo>
                  <a:pt x="1326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6" name="iśḻíḍè">
            <a:extLst>
              <a:ext uri="{FF2B5EF4-FFF2-40B4-BE49-F238E27FC236}">
                <a16:creationId xmlns:a16="http://schemas.microsoft.com/office/drawing/2014/main" id="{FFF4DC91-8DB7-47E5-A850-1DCAD76C5773}"/>
              </a:ext>
            </a:extLst>
          </p:cNvPr>
          <p:cNvSpPr/>
          <p:nvPr/>
        </p:nvSpPr>
        <p:spPr>
          <a:xfrm>
            <a:off x="3236817" y="3163620"/>
            <a:ext cx="25631" cy="476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366" y="0"/>
                </a:moveTo>
                <a:lnTo>
                  <a:pt x="15" y="2162"/>
                </a:lnTo>
                <a:lnTo>
                  <a:pt x="9987" y="9811"/>
                </a:lnTo>
                <a:lnTo>
                  <a:pt x="0" y="12733"/>
                </a:lnTo>
                <a:lnTo>
                  <a:pt x="12126" y="20150"/>
                </a:lnTo>
                <a:lnTo>
                  <a:pt x="19276" y="21600"/>
                </a:lnTo>
                <a:lnTo>
                  <a:pt x="21600" y="16009"/>
                </a:lnTo>
                <a:lnTo>
                  <a:pt x="14089" y="12940"/>
                </a:lnTo>
                <a:lnTo>
                  <a:pt x="16973" y="9329"/>
                </a:lnTo>
                <a:lnTo>
                  <a:pt x="16973" y="1873"/>
                </a:lnTo>
                <a:lnTo>
                  <a:pt x="636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7" name="íşḻïḋê">
            <a:extLst>
              <a:ext uri="{FF2B5EF4-FFF2-40B4-BE49-F238E27FC236}">
                <a16:creationId xmlns:a16="http://schemas.microsoft.com/office/drawing/2014/main" id="{3AF6646E-72C1-4717-8118-CC3884B5BF9F}"/>
              </a:ext>
            </a:extLst>
          </p:cNvPr>
          <p:cNvSpPr/>
          <p:nvPr/>
        </p:nvSpPr>
        <p:spPr>
          <a:xfrm>
            <a:off x="3238930" y="3119218"/>
            <a:ext cx="30627" cy="311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9" y="3032"/>
                </a:moveTo>
                <a:lnTo>
                  <a:pt x="13971" y="0"/>
                </a:lnTo>
                <a:lnTo>
                  <a:pt x="21600" y="3050"/>
                </a:lnTo>
                <a:lnTo>
                  <a:pt x="17401" y="7736"/>
                </a:lnTo>
                <a:lnTo>
                  <a:pt x="11620" y="11520"/>
                </a:lnTo>
                <a:lnTo>
                  <a:pt x="10649" y="17817"/>
                </a:lnTo>
                <a:lnTo>
                  <a:pt x="3854" y="21600"/>
                </a:lnTo>
                <a:lnTo>
                  <a:pt x="0" y="19243"/>
                </a:lnTo>
                <a:lnTo>
                  <a:pt x="2779" y="14669"/>
                </a:lnTo>
                <a:lnTo>
                  <a:pt x="6081" y="9182"/>
                </a:lnTo>
                <a:lnTo>
                  <a:pt x="2939" y="303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8" name="iṩḻïḓê">
            <a:extLst>
              <a:ext uri="{FF2B5EF4-FFF2-40B4-BE49-F238E27FC236}">
                <a16:creationId xmlns:a16="http://schemas.microsoft.com/office/drawing/2014/main" id="{A0592B38-B4A2-4E84-83C9-5B12AF4FC165}"/>
              </a:ext>
            </a:extLst>
          </p:cNvPr>
          <p:cNvSpPr/>
          <p:nvPr/>
        </p:nvSpPr>
        <p:spPr>
          <a:xfrm>
            <a:off x="3280408" y="3120646"/>
            <a:ext cx="22822" cy="328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70" y="0"/>
                </a:moveTo>
                <a:lnTo>
                  <a:pt x="14242" y="3737"/>
                </a:lnTo>
                <a:lnTo>
                  <a:pt x="21600" y="9259"/>
                </a:lnTo>
                <a:lnTo>
                  <a:pt x="18987" y="16321"/>
                </a:lnTo>
                <a:lnTo>
                  <a:pt x="8344" y="21600"/>
                </a:lnTo>
                <a:lnTo>
                  <a:pt x="5690" y="16490"/>
                </a:lnTo>
                <a:lnTo>
                  <a:pt x="2563" y="11082"/>
                </a:lnTo>
                <a:lnTo>
                  <a:pt x="0" y="2684"/>
                </a:lnTo>
                <a:lnTo>
                  <a:pt x="907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9" name="îṧľíḍê">
            <a:extLst>
              <a:ext uri="{FF2B5EF4-FFF2-40B4-BE49-F238E27FC236}">
                <a16:creationId xmlns:a16="http://schemas.microsoft.com/office/drawing/2014/main" id="{FDA120B8-7CE2-417E-AE1A-FF235DAA0F78}"/>
              </a:ext>
            </a:extLst>
          </p:cNvPr>
          <p:cNvSpPr/>
          <p:nvPr/>
        </p:nvSpPr>
        <p:spPr>
          <a:xfrm>
            <a:off x="3259045" y="3157633"/>
            <a:ext cx="26154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041" y="0"/>
                </a:moveTo>
                <a:lnTo>
                  <a:pt x="13043" y="2762"/>
                </a:lnTo>
                <a:lnTo>
                  <a:pt x="21600" y="12283"/>
                </a:lnTo>
                <a:lnTo>
                  <a:pt x="16470" y="21600"/>
                </a:lnTo>
                <a:lnTo>
                  <a:pt x="5285" y="18232"/>
                </a:lnTo>
                <a:lnTo>
                  <a:pt x="0" y="10410"/>
                </a:lnTo>
                <a:lnTo>
                  <a:pt x="604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0" name="îş1íḍè">
            <a:extLst>
              <a:ext uri="{FF2B5EF4-FFF2-40B4-BE49-F238E27FC236}">
                <a16:creationId xmlns:a16="http://schemas.microsoft.com/office/drawing/2014/main" id="{10BC79B5-4A08-4699-AEB0-D295070F6AB5}"/>
              </a:ext>
            </a:extLst>
          </p:cNvPr>
          <p:cNvSpPr/>
          <p:nvPr/>
        </p:nvSpPr>
        <p:spPr>
          <a:xfrm>
            <a:off x="3322247" y="3202704"/>
            <a:ext cx="14800" cy="224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4" y="0"/>
                </a:moveTo>
                <a:lnTo>
                  <a:pt x="0" y="5659"/>
                </a:lnTo>
                <a:lnTo>
                  <a:pt x="2963" y="18412"/>
                </a:lnTo>
                <a:lnTo>
                  <a:pt x="21600" y="21600"/>
                </a:lnTo>
                <a:lnTo>
                  <a:pt x="21600" y="6494"/>
                </a:lnTo>
                <a:lnTo>
                  <a:pt x="1170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1" name="iṩ1iďé">
            <a:extLst>
              <a:ext uri="{FF2B5EF4-FFF2-40B4-BE49-F238E27FC236}">
                <a16:creationId xmlns:a16="http://schemas.microsoft.com/office/drawing/2014/main" id="{3EF3D12F-CA87-4190-A1A8-210A9EF0F1B8}"/>
              </a:ext>
            </a:extLst>
          </p:cNvPr>
          <p:cNvSpPr/>
          <p:nvPr/>
        </p:nvSpPr>
        <p:spPr>
          <a:xfrm>
            <a:off x="3326170" y="3238539"/>
            <a:ext cx="22627" cy="148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41" y="1756"/>
                </a:moveTo>
                <a:lnTo>
                  <a:pt x="5869" y="0"/>
                </a:lnTo>
                <a:lnTo>
                  <a:pt x="0" y="5101"/>
                </a:lnTo>
                <a:lnTo>
                  <a:pt x="11023" y="21600"/>
                </a:lnTo>
                <a:lnTo>
                  <a:pt x="21600" y="19642"/>
                </a:lnTo>
                <a:lnTo>
                  <a:pt x="17341" y="175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2" name="ïšḻïḑê">
            <a:extLst>
              <a:ext uri="{FF2B5EF4-FFF2-40B4-BE49-F238E27FC236}">
                <a16:creationId xmlns:a16="http://schemas.microsoft.com/office/drawing/2014/main" id="{322D0EDC-53B4-4826-BB1D-6D1E4C71AAF0}"/>
              </a:ext>
            </a:extLst>
          </p:cNvPr>
          <p:cNvSpPr/>
          <p:nvPr/>
        </p:nvSpPr>
        <p:spPr>
          <a:xfrm>
            <a:off x="3101120" y="3360870"/>
            <a:ext cx="28669" cy="191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640" y="1640"/>
                </a:moveTo>
                <a:lnTo>
                  <a:pt x="0" y="7796"/>
                </a:lnTo>
                <a:lnTo>
                  <a:pt x="2602" y="18763"/>
                </a:lnTo>
                <a:lnTo>
                  <a:pt x="14365" y="21600"/>
                </a:lnTo>
                <a:lnTo>
                  <a:pt x="21600" y="10799"/>
                </a:lnTo>
                <a:lnTo>
                  <a:pt x="12284" y="0"/>
                </a:lnTo>
                <a:lnTo>
                  <a:pt x="3640" y="164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3" name="ïśľïdê">
            <a:extLst>
              <a:ext uri="{FF2B5EF4-FFF2-40B4-BE49-F238E27FC236}">
                <a16:creationId xmlns:a16="http://schemas.microsoft.com/office/drawing/2014/main" id="{485D0B75-485F-4FE1-B498-9431CF5154ED}"/>
              </a:ext>
            </a:extLst>
          </p:cNvPr>
          <p:cNvSpPr/>
          <p:nvPr/>
        </p:nvSpPr>
        <p:spPr>
          <a:xfrm>
            <a:off x="3606707" y="3392617"/>
            <a:ext cx="30414" cy="184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908" y="0"/>
                </a:moveTo>
                <a:lnTo>
                  <a:pt x="4923" y="5629"/>
                </a:lnTo>
                <a:lnTo>
                  <a:pt x="0" y="15233"/>
                </a:lnTo>
                <a:lnTo>
                  <a:pt x="11838" y="21600"/>
                </a:lnTo>
                <a:lnTo>
                  <a:pt x="21600" y="13561"/>
                </a:lnTo>
                <a:lnTo>
                  <a:pt x="1390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4" name="iŝḷïḋé">
            <a:extLst>
              <a:ext uri="{FF2B5EF4-FFF2-40B4-BE49-F238E27FC236}">
                <a16:creationId xmlns:a16="http://schemas.microsoft.com/office/drawing/2014/main" id="{9A2D3694-FF89-4722-9265-F2C221598F9C}"/>
              </a:ext>
            </a:extLst>
          </p:cNvPr>
          <p:cNvSpPr/>
          <p:nvPr/>
        </p:nvSpPr>
        <p:spPr>
          <a:xfrm>
            <a:off x="3595285" y="3421173"/>
            <a:ext cx="25741" cy="172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31" y="0"/>
                </a:moveTo>
                <a:lnTo>
                  <a:pt x="0" y="4044"/>
                </a:lnTo>
                <a:lnTo>
                  <a:pt x="1813" y="14722"/>
                </a:lnTo>
                <a:lnTo>
                  <a:pt x="18125" y="21600"/>
                </a:lnTo>
                <a:lnTo>
                  <a:pt x="21600" y="6160"/>
                </a:lnTo>
                <a:lnTo>
                  <a:pt x="963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5" name="išḻiḓè">
            <a:extLst>
              <a:ext uri="{FF2B5EF4-FFF2-40B4-BE49-F238E27FC236}">
                <a16:creationId xmlns:a16="http://schemas.microsoft.com/office/drawing/2014/main" id="{237F7788-A507-4088-B050-92FFF3DB7BF7}"/>
              </a:ext>
            </a:extLst>
          </p:cNvPr>
          <p:cNvSpPr/>
          <p:nvPr/>
        </p:nvSpPr>
        <p:spPr>
          <a:xfrm>
            <a:off x="3651082" y="3441185"/>
            <a:ext cx="32415" cy="207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23" y="6376"/>
                </a:moveTo>
                <a:lnTo>
                  <a:pt x="4204" y="0"/>
                </a:lnTo>
                <a:lnTo>
                  <a:pt x="0" y="8047"/>
                </a:lnTo>
                <a:lnTo>
                  <a:pt x="10142" y="21600"/>
                </a:lnTo>
                <a:lnTo>
                  <a:pt x="18861" y="21123"/>
                </a:lnTo>
                <a:lnTo>
                  <a:pt x="21600" y="13528"/>
                </a:lnTo>
                <a:lnTo>
                  <a:pt x="16408" y="10012"/>
                </a:lnTo>
                <a:lnTo>
                  <a:pt x="11523" y="637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6" name="išľîḓê">
            <a:extLst>
              <a:ext uri="{FF2B5EF4-FFF2-40B4-BE49-F238E27FC236}">
                <a16:creationId xmlns:a16="http://schemas.microsoft.com/office/drawing/2014/main" id="{D1050C10-E35F-4D56-86C6-73A1E336BC7D}"/>
              </a:ext>
            </a:extLst>
          </p:cNvPr>
          <p:cNvSpPr/>
          <p:nvPr/>
        </p:nvSpPr>
        <p:spPr>
          <a:xfrm>
            <a:off x="3688099" y="3425223"/>
            <a:ext cx="20159" cy="212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6" y="0"/>
                </a:moveTo>
                <a:lnTo>
                  <a:pt x="20027" y="3450"/>
                </a:lnTo>
                <a:lnTo>
                  <a:pt x="21600" y="15366"/>
                </a:lnTo>
                <a:lnTo>
                  <a:pt x="15221" y="21600"/>
                </a:lnTo>
                <a:lnTo>
                  <a:pt x="10567" y="15424"/>
                </a:lnTo>
                <a:lnTo>
                  <a:pt x="0" y="9425"/>
                </a:lnTo>
                <a:lnTo>
                  <a:pt x="662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7" name="ïşľíďê">
            <a:extLst>
              <a:ext uri="{FF2B5EF4-FFF2-40B4-BE49-F238E27FC236}">
                <a16:creationId xmlns:a16="http://schemas.microsoft.com/office/drawing/2014/main" id="{E51BDE7D-C434-421B-B257-7C0DD56B8040}"/>
              </a:ext>
            </a:extLst>
          </p:cNvPr>
          <p:cNvSpPr/>
          <p:nvPr/>
        </p:nvSpPr>
        <p:spPr>
          <a:xfrm>
            <a:off x="3645190" y="3398909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4009"/>
                </a:lnTo>
                <a:lnTo>
                  <a:pt x="4094" y="21600"/>
                </a:lnTo>
                <a:lnTo>
                  <a:pt x="19333" y="19457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8" name="ïṧlîḋe">
            <a:extLst>
              <a:ext uri="{FF2B5EF4-FFF2-40B4-BE49-F238E27FC236}">
                <a16:creationId xmlns:a16="http://schemas.microsoft.com/office/drawing/2014/main" id="{A322107B-28FD-456E-BC14-A5080DD59755}"/>
              </a:ext>
            </a:extLst>
          </p:cNvPr>
          <p:cNvSpPr/>
          <p:nvPr/>
        </p:nvSpPr>
        <p:spPr>
          <a:xfrm>
            <a:off x="3721651" y="3427133"/>
            <a:ext cx="22810" cy="215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58" y="0"/>
                </a:moveTo>
                <a:lnTo>
                  <a:pt x="0" y="6332"/>
                </a:lnTo>
                <a:lnTo>
                  <a:pt x="2862" y="20225"/>
                </a:lnTo>
                <a:lnTo>
                  <a:pt x="16398" y="21600"/>
                </a:lnTo>
                <a:lnTo>
                  <a:pt x="21600" y="13406"/>
                </a:lnTo>
                <a:lnTo>
                  <a:pt x="12259" y="9052"/>
                </a:lnTo>
                <a:lnTo>
                  <a:pt x="465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59" name="íṥḷíḋê">
            <a:extLst>
              <a:ext uri="{FF2B5EF4-FFF2-40B4-BE49-F238E27FC236}">
                <a16:creationId xmlns:a16="http://schemas.microsoft.com/office/drawing/2014/main" id="{15F08879-FB1D-4C34-BBAE-F73C3EFC2A7A}"/>
              </a:ext>
            </a:extLst>
          </p:cNvPr>
          <p:cNvSpPr/>
          <p:nvPr/>
        </p:nvSpPr>
        <p:spPr>
          <a:xfrm>
            <a:off x="3697422" y="3461955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99" y="0"/>
                </a:moveTo>
                <a:lnTo>
                  <a:pt x="0" y="5671"/>
                </a:lnTo>
                <a:lnTo>
                  <a:pt x="2675" y="21600"/>
                </a:lnTo>
                <a:lnTo>
                  <a:pt x="21600" y="16063"/>
                </a:lnTo>
                <a:lnTo>
                  <a:pt x="1239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0" name="îS1íďe">
            <a:extLst>
              <a:ext uri="{FF2B5EF4-FFF2-40B4-BE49-F238E27FC236}">
                <a16:creationId xmlns:a16="http://schemas.microsoft.com/office/drawing/2014/main" id="{31C598ED-538A-46B7-BA62-A7E343CE52F8}"/>
              </a:ext>
            </a:extLst>
          </p:cNvPr>
          <p:cNvSpPr/>
          <p:nvPr/>
        </p:nvSpPr>
        <p:spPr>
          <a:xfrm>
            <a:off x="3724823" y="3463548"/>
            <a:ext cx="18841" cy="304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91" y="1945"/>
                </a:moveTo>
                <a:lnTo>
                  <a:pt x="1244" y="7766"/>
                </a:lnTo>
                <a:lnTo>
                  <a:pt x="0" y="16103"/>
                </a:lnTo>
                <a:lnTo>
                  <a:pt x="7919" y="21600"/>
                </a:lnTo>
                <a:lnTo>
                  <a:pt x="15566" y="13365"/>
                </a:lnTo>
                <a:lnTo>
                  <a:pt x="21600" y="6755"/>
                </a:lnTo>
                <a:lnTo>
                  <a:pt x="18962" y="0"/>
                </a:lnTo>
                <a:lnTo>
                  <a:pt x="5991" y="194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1" name="îŝ1îḑé">
            <a:extLst>
              <a:ext uri="{FF2B5EF4-FFF2-40B4-BE49-F238E27FC236}">
                <a16:creationId xmlns:a16="http://schemas.microsoft.com/office/drawing/2014/main" id="{CAA0B831-94E8-4AA9-A51A-D0EEF7A60623}"/>
              </a:ext>
            </a:extLst>
          </p:cNvPr>
          <p:cNvSpPr/>
          <p:nvPr/>
        </p:nvSpPr>
        <p:spPr>
          <a:xfrm>
            <a:off x="3735339" y="3498947"/>
            <a:ext cx="16786" cy="15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69" y="0"/>
                </a:moveTo>
                <a:lnTo>
                  <a:pt x="4293" y="1913"/>
                </a:lnTo>
                <a:lnTo>
                  <a:pt x="0" y="13206"/>
                </a:lnTo>
                <a:lnTo>
                  <a:pt x="8574" y="21600"/>
                </a:lnTo>
                <a:lnTo>
                  <a:pt x="21600" y="15041"/>
                </a:lnTo>
                <a:lnTo>
                  <a:pt x="1446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2" name="íṩļîde">
            <a:extLst>
              <a:ext uri="{FF2B5EF4-FFF2-40B4-BE49-F238E27FC236}">
                <a16:creationId xmlns:a16="http://schemas.microsoft.com/office/drawing/2014/main" id="{9A966074-C5D1-4227-A845-ADC3D38EC0B4}"/>
              </a:ext>
            </a:extLst>
          </p:cNvPr>
          <p:cNvSpPr/>
          <p:nvPr/>
        </p:nvSpPr>
        <p:spPr>
          <a:xfrm>
            <a:off x="3477776" y="3588865"/>
            <a:ext cx="22454" cy="310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948" y="0"/>
                </a:moveTo>
                <a:lnTo>
                  <a:pt x="0" y="7133"/>
                </a:lnTo>
                <a:lnTo>
                  <a:pt x="2568" y="12598"/>
                </a:lnTo>
                <a:lnTo>
                  <a:pt x="10534" y="21600"/>
                </a:lnTo>
                <a:lnTo>
                  <a:pt x="21600" y="16991"/>
                </a:lnTo>
                <a:lnTo>
                  <a:pt x="13411" y="4789"/>
                </a:lnTo>
                <a:lnTo>
                  <a:pt x="594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3" name="íṧḷïdè">
            <a:extLst>
              <a:ext uri="{FF2B5EF4-FFF2-40B4-BE49-F238E27FC236}">
                <a16:creationId xmlns:a16="http://schemas.microsoft.com/office/drawing/2014/main" id="{9B5587EF-B59C-445C-BC1E-D90A18453688}"/>
              </a:ext>
            </a:extLst>
          </p:cNvPr>
          <p:cNvSpPr/>
          <p:nvPr/>
        </p:nvSpPr>
        <p:spPr>
          <a:xfrm>
            <a:off x="3443417" y="3587067"/>
            <a:ext cx="15876" cy="267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385" y="0"/>
                </a:moveTo>
                <a:lnTo>
                  <a:pt x="0" y="5129"/>
                </a:lnTo>
                <a:lnTo>
                  <a:pt x="434" y="19428"/>
                </a:lnTo>
                <a:lnTo>
                  <a:pt x="19135" y="21600"/>
                </a:lnTo>
                <a:lnTo>
                  <a:pt x="21600" y="14762"/>
                </a:lnTo>
                <a:lnTo>
                  <a:pt x="16043" y="5916"/>
                </a:lnTo>
                <a:lnTo>
                  <a:pt x="2385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4" name="íṣļîḓè">
            <a:extLst>
              <a:ext uri="{FF2B5EF4-FFF2-40B4-BE49-F238E27FC236}">
                <a16:creationId xmlns:a16="http://schemas.microsoft.com/office/drawing/2014/main" id="{1E1C3DC2-2230-4FBE-B66F-0C57390024B0}"/>
              </a:ext>
            </a:extLst>
          </p:cNvPr>
          <p:cNvSpPr/>
          <p:nvPr/>
        </p:nvSpPr>
        <p:spPr>
          <a:xfrm>
            <a:off x="3746927" y="3527508"/>
            <a:ext cx="18148" cy="169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114" y="0"/>
                </a:moveTo>
                <a:lnTo>
                  <a:pt x="0" y="7264"/>
                </a:lnTo>
                <a:lnTo>
                  <a:pt x="3469" y="21600"/>
                </a:lnTo>
                <a:lnTo>
                  <a:pt x="16705" y="21600"/>
                </a:lnTo>
                <a:lnTo>
                  <a:pt x="21600" y="6746"/>
                </a:lnTo>
                <a:lnTo>
                  <a:pt x="811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5" name="îṧļîďé">
            <a:extLst>
              <a:ext uri="{FF2B5EF4-FFF2-40B4-BE49-F238E27FC236}">
                <a16:creationId xmlns:a16="http://schemas.microsoft.com/office/drawing/2014/main" id="{F6A64679-9588-45AB-B298-BFB3C624CDC7}"/>
              </a:ext>
            </a:extLst>
          </p:cNvPr>
          <p:cNvSpPr/>
          <p:nvPr/>
        </p:nvSpPr>
        <p:spPr>
          <a:xfrm>
            <a:off x="3726953" y="3554606"/>
            <a:ext cx="14800" cy="214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562" y="0"/>
                </a:moveTo>
                <a:lnTo>
                  <a:pt x="0" y="10629"/>
                </a:lnTo>
                <a:lnTo>
                  <a:pt x="15829" y="21600"/>
                </a:lnTo>
                <a:lnTo>
                  <a:pt x="21600" y="10397"/>
                </a:lnTo>
                <a:lnTo>
                  <a:pt x="7562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6" name="îṩ1íḑe">
            <a:extLst>
              <a:ext uri="{FF2B5EF4-FFF2-40B4-BE49-F238E27FC236}">
                <a16:creationId xmlns:a16="http://schemas.microsoft.com/office/drawing/2014/main" id="{5A5F1C22-CA3D-4A7B-9127-007A7985BB0D}"/>
              </a:ext>
            </a:extLst>
          </p:cNvPr>
          <p:cNvSpPr/>
          <p:nvPr/>
        </p:nvSpPr>
        <p:spPr>
          <a:xfrm>
            <a:off x="3714321" y="3581992"/>
            <a:ext cx="14800" cy="16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327" y="736"/>
                </a:moveTo>
                <a:lnTo>
                  <a:pt x="0" y="9568"/>
                </a:lnTo>
                <a:lnTo>
                  <a:pt x="5961" y="21600"/>
                </a:lnTo>
                <a:lnTo>
                  <a:pt x="20526" y="21266"/>
                </a:lnTo>
                <a:lnTo>
                  <a:pt x="21600" y="0"/>
                </a:lnTo>
                <a:lnTo>
                  <a:pt x="5327" y="73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7" name="îṡlîdê">
            <a:extLst>
              <a:ext uri="{FF2B5EF4-FFF2-40B4-BE49-F238E27FC236}">
                <a16:creationId xmlns:a16="http://schemas.microsoft.com/office/drawing/2014/main" id="{B8C14BCC-585A-43F6-B75B-50F6CAC2D37E}"/>
              </a:ext>
            </a:extLst>
          </p:cNvPr>
          <p:cNvSpPr/>
          <p:nvPr/>
        </p:nvSpPr>
        <p:spPr>
          <a:xfrm>
            <a:off x="3696101" y="3613770"/>
            <a:ext cx="14800" cy="199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27" y="0"/>
                </a:moveTo>
                <a:lnTo>
                  <a:pt x="0" y="9654"/>
                </a:lnTo>
                <a:lnTo>
                  <a:pt x="3308" y="20145"/>
                </a:lnTo>
                <a:lnTo>
                  <a:pt x="16235" y="21600"/>
                </a:lnTo>
                <a:lnTo>
                  <a:pt x="21600" y="6811"/>
                </a:lnTo>
                <a:lnTo>
                  <a:pt x="11127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8" name="îŝľîďè">
            <a:extLst>
              <a:ext uri="{FF2B5EF4-FFF2-40B4-BE49-F238E27FC236}">
                <a16:creationId xmlns:a16="http://schemas.microsoft.com/office/drawing/2014/main" id="{AB629BFF-6B0E-4BC3-80C8-EE4CAD19EEFC}"/>
              </a:ext>
            </a:extLst>
          </p:cNvPr>
          <p:cNvSpPr/>
          <p:nvPr/>
        </p:nvSpPr>
        <p:spPr>
          <a:xfrm>
            <a:off x="3683955" y="3659568"/>
            <a:ext cx="35430" cy="348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904" y="867"/>
                </a:moveTo>
                <a:lnTo>
                  <a:pt x="8331" y="0"/>
                </a:lnTo>
                <a:lnTo>
                  <a:pt x="2816" y="2733"/>
                </a:lnTo>
                <a:lnTo>
                  <a:pt x="6666" y="6397"/>
                </a:lnTo>
                <a:lnTo>
                  <a:pt x="2928" y="11440"/>
                </a:lnTo>
                <a:lnTo>
                  <a:pt x="0" y="16520"/>
                </a:lnTo>
                <a:lnTo>
                  <a:pt x="4665" y="21600"/>
                </a:lnTo>
                <a:lnTo>
                  <a:pt x="15744" y="21600"/>
                </a:lnTo>
                <a:lnTo>
                  <a:pt x="16989" y="14679"/>
                </a:lnTo>
                <a:lnTo>
                  <a:pt x="17830" y="9194"/>
                </a:lnTo>
                <a:lnTo>
                  <a:pt x="21600" y="3831"/>
                </a:lnTo>
                <a:lnTo>
                  <a:pt x="19513" y="592"/>
                </a:lnTo>
                <a:lnTo>
                  <a:pt x="14904" y="867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9" name="ïŝ1îďè">
            <a:extLst>
              <a:ext uri="{FF2B5EF4-FFF2-40B4-BE49-F238E27FC236}">
                <a16:creationId xmlns:a16="http://schemas.microsoft.com/office/drawing/2014/main" id="{8C934D7F-C37C-495A-8334-1AA3B2E68E7F}"/>
              </a:ext>
            </a:extLst>
          </p:cNvPr>
          <p:cNvSpPr/>
          <p:nvPr/>
        </p:nvSpPr>
        <p:spPr>
          <a:xfrm>
            <a:off x="3785299" y="3571226"/>
            <a:ext cx="23258" cy="198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04" y="0"/>
                </a:moveTo>
                <a:lnTo>
                  <a:pt x="385" y="10265"/>
                </a:lnTo>
                <a:lnTo>
                  <a:pt x="0" y="20853"/>
                </a:lnTo>
                <a:lnTo>
                  <a:pt x="13483" y="21600"/>
                </a:lnTo>
                <a:lnTo>
                  <a:pt x="21600" y="18646"/>
                </a:lnTo>
                <a:lnTo>
                  <a:pt x="9663" y="9934"/>
                </a:lnTo>
                <a:lnTo>
                  <a:pt x="620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0" name="íSḻïďê">
            <a:extLst>
              <a:ext uri="{FF2B5EF4-FFF2-40B4-BE49-F238E27FC236}">
                <a16:creationId xmlns:a16="http://schemas.microsoft.com/office/drawing/2014/main" id="{8B4B97B6-6D20-4579-8FBE-2360D0EDBBC2}"/>
              </a:ext>
            </a:extLst>
          </p:cNvPr>
          <p:cNvSpPr/>
          <p:nvPr/>
        </p:nvSpPr>
        <p:spPr>
          <a:xfrm>
            <a:off x="3720980" y="3635714"/>
            <a:ext cx="19427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020" y="3205"/>
                </a:moveTo>
                <a:lnTo>
                  <a:pt x="7333" y="0"/>
                </a:lnTo>
                <a:lnTo>
                  <a:pt x="0" y="8914"/>
                </a:lnTo>
                <a:lnTo>
                  <a:pt x="4730" y="21600"/>
                </a:lnTo>
                <a:lnTo>
                  <a:pt x="21600" y="21600"/>
                </a:lnTo>
                <a:lnTo>
                  <a:pt x="17020" y="320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1" name="iŝļïdé">
            <a:extLst>
              <a:ext uri="{FF2B5EF4-FFF2-40B4-BE49-F238E27FC236}">
                <a16:creationId xmlns:a16="http://schemas.microsoft.com/office/drawing/2014/main" id="{6C993C88-2102-4482-8604-B8C2F5410272}"/>
              </a:ext>
            </a:extLst>
          </p:cNvPr>
          <p:cNvSpPr/>
          <p:nvPr/>
        </p:nvSpPr>
        <p:spPr>
          <a:xfrm>
            <a:off x="2233173" y="2352399"/>
            <a:ext cx="75269" cy="671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117" y="146"/>
                </a:moveTo>
                <a:lnTo>
                  <a:pt x="3502" y="1771"/>
                </a:lnTo>
                <a:lnTo>
                  <a:pt x="0" y="2955"/>
                </a:lnTo>
                <a:lnTo>
                  <a:pt x="708" y="6398"/>
                </a:lnTo>
                <a:lnTo>
                  <a:pt x="4312" y="9886"/>
                </a:lnTo>
                <a:lnTo>
                  <a:pt x="5691" y="13614"/>
                </a:lnTo>
                <a:lnTo>
                  <a:pt x="8851" y="16257"/>
                </a:lnTo>
                <a:lnTo>
                  <a:pt x="10889" y="16698"/>
                </a:lnTo>
                <a:lnTo>
                  <a:pt x="13588" y="19994"/>
                </a:lnTo>
                <a:lnTo>
                  <a:pt x="16096" y="21600"/>
                </a:lnTo>
                <a:lnTo>
                  <a:pt x="19232" y="21600"/>
                </a:lnTo>
                <a:lnTo>
                  <a:pt x="21394" y="20279"/>
                </a:lnTo>
                <a:lnTo>
                  <a:pt x="21600" y="17056"/>
                </a:lnTo>
                <a:lnTo>
                  <a:pt x="19554" y="13017"/>
                </a:lnTo>
                <a:lnTo>
                  <a:pt x="19158" y="10006"/>
                </a:lnTo>
                <a:lnTo>
                  <a:pt x="17375" y="5389"/>
                </a:lnTo>
                <a:lnTo>
                  <a:pt x="14075" y="5389"/>
                </a:lnTo>
                <a:lnTo>
                  <a:pt x="11979" y="3782"/>
                </a:lnTo>
                <a:lnTo>
                  <a:pt x="10857" y="1891"/>
                </a:lnTo>
                <a:lnTo>
                  <a:pt x="8909" y="0"/>
                </a:lnTo>
                <a:lnTo>
                  <a:pt x="6117" y="14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2" name="işlîḋé">
            <a:extLst>
              <a:ext uri="{FF2B5EF4-FFF2-40B4-BE49-F238E27FC236}">
                <a16:creationId xmlns:a16="http://schemas.microsoft.com/office/drawing/2014/main" id="{6B72B374-A2FD-4719-BBDF-91410F5FF3BF}"/>
              </a:ext>
            </a:extLst>
          </p:cNvPr>
          <p:cNvSpPr/>
          <p:nvPr/>
        </p:nvSpPr>
        <p:spPr>
          <a:xfrm>
            <a:off x="2230819" y="2182688"/>
            <a:ext cx="40010" cy="44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60" y="0"/>
                </a:moveTo>
                <a:lnTo>
                  <a:pt x="9924" y="1900"/>
                </a:lnTo>
                <a:lnTo>
                  <a:pt x="4018" y="6719"/>
                </a:lnTo>
                <a:lnTo>
                  <a:pt x="0" y="11386"/>
                </a:lnTo>
                <a:lnTo>
                  <a:pt x="7069" y="14725"/>
                </a:lnTo>
                <a:lnTo>
                  <a:pt x="9537" y="18288"/>
                </a:lnTo>
                <a:lnTo>
                  <a:pt x="13341" y="21600"/>
                </a:lnTo>
                <a:lnTo>
                  <a:pt x="16742" y="19182"/>
                </a:lnTo>
                <a:lnTo>
                  <a:pt x="14522" y="13942"/>
                </a:lnTo>
                <a:lnTo>
                  <a:pt x="18621" y="10604"/>
                </a:lnTo>
                <a:lnTo>
                  <a:pt x="21600" y="4903"/>
                </a:lnTo>
                <a:lnTo>
                  <a:pt x="1646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3" name="íşľîde">
            <a:extLst>
              <a:ext uri="{FF2B5EF4-FFF2-40B4-BE49-F238E27FC236}">
                <a16:creationId xmlns:a16="http://schemas.microsoft.com/office/drawing/2014/main" id="{E2AAC76B-B5B1-4D57-A3EF-93F89D7219E3}"/>
              </a:ext>
            </a:extLst>
          </p:cNvPr>
          <p:cNvSpPr/>
          <p:nvPr/>
        </p:nvSpPr>
        <p:spPr>
          <a:xfrm>
            <a:off x="2227129" y="2132147"/>
            <a:ext cx="25385" cy="38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900" y="0"/>
                </a:moveTo>
                <a:lnTo>
                  <a:pt x="5701" y="4155"/>
                </a:lnTo>
                <a:lnTo>
                  <a:pt x="0" y="9292"/>
                </a:lnTo>
                <a:lnTo>
                  <a:pt x="3627" y="15800"/>
                </a:lnTo>
                <a:lnTo>
                  <a:pt x="11688" y="21600"/>
                </a:lnTo>
                <a:lnTo>
                  <a:pt x="13818" y="14011"/>
                </a:lnTo>
                <a:lnTo>
                  <a:pt x="14405" y="8116"/>
                </a:lnTo>
                <a:lnTo>
                  <a:pt x="21600" y="3749"/>
                </a:lnTo>
                <a:lnTo>
                  <a:pt x="1590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4" name="ïşḻiḓe">
            <a:extLst>
              <a:ext uri="{FF2B5EF4-FFF2-40B4-BE49-F238E27FC236}">
                <a16:creationId xmlns:a16="http://schemas.microsoft.com/office/drawing/2014/main" id="{D48A1463-9C01-47A0-A041-F9A2188B18D0}"/>
              </a:ext>
            </a:extLst>
          </p:cNvPr>
          <p:cNvSpPr/>
          <p:nvPr/>
        </p:nvSpPr>
        <p:spPr>
          <a:xfrm>
            <a:off x="2260537" y="2150195"/>
            <a:ext cx="14800" cy="167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929" y="0"/>
                </a:moveTo>
                <a:lnTo>
                  <a:pt x="0" y="10904"/>
                </a:lnTo>
                <a:lnTo>
                  <a:pt x="10299" y="21600"/>
                </a:lnTo>
                <a:lnTo>
                  <a:pt x="21600" y="13776"/>
                </a:lnTo>
                <a:lnTo>
                  <a:pt x="19395" y="5259"/>
                </a:lnTo>
                <a:lnTo>
                  <a:pt x="692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5" name="îşľïďé">
            <a:extLst>
              <a:ext uri="{FF2B5EF4-FFF2-40B4-BE49-F238E27FC236}">
                <a16:creationId xmlns:a16="http://schemas.microsoft.com/office/drawing/2014/main" id="{1D140F43-044D-4D17-BD0D-3A68A805F7E3}"/>
              </a:ext>
            </a:extLst>
          </p:cNvPr>
          <p:cNvSpPr/>
          <p:nvPr/>
        </p:nvSpPr>
        <p:spPr>
          <a:xfrm>
            <a:off x="1753884" y="2120318"/>
            <a:ext cx="82595" cy="388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537" y="2831"/>
                </a:moveTo>
                <a:lnTo>
                  <a:pt x="10161" y="8024"/>
                </a:lnTo>
                <a:lnTo>
                  <a:pt x="5271" y="9340"/>
                </a:lnTo>
                <a:lnTo>
                  <a:pt x="1171" y="14295"/>
                </a:lnTo>
                <a:lnTo>
                  <a:pt x="0" y="19330"/>
                </a:lnTo>
                <a:lnTo>
                  <a:pt x="3343" y="21600"/>
                </a:lnTo>
                <a:lnTo>
                  <a:pt x="5268" y="16011"/>
                </a:lnTo>
                <a:lnTo>
                  <a:pt x="8817" y="15249"/>
                </a:lnTo>
                <a:lnTo>
                  <a:pt x="11276" y="14486"/>
                </a:lnTo>
                <a:lnTo>
                  <a:pt x="14517" y="13724"/>
                </a:lnTo>
                <a:lnTo>
                  <a:pt x="18179" y="13089"/>
                </a:lnTo>
                <a:lnTo>
                  <a:pt x="21239" y="5467"/>
                </a:lnTo>
                <a:lnTo>
                  <a:pt x="21600" y="162"/>
                </a:lnTo>
                <a:lnTo>
                  <a:pt x="19638" y="0"/>
                </a:lnTo>
                <a:lnTo>
                  <a:pt x="17537" y="2831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6" name="íşľíḍè">
            <a:extLst>
              <a:ext uri="{FF2B5EF4-FFF2-40B4-BE49-F238E27FC236}">
                <a16:creationId xmlns:a16="http://schemas.microsoft.com/office/drawing/2014/main" id="{1BA6E7DE-1CB8-457B-9737-C8EF8316FEB7}"/>
              </a:ext>
            </a:extLst>
          </p:cNvPr>
          <p:cNvSpPr/>
          <p:nvPr/>
        </p:nvSpPr>
        <p:spPr>
          <a:xfrm>
            <a:off x="3094062" y="3609856"/>
            <a:ext cx="1425515" cy="21408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9" y="1016"/>
                </a:moveTo>
                <a:lnTo>
                  <a:pt x="1153" y="974"/>
                </a:lnTo>
                <a:lnTo>
                  <a:pt x="1415" y="1017"/>
                </a:lnTo>
                <a:lnTo>
                  <a:pt x="1706" y="1125"/>
                </a:lnTo>
                <a:lnTo>
                  <a:pt x="1964" y="1238"/>
                </a:lnTo>
                <a:lnTo>
                  <a:pt x="2173" y="1355"/>
                </a:lnTo>
                <a:lnTo>
                  <a:pt x="2350" y="1292"/>
                </a:lnTo>
                <a:lnTo>
                  <a:pt x="2416" y="1193"/>
                </a:lnTo>
                <a:lnTo>
                  <a:pt x="2643" y="1138"/>
                </a:lnTo>
                <a:lnTo>
                  <a:pt x="2768" y="931"/>
                </a:lnTo>
                <a:lnTo>
                  <a:pt x="2901" y="758"/>
                </a:lnTo>
                <a:lnTo>
                  <a:pt x="3075" y="584"/>
                </a:lnTo>
                <a:lnTo>
                  <a:pt x="3218" y="492"/>
                </a:lnTo>
                <a:lnTo>
                  <a:pt x="3455" y="405"/>
                </a:lnTo>
                <a:lnTo>
                  <a:pt x="3796" y="405"/>
                </a:lnTo>
                <a:lnTo>
                  <a:pt x="4006" y="344"/>
                </a:lnTo>
                <a:lnTo>
                  <a:pt x="4155" y="198"/>
                </a:lnTo>
                <a:lnTo>
                  <a:pt x="4308" y="101"/>
                </a:lnTo>
                <a:lnTo>
                  <a:pt x="4423" y="34"/>
                </a:lnTo>
                <a:lnTo>
                  <a:pt x="4684" y="0"/>
                </a:lnTo>
                <a:lnTo>
                  <a:pt x="4809" y="15"/>
                </a:lnTo>
                <a:lnTo>
                  <a:pt x="4798" y="104"/>
                </a:lnTo>
                <a:lnTo>
                  <a:pt x="4656" y="173"/>
                </a:lnTo>
                <a:lnTo>
                  <a:pt x="4518" y="268"/>
                </a:lnTo>
                <a:lnTo>
                  <a:pt x="4466" y="385"/>
                </a:lnTo>
                <a:lnTo>
                  <a:pt x="4483" y="636"/>
                </a:lnTo>
                <a:lnTo>
                  <a:pt x="4421" y="753"/>
                </a:lnTo>
                <a:lnTo>
                  <a:pt x="4365" y="838"/>
                </a:lnTo>
                <a:lnTo>
                  <a:pt x="4375" y="962"/>
                </a:lnTo>
                <a:lnTo>
                  <a:pt x="4434" y="1080"/>
                </a:lnTo>
                <a:lnTo>
                  <a:pt x="4626" y="1121"/>
                </a:lnTo>
                <a:lnTo>
                  <a:pt x="4821" y="1077"/>
                </a:lnTo>
                <a:lnTo>
                  <a:pt x="4911" y="964"/>
                </a:lnTo>
                <a:lnTo>
                  <a:pt x="5012" y="863"/>
                </a:lnTo>
                <a:lnTo>
                  <a:pt x="5002" y="773"/>
                </a:lnTo>
                <a:lnTo>
                  <a:pt x="4888" y="691"/>
                </a:lnTo>
                <a:lnTo>
                  <a:pt x="4815" y="594"/>
                </a:lnTo>
                <a:cubicBezTo>
                  <a:pt x="4810" y="569"/>
                  <a:pt x="4818" y="543"/>
                  <a:pt x="4835" y="521"/>
                </a:cubicBezTo>
                <a:cubicBezTo>
                  <a:pt x="4864" y="484"/>
                  <a:pt x="4917" y="459"/>
                  <a:pt x="4977" y="452"/>
                </a:cubicBezTo>
                <a:lnTo>
                  <a:pt x="5179" y="365"/>
                </a:lnTo>
                <a:lnTo>
                  <a:pt x="5325" y="234"/>
                </a:lnTo>
                <a:lnTo>
                  <a:pt x="5398" y="181"/>
                </a:lnTo>
                <a:lnTo>
                  <a:pt x="5513" y="174"/>
                </a:lnTo>
                <a:lnTo>
                  <a:pt x="5658" y="180"/>
                </a:lnTo>
                <a:lnTo>
                  <a:pt x="5845" y="279"/>
                </a:lnTo>
                <a:lnTo>
                  <a:pt x="6023" y="369"/>
                </a:lnTo>
                <a:lnTo>
                  <a:pt x="6158" y="486"/>
                </a:lnTo>
                <a:lnTo>
                  <a:pt x="6252" y="563"/>
                </a:lnTo>
                <a:lnTo>
                  <a:pt x="6423" y="602"/>
                </a:lnTo>
                <a:lnTo>
                  <a:pt x="6760" y="602"/>
                </a:lnTo>
                <a:lnTo>
                  <a:pt x="6916" y="629"/>
                </a:lnTo>
                <a:lnTo>
                  <a:pt x="7159" y="658"/>
                </a:lnTo>
                <a:lnTo>
                  <a:pt x="7344" y="698"/>
                </a:lnTo>
                <a:lnTo>
                  <a:pt x="7500" y="785"/>
                </a:lnTo>
                <a:lnTo>
                  <a:pt x="7792" y="799"/>
                </a:lnTo>
                <a:lnTo>
                  <a:pt x="7945" y="725"/>
                </a:lnTo>
                <a:lnTo>
                  <a:pt x="8130" y="720"/>
                </a:lnTo>
                <a:lnTo>
                  <a:pt x="8343" y="741"/>
                </a:lnTo>
                <a:lnTo>
                  <a:pt x="8508" y="799"/>
                </a:lnTo>
                <a:lnTo>
                  <a:pt x="8764" y="882"/>
                </a:lnTo>
                <a:lnTo>
                  <a:pt x="9015" y="958"/>
                </a:lnTo>
                <a:lnTo>
                  <a:pt x="9502" y="1062"/>
                </a:lnTo>
                <a:lnTo>
                  <a:pt x="9816" y="1193"/>
                </a:lnTo>
                <a:lnTo>
                  <a:pt x="9920" y="1317"/>
                </a:lnTo>
                <a:lnTo>
                  <a:pt x="10065" y="1399"/>
                </a:lnTo>
                <a:lnTo>
                  <a:pt x="10187" y="1473"/>
                </a:lnTo>
                <a:lnTo>
                  <a:pt x="10298" y="1576"/>
                </a:lnTo>
                <a:lnTo>
                  <a:pt x="10339" y="1679"/>
                </a:lnTo>
                <a:lnTo>
                  <a:pt x="10420" y="1769"/>
                </a:lnTo>
                <a:lnTo>
                  <a:pt x="10606" y="1887"/>
                </a:lnTo>
                <a:lnTo>
                  <a:pt x="10818" y="2000"/>
                </a:lnTo>
                <a:lnTo>
                  <a:pt x="11131" y="2123"/>
                </a:lnTo>
                <a:lnTo>
                  <a:pt x="11378" y="2178"/>
                </a:lnTo>
                <a:lnTo>
                  <a:pt x="11636" y="2243"/>
                </a:lnTo>
                <a:lnTo>
                  <a:pt x="11855" y="2243"/>
                </a:lnTo>
                <a:lnTo>
                  <a:pt x="11990" y="2181"/>
                </a:lnTo>
                <a:lnTo>
                  <a:pt x="12151" y="2160"/>
                </a:lnTo>
                <a:lnTo>
                  <a:pt x="12356" y="2167"/>
                </a:lnTo>
                <a:lnTo>
                  <a:pt x="12575" y="2208"/>
                </a:lnTo>
                <a:lnTo>
                  <a:pt x="12707" y="2236"/>
                </a:lnTo>
                <a:lnTo>
                  <a:pt x="12850" y="2254"/>
                </a:lnTo>
                <a:lnTo>
                  <a:pt x="12964" y="2298"/>
                </a:lnTo>
                <a:lnTo>
                  <a:pt x="13152" y="2421"/>
                </a:lnTo>
                <a:lnTo>
                  <a:pt x="13358" y="2525"/>
                </a:lnTo>
                <a:lnTo>
                  <a:pt x="13524" y="2594"/>
                </a:lnTo>
                <a:lnTo>
                  <a:pt x="13666" y="2651"/>
                </a:lnTo>
                <a:lnTo>
                  <a:pt x="13833" y="2742"/>
                </a:lnTo>
                <a:lnTo>
                  <a:pt x="13864" y="2891"/>
                </a:lnTo>
                <a:lnTo>
                  <a:pt x="13944" y="3025"/>
                </a:lnTo>
                <a:lnTo>
                  <a:pt x="14059" y="3126"/>
                </a:lnTo>
                <a:lnTo>
                  <a:pt x="14069" y="3246"/>
                </a:lnTo>
                <a:lnTo>
                  <a:pt x="14069" y="3383"/>
                </a:lnTo>
                <a:lnTo>
                  <a:pt x="14132" y="3485"/>
                </a:lnTo>
                <a:lnTo>
                  <a:pt x="14251" y="3544"/>
                </a:lnTo>
                <a:lnTo>
                  <a:pt x="14376" y="3565"/>
                </a:lnTo>
                <a:lnTo>
                  <a:pt x="14376" y="3654"/>
                </a:lnTo>
                <a:lnTo>
                  <a:pt x="14240" y="3723"/>
                </a:lnTo>
                <a:lnTo>
                  <a:pt x="14147" y="3806"/>
                </a:lnTo>
                <a:lnTo>
                  <a:pt x="14084" y="3898"/>
                </a:lnTo>
                <a:lnTo>
                  <a:pt x="14021" y="4015"/>
                </a:lnTo>
                <a:lnTo>
                  <a:pt x="13892" y="4050"/>
                </a:lnTo>
                <a:lnTo>
                  <a:pt x="13746" y="4071"/>
                </a:lnTo>
                <a:lnTo>
                  <a:pt x="13369" y="4317"/>
                </a:lnTo>
                <a:lnTo>
                  <a:pt x="13296" y="4414"/>
                </a:lnTo>
                <a:lnTo>
                  <a:pt x="13244" y="4544"/>
                </a:lnTo>
                <a:lnTo>
                  <a:pt x="13401" y="4640"/>
                </a:lnTo>
                <a:lnTo>
                  <a:pt x="13638" y="4623"/>
                </a:lnTo>
                <a:lnTo>
                  <a:pt x="13801" y="4475"/>
                </a:lnTo>
                <a:lnTo>
                  <a:pt x="14058" y="4319"/>
                </a:lnTo>
                <a:lnTo>
                  <a:pt x="14233" y="4211"/>
                </a:lnTo>
                <a:lnTo>
                  <a:pt x="14406" y="4124"/>
                </a:lnTo>
                <a:lnTo>
                  <a:pt x="14601" y="4061"/>
                </a:lnTo>
                <a:lnTo>
                  <a:pt x="14824" y="4068"/>
                </a:lnTo>
                <a:lnTo>
                  <a:pt x="14950" y="4135"/>
                </a:lnTo>
                <a:lnTo>
                  <a:pt x="15054" y="4245"/>
                </a:lnTo>
                <a:lnTo>
                  <a:pt x="15054" y="4370"/>
                </a:lnTo>
                <a:lnTo>
                  <a:pt x="14772" y="4500"/>
                </a:lnTo>
                <a:lnTo>
                  <a:pt x="14706" y="4615"/>
                </a:lnTo>
                <a:lnTo>
                  <a:pt x="14561" y="4643"/>
                </a:lnTo>
                <a:lnTo>
                  <a:pt x="14369" y="4636"/>
                </a:lnTo>
                <a:lnTo>
                  <a:pt x="14297" y="4713"/>
                </a:lnTo>
                <a:lnTo>
                  <a:pt x="14537" y="4754"/>
                </a:lnTo>
                <a:lnTo>
                  <a:pt x="14713" y="4770"/>
                </a:lnTo>
                <a:lnTo>
                  <a:pt x="14862" y="4841"/>
                </a:lnTo>
                <a:lnTo>
                  <a:pt x="15018" y="4770"/>
                </a:lnTo>
                <a:lnTo>
                  <a:pt x="15209" y="4692"/>
                </a:lnTo>
                <a:lnTo>
                  <a:pt x="15341" y="4566"/>
                </a:lnTo>
                <a:lnTo>
                  <a:pt x="15491" y="4466"/>
                </a:lnTo>
                <a:lnTo>
                  <a:pt x="15585" y="4369"/>
                </a:lnTo>
                <a:lnTo>
                  <a:pt x="15846" y="4342"/>
                </a:lnTo>
                <a:lnTo>
                  <a:pt x="16125" y="4370"/>
                </a:lnTo>
                <a:lnTo>
                  <a:pt x="16397" y="4508"/>
                </a:lnTo>
                <a:lnTo>
                  <a:pt x="16564" y="4666"/>
                </a:lnTo>
                <a:lnTo>
                  <a:pt x="16723" y="4714"/>
                </a:lnTo>
                <a:lnTo>
                  <a:pt x="16844" y="4787"/>
                </a:lnTo>
                <a:lnTo>
                  <a:pt x="16817" y="4904"/>
                </a:lnTo>
                <a:lnTo>
                  <a:pt x="16751" y="4982"/>
                </a:lnTo>
                <a:lnTo>
                  <a:pt x="16751" y="5058"/>
                </a:lnTo>
                <a:lnTo>
                  <a:pt x="16949" y="5154"/>
                </a:lnTo>
                <a:lnTo>
                  <a:pt x="17116" y="5085"/>
                </a:lnTo>
                <a:lnTo>
                  <a:pt x="17332" y="5023"/>
                </a:lnTo>
                <a:lnTo>
                  <a:pt x="17569" y="4982"/>
                </a:lnTo>
                <a:lnTo>
                  <a:pt x="17746" y="4988"/>
                </a:lnTo>
                <a:lnTo>
                  <a:pt x="18122" y="5071"/>
                </a:lnTo>
                <a:lnTo>
                  <a:pt x="18476" y="5071"/>
                </a:lnTo>
                <a:lnTo>
                  <a:pt x="18914" y="5085"/>
                </a:lnTo>
                <a:lnTo>
                  <a:pt x="19226" y="5085"/>
                </a:lnTo>
                <a:lnTo>
                  <a:pt x="19337" y="5145"/>
                </a:lnTo>
                <a:lnTo>
                  <a:pt x="19417" y="5245"/>
                </a:lnTo>
                <a:lnTo>
                  <a:pt x="19501" y="5384"/>
                </a:lnTo>
                <a:lnTo>
                  <a:pt x="19761" y="5515"/>
                </a:lnTo>
                <a:lnTo>
                  <a:pt x="20054" y="5632"/>
                </a:lnTo>
                <a:lnTo>
                  <a:pt x="20337" y="5763"/>
                </a:lnTo>
                <a:lnTo>
                  <a:pt x="20783" y="5818"/>
                </a:lnTo>
                <a:lnTo>
                  <a:pt x="21128" y="5832"/>
                </a:lnTo>
                <a:lnTo>
                  <a:pt x="21292" y="5922"/>
                </a:lnTo>
                <a:lnTo>
                  <a:pt x="21413" y="6000"/>
                </a:lnTo>
                <a:lnTo>
                  <a:pt x="21423" y="6110"/>
                </a:lnTo>
                <a:lnTo>
                  <a:pt x="21496" y="6233"/>
                </a:lnTo>
                <a:lnTo>
                  <a:pt x="21548" y="6335"/>
                </a:lnTo>
                <a:lnTo>
                  <a:pt x="21600" y="6459"/>
                </a:lnTo>
                <a:lnTo>
                  <a:pt x="21558" y="6567"/>
                </a:lnTo>
                <a:lnTo>
                  <a:pt x="21548" y="6744"/>
                </a:lnTo>
                <a:lnTo>
                  <a:pt x="21416" y="6872"/>
                </a:lnTo>
                <a:lnTo>
                  <a:pt x="21374" y="6999"/>
                </a:lnTo>
                <a:lnTo>
                  <a:pt x="21263" y="7141"/>
                </a:lnTo>
                <a:lnTo>
                  <a:pt x="20928" y="7257"/>
                </a:lnTo>
                <a:lnTo>
                  <a:pt x="20782" y="7498"/>
                </a:lnTo>
                <a:lnTo>
                  <a:pt x="20646" y="7643"/>
                </a:lnTo>
                <a:lnTo>
                  <a:pt x="20531" y="7747"/>
                </a:lnTo>
                <a:lnTo>
                  <a:pt x="20344" y="7910"/>
                </a:lnTo>
                <a:lnTo>
                  <a:pt x="20222" y="8109"/>
                </a:lnTo>
                <a:lnTo>
                  <a:pt x="19916" y="8196"/>
                </a:lnTo>
                <a:lnTo>
                  <a:pt x="19700" y="8360"/>
                </a:lnTo>
                <a:lnTo>
                  <a:pt x="19631" y="8498"/>
                </a:lnTo>
                <a:lnTo>
                  <a:pt x="19615" y="8867"/>
                </a:lnTo>
                <a:lnTo>
                  <a:pt x="19688" y="9089"/>
                </a:lnTo>
                <a:lnTo>
                  <a:pt x="19688" y="9302"/>
                </a:lnTo>
                <a:lnTo>
                  <a:pt x="19705" y="9546"/>
                </a:lnTo>
                <a:lnTo>
                  <a:pt x="19653" y="9772"/>
                </a:lnTo>
                <a:lnTo>
                  <a:pt x="19612" y="9950"/>
                </a:lnTo>
                <a:lnTo>
                  <a:pt x="19580" y="10104"/>
                </a:lnTo>
                <a:lnTo>
                  <a:pt x="19559" y="10281"/>
                </a:lnTo>
                <a:lnTo>
                  <a:pt x="19465" y="10449"/>
                </a:lnTo>
                <a:lnTo>
                  <a:pt x="19444" y="10661"/>
                </a:lnTo>
                <a:lnTo>
                  <a:pt x="19392" y="10797"/>
                </a:lnTo>
                <a:lnTo>
                  <a:pt x="19322" y="10935"/>
                </a:lnTo>
                <a:lnTo>
                  <a:pt x="19169" y="11064"/>
                </a:lnTo>
                <a:lnTo>
                  <a:pt x="19033" y="11278"/>
                </a:lnTo>
                <a:lnTo>
                  <a:pt x="18939" y="11393"/>
                </a:lnTo>
                <a:lnTo>
                  <a:pt x="18834" y="11511"/>
                </a:lnTo>
                <a:lnTo>
                  <a:pt x="18562" y="11665"/>
                </a:lnTo>
                <a:lnTo>
                  <a:pt x="18374" y="11762"/>
                </a:lnTo>
                <a:lnTo>
                  <a:pt x="18204" y="11755"/>
                </a:lnTo>
                <a:lnTo>
                  <a:pt x="18048" y="11735"/>
                </a:lnTo>
                <a:lnTo>
                  <a:pt x="17899" y="11638"/>
                </a:lnTo>
                <a:lnTo>
                  <a:pt x="17642" y="11707"/>
                </a:lnTo>
                <a:lnTo>
                  <a:pt x="17486" y="11796"/>
                </a:lnTo>
                <a:lnTo>
                  <a:pt x="17287" y="11941"/>
                </a:lnTo>
                <a:lnTo>
                  <a:pt x="17134" y="11969"/>
                </a:lnTo>
                <a:lnTo>
                  <a:pt x="16834" y="12015"/>
                </a:lnTo>
                <a:lnTo>
                  <a:pt x="16534" y="12077"/>
                </a:lnTo>
                <a:lnTo>
                  <a:pt x="16336" y="12167"/>
                </a:lnTo>
                <a:lnTo>
                  <a:pt x="16253" y="12270"/>
                </a:lnTo>
                <a:lnTo>
                  <a:pt x="16183" y="12325"/>
                </a:lnTo>
                <a:lnTo>
                  <a:pt x="16027" y="12380"/>
                </a:lnTo>
                <a:lnTo>
                  <a:pt x="15916" y="12449"/>
                </a:lnTo>
                <a:lnTo>
                  <a:pt x="15804" y="12518"/>
                </a:lnTo>
                <a:lnTo>
                  <a:pt x="15752" y="12629"/>
                </a:lnTo>
                <a:lnTo>
                  <a:pt x="15825" y="12724"/>
                </a:lnTo>
                <a:lnTo>
                  <a:pt x="15951" y="12849"/>
                </a:lnTo>
                <a:lnTo>
                  <a:pt x="15961" y="13008"/>
                </a:lnTo>
                <a:lnTo>
                  <a:pt x="15909" y="13192"/>
                </a:lnTo>
                <a:cubicBezTo>
                  <a:pt x="15880" y="13228"/>
                  <a:pt x="15856" y="13266"/>
                  <a:pt x="15840" y="13305"/>
                </a:cubicBezTo>
                <a:cubicBezTo>
                  <a:pt x="15812" y="13369"/>
                  <a:pt x="15801" y="13436"/>
                  <a:pt x="15809" y="13503"/>
                </a:cubicBezTo>
                <a:lnTo>
                  <a:pt x="15600" y="13652"/>
                </a:lnTo>
                <a:lnTo>
                  <a:pt x="15506" y="13742"/>
                </a:lnTo>
                <a:lnTo>
                  <a:pt x="15464" y="13846"/>
                </a:lnTo>
                <a:cubicBezTo>
                  <a:pt x="15464" y="13877"/>
                  <a:pt x="15464" y="13909"/>
                  <a:pt x="15464" y="13940"/>
                </a:cubicBezTo>
                <a:cubicBezTo>
                  <a:pt x="15464" y="13981"/>
                  <a:pt x="15464" y="14022"/>
                  <a:pt x="15464" y="14062"/>
                </a:cubicBezTo>
                <a:lnTo>
                  <a:pt x="15412" y="14177"/>
                </a:lnTo>
                <a:lnTo>
                  <a:pt x="15183" y="14308"/>
                </a:lnTo>
                <a:lnTo>
                  <a:pt x="15048" y="14443"/>
                </a:lnTo>
                <a:lnTo>
                  <a:pt x="14923" y="14578"/>
                </a:lnTo>
                <a:lnTo>
                  <a:pt x="14840" y="14707"/>
                </a:lnTo>
                <a:lnTo>
                  <a:pt x="14760" y="14868"/>
                </a:lnTo>
                <a:cubicBezTo>
                  <a:pt x="14740" y="14913"/>
                  <a:pt x="14716" y="14957"/>
                  <a:pt x="14687" y="14999"/>
                </a:cubicBezTo>
                <a:cubicBezTo>
                  <a:pt x="14660" y="15040"/>
                  <a:pt x="14629" y="15079"/>
                  <a:pt x="14593" y="15116"/>
                </a:cubicBezTo>
                <a:cubicBezTo>
                  <a:pt x="14565" y="15141"/>
                  <a:pt x="14538" y="15167"/>
                  <a:pt x="14510" y="15192"/>
                </a:cubicBezTo>
                <a:cubicBezTo>
                  <a:pt x="14469" y="15230"/>
                  <a:pt x="14429" y="15268"/>
                  <a:pt x="14390" y="15307"/>
                </a:cubicBezTo>
                <a:lnTo>
                  <a:pt x="14233" y="15431"/>
                </a:lnTo>
                <a:lnTo>
                  <a:pt x="14123" y="15518"/>
                </a:lnTo>
                <a:lnTo>
                  <a:pt x="13872" y="15628"/>
                </a:lnTo>
                <a:lnTo>
                  <a:pt x="13685" y="15663"/>
                </a:lnTo>
                <a:lnTo>
                  <a:pt x="13323" y="15670"/>
                </a:lnTo>
                <a:cubicBezTo>
                  <a:pt x="13286" y="15642"/>
                  <a:pt x="13245" y="15616"/>
                  <a:pt x="13201" y="15594"/>
                </a:cubicBezTo>
                <a:cubicBezTo>
                  <a:pt x="13122" y="15553"/>
                  <a:pt x="13034" y="15521"/>
                  <a:pt x="12939" y="15499"/>
                </a:cubicBezTo>
                <a:cubicBezTo>
                  <a:pt x="12851" y="15484"/>
                  <a:pt x="12764" y="15467"/>
                  <a:pt x="12678" y="15446"/>
                </a:cubicBezTo>
                <a:cubicBezTo>
                  <a:pt x="12585" y="15424"/>
                  <a:pt x="12495" y="15399"/>
                  <a:pt x="12406" y="15370"/>
                </a:cubicBezTo>
                <a:lnTo>
                  <a:pt x="12194" y="15426"/>
                </a:lnTo>
                <a:lnTo>
                  <a:pt x="12131" y="15541"/>
                </a:lnTo>
                <a:lnTo>
                  <a:pt x="12255" y="15615"/>
                </a:lnTo>
                <a:lnTo>
                  <a:pt x="12467" y="15700"/>
                </a:lnTo>
                <a:lnTo>
                  <a:pt x="12582" y="15762"/>
                </a:lnTo>
                <a:lnTo>
                  <a:pt x="12768" y="15886"/>
                </a:lnTo>
                <a:lnTo>
                  <a:pt x="12977" y="16065"/>
                </a:lnTo>
                <a:lnTo>
                  <a:pt x="13103" y="16201"/>
                </a:lnTo>
                <a:lnTo>
                  <a:pt x="13155" y="16372"/>
                </a:lnTo>
                <a:lnTo>
                  <a:pt x="13166" y="16545"/>
                </a:lnTo>
                <a:lnTo>
                  <a:pt x="13065" y="16676"/>
                </a:lnTo>
                <a:lnTo>
                  <a:pt x="12951" y="16779"/>
                </a:lnTo>
                <a:lnTo>
                  <a:pt x="12787" y="16862"/>
                </a:lnTo>
                <a:lnTo>
                  <a:pt x="12505" y="16924"/>
                </a:lnTo>
                <a:lnTo>
                  <a:pt x="12122" y="16970"/>
                </a:lnTo>
                <a:lnTo>
                  <a:pt x="11913" y="16977"/>
                </a:lnTo>
                <a:lnTo>
                  <a:pt x="11733" y="16982"/>
                </a:lnTo>
                <a:lnTo>
                  <a:pt x="11430" y="16982"/>
                </a:lnTo>
                <a:lnTo>
                  <a:pt x="11263" y="17044"/>
                </a:lnTo>
                <a:lnTo>
                  <a:pt x="11232" y="17116"/>
                </a:lnTo>
                <a:lnTo>
                  <a:pt x="11252" y="17235"/>
                </a:lnTo>
                <a:lnTo>
                  <a:pt x="11325" y="17332"/>
                </a:lnTo>
                <a:lnTo>
                  <a:pt x="11412" y="17380"/>
                </a:lnTo>
                <a:lnTo>
                  <a:pt x="11444" y="17498"/>
                </a:lnTo>
                <a:lnTo>
                  <a:pt x="11382" y="17567"/>
                </a:lnTo>
                <a:cubicBezTo>
                  <a:pt x="11322" y="17599"/>
                  <a:pt x="11279" y="17642"/>
                  <a:pt x="11257" y="17691"/>
                </a:cubicBezTo>
                <a:cubicBezTo>
                  <a:pt x="11240" y="17729"/>
                  <a:pt x="11236" y="17769"/>
                  <a:pt x="11246" y="17808"/>
                </a:cubicBezTo>
                <a:lnTo>
                  <a:pt x="11037" y="17802"/>
                </a:lnTo>
                <a:lnTo>
                  <a:pt x="10881" y="17726"/>
                </a:lnTo>
                <a:lnTo>
                  <a:pt x="10631" y="17622"/>
                </a:lnTo>
                <a:lnTo>
                  <a:pt x="10349" y="17581"/>
                </a:lnTo>
                <a:lnTo>
                  <a:pt x="10141" y="17677"/>
                </a:lnTo>
                <a:lnTo>
                  <a:pt x="10273" y="17815"/>
                </a:lnTo>
                <a:cubicBezTo>
                  <a:pt x="10359" y="17814"/>
                  <a:pt x="10437" y="17847"/>
                  <a:pt x="10472" y="17898"/>
                </a:cubicBezTo>
                <a:cubicBezTo>
                  <a:pt x="10504" y="17944"/>
                  <a:pt x="10496" y="17997"/>
                  <a:pt x="10451" y="18038"/>
                </a:cubicBezTo>
                <a:lnTo>
                  <a:pt x="10493" y="18142"/>
                </a:lnTo>
                <a:cubicBezTo>
                  <a:pt x="10535" y="18167"/>
                  <a:pt x="10583" y="18187"/>
                  <a:pt x="10636" y="18201"/>
                </a:cubicBezTo>
                <a:cubicBezTo>
                  <a:pt x="10678" y="18213"/>
                  <a:pt x="10723" y="18220"/>
                  <a:pt x="10768" y="18222"/>
                </a:cubicBezTo>
                <a:cubicBezTo>
                  <a:pt x="10824" y="18185"/>
                  <a:pt x="10918" y="18194"/>
                  <a:pt x="10956" y="18240"/>
                </a:cubicBezTo>
                <a:cubicBezTo>
                  <a:pt x="10983" y="18272"/>
                  <a:pt x="10969" y="18313"/>
                  <a:pt x="10925" y="18335"/>
                </a:cubicBezTo>
                <a:lnTo>
                  <a:pt x="10783" y="18390"/>
                </a:lnTo>
                <a:lnTo>
                  <a:pt x="10605" y="18448"/>
                </a:lnTo>
                <a:lnTo>
                  <a:pt x="10615" y="18589"/>
                </a:lnTo>
                <a:lnTo>
                  <a:pt x="10663" y="18651"/>
                </a:lnTo>
                <a:lnTo>
                  <a:pt x="10698" y="18740"/>
                </a:lnTo>
                <a:lnTo>
                  <a:pt x="10479" y="18860"/>
                </a:lnTo>
                <a:lnTo>
                  <a:pt x="10374" y="19045"/>
                </a:lnTo>
                <a:lnTo>
                  <a:pt x="10259" y="19180"/>
                </a:lnTo>
                <a:lnTo>
                  <a:pt x="10218" y="19263"/>
                </a:lnTo>
                <a:lnTo>
                  <a:pt x="10283" y="19367"/>
                </a:lnTo>
                <a:lnTo>
                  <a:pt x="10350" y="19544"/>
                </a:lnTo>
                <a:lnTo>
                  <a:pt x="10506" y="19579"/>
                </a:lnTo>
                <a:lnTo>
                  <a:pt x="10637" y="19689"/>
                </a:lnTo>
                <a:lnTo>
                  <a:pt x="10913" y="19767"/>
                </a:lnTo>
                <a:lnTo>
                  <a:pt x="11066" y="19942"/>
                </a:lnTo>
                <a:lnTo>
                  <a:pt x="11076" y="20069"/>
                </a:lnTo>
                <a:lnTo>
                  <a:pt x="10982" y="20241"/>
                </a:lnTo>
                <a:lnTo>
                  <a:pt x="10888" y="20363"/>
                </a:lnTo>
                <a:lnTo>
                  <a:pt x="10794" y="20527"/>
                </a:lnTo>
                <a:cubicBezTo>
                  <a:pt x="10712" y="20573"/>
                  <a:pt x="10646" y="20631"/>
                  <a:pt x="10600" y="20695"/>
                </a:cubicBezTo>
                <a:cubicBezTo>
                  <a:pt x="10553" y="20760"/>
                  <a:pt x="10528" y="20830"/>
                  <a:pt x="10526" y="20902"/>
                </a:cubicBezTo>
                <a:lnTo>
                  <a:pt x="10613" y="21051"/>
                </a:lnTo>
                <a:lnTo>
                  <a:pt x="10773" y="21173"/>
                </a:lnTo>
                <a:lnTo>
                  <a:pt x="10846" y="21254"/>
                </a:lnTo>
                <a:lnTo>
                  <a:pt x="10766" y="21359"/>
                </a:lnTo>
                <a:lnTo>
                  <a:pt x="10536" y="21440"/>
                </a:lnTo>
                <a:lnTo>
                  <a:pt x="10441" y="21536"/>
                </a:lnTo>
                <a:lnTo>
                  <a:pt x="10363" y="21600"/>
                </a:lnTo>
                <a:lnTo>
                  <a:pt x="10225" y="21595"/>
                </a:lnTo>
                <a:lnTo>
                  <a:pt x="9866" y="21480"/>
                </a:lnTo>
                <a:lnTo>
                  <a:pt x="9668" y="21506"/>
                </a:lnTo>
                <a:lnTo>
                  <a:pt x="9418" y="21531"/>
                </a:lnTo>
                <a:cubicBezTo>
                  <a:pt x="9428" y="21473"/>
                  <a:pt x="9417" y="21413"/>
                  <a:pt x="9386" y="21358"/>
                </a:cubicBezTo>
                <a:cubicBezTo>
                  <a:pt x="9350" y="21293"/>
                  <a:pt x="9286" y="21235"/>
                  <a:pt x="9202" y="21193"/>
                </a:cubicBezTo>
                <a:lnTo>
                  <a:pt x="8951" y="21172"/>
                </a:lnTo>
                <a:lnTo>
                  <a:pt x="8767" y="21096"/>
                </a:lnTo>
                <a:lnTo>
                  <a:pt x="8767" y="20966"/>
                </a:lnTo>
                <a:lnTo>
                  <a:pt x="8683" y="20814"/>
                </a:lnTo>
                <a:cubicBezTo>
                  <a:pt x="8625" y="20767"/>
                  <a:pt x="8560" y="20724"/>
                  <a:pt x="8489" y="20687"/>
                </a:cubicBezTo>
                <a:cubicBezTo>
                  <a:pt x="8402" y="20641"/>
                  <a:pt x="8307" y="20603"/>
                  <a:pt x="8206" y="20574"/>
                </a:cubicBezTo>
                <a:lnTo>
                  <a:pt x="8185" y="20340"/>
                </a:lnTo>
                <a:lnTo>
                  <a:pt x="8175" y="20091"/>
                </a:lnTo>
                <a:cubicBezTo>
                  <a:pt x="8118" y="20014"/>
                  <a:pt x="8052" y="19940"/>
                  <a:pt x="7977" y="19870"/>
                </a:cubicBezTo>
                <a:cubicBezTo>
                  <a:pt x="7874" y="19775"/>
                  <a:pt x="7755" y="19687"/>
                  <a:pt x="7622" y="19610"/>
                </a:cubicBezTo>
                <a:lnTo>
                  <a:pt x="7320" y="19591"/>
                </a:lnTo>
                <a:lnTo>
                  <a:pt x="7269" y="19491"/>
                </a:lnTo>
                <a:lnTo>
                  <a:pt x="7463" y="19422"/>
                </a:lnTo>
                <a:lnTo>
                  <a:pt x="7664" y="19293"/>
                </a:lnTo>
                <a:lnTo>
                  <a:pt x="7747" y="19155"/>
                </a:lnTo>
                <a:lnTo>
                  <a:pt x="7862" y="18947"/>
                </a:lnTo>
                <a:cubicBezTo>
                  <a:pt x="7859" y="18904"/>
                  <a:pt x="7841" y="18862"/>
                  <a:pt x="7810" y="18823"/>
                </a:cubicBezTo>
                <a:cubicBezTo>
                  <a:pt x="7763" y="18763"/>
                  <a:pt x="7687" y="18715"/>
                  <a:pt x="7594" y="18687"/>
                </a:cubicBezTo>
                <a:lnTo>
                  <a:pt x="7373" y="18531"/>
                </a:lnTo>
                <a:lnTo>
                  <a:pt x="7344" y="18427"/>
                </a:lnTo>
                <a:lnTo>
                  <a:pt x="7439" y="18291"/>
                </a:lnTo>
                <a:lnTo>
                  <a:pt x="7386" y="18128"/>
                </a:lnTo>
                <a:lnTo>
                  <a:pt x="7191" y="18036"/>
                </a:lnTo>
                <a:lnTo>
                  <a:pt x="6944" y="17872"/>
                </a:lnTo>
                <a:lnTo>
                  <a:pt x="6714" y="17722"/>
                </a:lnTo>
                <a:lnTo>
                  <a:pt x="6595" y="17655"/>
                </a:lnTo>
                <a:lnTo>
                  <a:pt x="6560" y="17485"/>
                </a:lnTo>
                <a:lnTo>
                  <a:pt x="6414" y="17372"/>
                </a:lnTo>
                <a:lnTo>
                  <a:pt x="6518" y="17199"/>
                </a:lnTo>
                <a:cubicBezTo>
                  <a:pt x="6570" y="17154"/>
                  <a:pt x="6593" y="17097"/>
                  <a:pt x="6581" y="17041"/>
                </a:cubicBezTo>
                <a:cubicBezTo>
                  <a:pt x="6561" y="16948"/>
                  <a:pt x="6457" y="16874"/>
                  <a:pt x="6320" y="16854"/>
                </a:cubicBezTo>
                <a:cubicBezTo>
                  <a:pt x="6272" y="16815"/>
                  <a:pt x="6237" y="16771"/>
                  <a:pt x="6215" y="16723"/>
                </a:cubicBezTo>
                <a:cubicBezTo>
                  <a:pt x="6159" y="16596"/>
                  <a:pt x="6202" y="16460"/>
                  <a:pt x="6330" y="16359"/>
                </a:cubicBezTo>
                <a:lnTo>
                  <a:pt x="6341" y="16207"/>
                </a:lnTo>
                <a:lnTo>
                  <a:pt x="6351" y="16005"/>
                </a:lnTo>
                <a:lnTo>
                  <a:pt x="6382" y="15534"/>
                </a:lnTo>
                <a:lnTo>
                  <a:pt x="6330" y="14960"/>
                </a:lnTo>
                <a:lnTo>
                  <a:pt x="6125" y="14624"/>
                </a:lnTo>
                <a:lnTo>
                  <a:pt x="6027" y="14310"/>
                </a:lnTo>
                <a:lnTo>
                  <a:pt x="5975" y="14131"/>
                </a:lnTo>
                <a:lnTo>
                  <a:pt x="5925" y="13492"/>
                </a:lnTo>
                <a:lnTo>
                  <a:pt x="5925" y="13243"/>
                </a:lnTo>
                <a:lnTo>
                  <a:pt x="6020" y="13001"/>
                </a:lnTo>
                <a:lnTo>
                  <a:pt x="6020" y="12755"/>
                </a:lnTo>
                <a:lnTo>
                  <a:pt x="5988" y="12469"/>
                </a:lnTo>
                <a:lnTo>
                  <a:pt x="5842" y="12317"/>
                </a:lnTo>
                <a:lnTo>
                  <a:pt x="5852" y="12041"/>
                </a:lnTo>
                <a:lnTo>
                  <a:pt x="5936" y="11755"/>
                </a:lnTo>
                <a:cubicBezTo>
                  <a:pt x="5963" y="11665"/>
                  <a:pt x="5977" y="11573"/>
                  <a:pt x="5978" y="11481"/>
                </a:cubicBezTo>
                <a:cubicBezTo>
                  <a:pt x="5979" y="11396"/>
                  <a:pt x="5968" y="11310"/>
                  <a:pt x="5946" y="11226"/>
                </a:cubicBezTo>
                <a:cubicBezTo>
                  <a:pt x="5920" y="11122"/>
                  <a:pt x="5877" y="11021"/>
                  <a:pt x="5817" y="10924"/>
                </a:cubicBezTo>
                <a:lnTo>
                  <a:pt x="5790" y="10657"/>
                </a:lnTo>
                <a:lnTo>
                  <a:pt x="5779" y="10588"/>
                </a:lnTo>
                <a:lnTo>
                  <a:pt x="5509" y="10273"/>
                </a:lnTo>
                <a:lnTo>
                  <a:pt x="5325" y="10025"/>
                </a:lnTo>
                <a:lnTo>
                  <a:pt x="5081" y="9901"/>
                </a:lnTo>
                <a:lnTo>
                  <a:pt x="4781" y="9783"/>
                </a:lnTo>
                <a:lnTo>
                  <a:pt x="4531" y="9611"/>
                </a:lnTo>
                <a:lnTo>
                  <a:pt x="4066" y="9506"/>
                </a:lnTo>
                <a:lnTo>
                  <a:pt x="3850" y="9416"/>
                </a:lnTo>
                <a:lnTo>
                  <a:pt x="3285" y="9256"/>
                </a:lnTo>
                <a:lnTo>
                  <a:pt x="3020" y="9164"/>
                </a:lnTo>
                <a:lnTo>
                  <a:pt x="2895" y="8913"/>
                </a:lnTo>
                <a:lnTo>
                  <a:pt x="2752" y="8757"/>
                </a:lnTo>
                <a:lnTo>
                  <a:pt x="2626" y="8512"/>
                </a:lnTo>
                <a:lnTo>
                  <a:pt x="2494" y="8355"/>
                </a:lnTo>
                <a:lnTo>
                  <a:pt x="2330" y="8219"/>
                </a:lnTo>
                <a:lnTo>
                  <a:pt x="2088" y="8047"/>
                </a:lnTo>
                <a:lnTo>
                  <a:pt x="1976" y="7929"/>
                </a:lnTo>
                <a:lnTo>
                  <a:pt x="1868" y="7775"/>
                </a:lnTo>
                <a:lnTo>
                  <a:pt x="1712" y="7713"/>
                </a:lnTo>
                <a:lnTo>
                  <a:pt x="1653" y="7630"/>
                </a:lnTo>
                <a:lnTo>
                  <a:pt x="1559" y="7481"/>
                </a:lnTo>
                <a:lnTo>
                  <a:pt x="1499" y="7363"/>
                </a:lnTo>
                <a:lnTo>
                  <a:pt x="1332" y="7016"/>
                </a:lnTo>
                <a:lnTo>
                  <a:pt x="1207" y="6813"/>
                </a:lnTo>
                <a:lnTo>
                  <a:pt x="1072" y="6654"/>
                </a:lnTo>
                <a:lnTo>
                  <a:pt x="958" y="6495"/>
                </a:lnTo>
                <a:lnTo>
                  <a:pt x="875" y="6420"/>
                </a:lnTo>
                <a:lnTo>
                  <a:pt x="683" y="6358"/>
                </a:lnTo>
                <a:lnTo>
                  <a:pt x="577" y="6210"/>
                </a:lnTo>
                <a:lnTo>
                  <a:pt x="392" y="6183"/>
                </a:lnTo>
                <a:lnTo>
                  <a:pt x="270" y="6084"/>
                </a:lnTo>
                <a:lnTo>
                  <a:pt x="131" y="5971"/>
                </a:lnTo>
                <a:lnTo>
                  <a:pt x="79" y="5813"/>
                </a:lnTo>
                <a:lnTo>
                  <a:pt x="38" y="5703"/>
                </a:lnTo>
                <a:lnTo>
                  <a:pt x="0" y="5602"/>
                </a:lnTo>
                <a:lnTo>
                  <a:pt x="115" y="5491"/>
                </a:lnTo>
                <a:lnTo>
                  <a:pt x="268" y="5348"/>
                </a:lnTo>
                <a:lnTo>
                  <a:pt x="330" y="5224"/>
                </a:lnTo>
                <a:lnTo>
                  <a:pt x="413" y="5153"/>
                </a:lnTo>
                <a:lnTo>
                  <a:pt x="602" y="5033"/>
                </a:lnTo>
                <a:lnTo>
                  <a:pt x="653" y="4916"/>
                </a:lnTo>
                <a:lnTo>
                  <a:pt x="542" y="4875"/>
                </a:lnTo>
                <a:lnTo>
                  <a:pt x="350" y="4849"/>
                </a:lnTo>
                <a:lnTo>
                  <a:pt x="233" y="4810"/>
                </a:lnTo>
                <a:lnTo>
                  <a:pt x="173" y="4693"/>
                </a:lnTo>
                <a:lnTo>
                  <a:pt x="132" y="4589"/>
                </a:lnTo>
                <a:lnTo>
                  <a:pt x="236" y="4435"/>
                </a:lnTo>
                <a:lnTo>
                  <a:pt x="363" y="4279"/>
                </a:lnTo>
                <a:lnTo>
                  <a:pt x="464" y="4141"/>
                </a:lnTo>
                <a:lnTo>
                  <a:pt x="722" y="3881"/>
                </a:lnTo>
                <a:lnTo>
                  <a:pt x="837" y="3725"/>
                </a:lnTo>
                <a:lnTo>
                  <a:pt x="878" y="3658"/>
                </a:lnTo>
                <a:lnTo>
                  <a:pt x="1105" y="3567"/>
                </a:lnTo>
                <a:lnTo>
                  <a:pt x="1275" y="3479"/>
                </a:lnTo>
                <a:lnTo>
                  <a:pt x="1338" y="3385"/>
                </a:lnTo>
                <a:lnTo>
                  <a:pt x="1359" y="3295"/>
                </a:lnTo>
                <a:lnTo>
                  <a:pt x="1523" y="3201"/>
                </a:lnTo>
                <a:lnTo>
                  <a:pt x="1707" y="3072"/>
                </a:lnTo>
                <a:cubicBezTo>
                  <a:pt x="1704" y="3016"/>
                  <a:pt x="1711" y="2960"/>
                  <a:pt x="1728" y="2906"/>
                </a:cubicBezTo>
                <a:cubicBezTo>
                  <a:pt x="1757" y="2814"/>
                  <a:pt x="1814" y="2727"/>
                  <a:pt x="1896" y="2650"/>
                </a:cubicBezTo>
                <a:cubicBezTo>
                  <a:pt x="1934" y="2572"/>
                  <a:pt x="1938" y="2488"/>
                  <a:pt x="1906" y="2408"/>
                </a:cubicBezTo>
                <a:cubicBezTo>
                  <a:pt x="1883" y="2352"/>
                  <a:pt x="1843" y="2298"/>
                  <a:pt x="1815" y="2242"/>
                </a:cubicBezTo>
                <a:cubicBezTo>
                  <a:pt x="1790" y="2191"/>
                  <a:pt x="1776" y="2138"/>
                  <a:pt x="1774" y="2083"/>
                </a:cubicBezTo>
                <a:lnTo>
                  <a:pt x="1774" y="1918"/>
                </a:lnTo>
                <a:lnTo>
                  <a:pt x="1753" y="1808"/>
                </a:lnTo>
                <a:lnTo>
                  <a:pt x="1638" y="1656"/>
                </a:lnTo>
                <a:lnTo>
                  <a:pt x="1493" y="1546"/>
                </a:lnTo>
                <a:lnTo>
                  <a:pt x="1587" y="1443"/>
                </a:lnTo>
                <a:lnTo>
                  <a:pt x="1656" y="1310"/>
                </a:lnTo>
                <a:lnTo>
                  <a:pt x="1459" y="1199"/>
                </a:lnTo>
                <a:lnTo>
                  <a:pt x="1280" y="1115"/>
                </a:lnTo>
                <a:lnTo>
                  <a:pt x="1083" y="1076"/>
                </a:lnTo>
                <a:lnTo>
                  <a:pt x="968" y="1103"/>
                </a:lnTo>
                <a:lnTo>
                  <a:pt x="869" y="101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7" name="íšļîḑê">
            <a:extLst>
              <a:ext uri="{FF2B5EF4-FFF2-40B4-BE49-F238E27FC236}">
                <a16:creationId xmlns:a16="http://schemas.microsoft.com/office/drawing/2014/main" id="{BE9A8492-D4DB-4AE2-B92B-759F7C5AEBDD}"/>
              </a:ext>
            </a:extLst>
          </p:cNvPr>
          <p:cNvSpPr/>
          <p:nvPr/>
        </p:nvSpPr>
        <p:spPr>
          <a:xfrm>
            <a:off x="3801341" y="5745417"/>
            <a:ext cx="159596" cy="812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25" y="3547"/>
                </a:moveTo>
                <a:lnTo>
                  <a:pt x="5676" y="1626"/>
                </a:lnTo>
                <a:lnTo>
                  <a:pt x="3209" y="0"/>
                </a:lnTo>
                <a:lnTo>
                  <a:pt x="1176" y="1709"/>
                </a:lnTo>
                <a:lnTo>
                  <a:pt x="993" y="6809"/>
                </a:lnTo>
                <a:lnTo>
                  <a:pt x="0" y="9230"/>
                </a:lnTo>
                <a:lnTo>
                  <a:pt x="146" y="11719"/>
                </a:lnTo>
                <a:lnTo>
                  <a:pt x="1232" y="14861"/>
                </a:lnTo>
                <a:lnTo>
                  <a:pt x="2757" y="16925"/>
                </a:lnTo>
                <a:lnTo>
                  <a:pt x="4617" y="16204"/>
                </a:lnTo>
                <a:lnTo>
                  <a:pt x="6205" y="18329"/>
                </a:lnTo>
                <a:lnTo>
                  <a:pt x="6765" y="21054"/>
                </a:lnTo>
                <a:lnTo>
                  <a:pt x="9338" y="21600"/>
                </a:lnTo>
                <a:lnTo>
                  <a:pt x="10638" y="20386"/>
                </a:lnTo>
                <a:lnTo>
                  <a:pt x="12868" y="19239"/>
                </a:lnTo>
                <a:cubicBezTo>
                  <a:pt x="13384" y="19258"/>
                  <a:pt x="13900" y="19258"/>
                  <a:pt x="14416" y="19239"/>
                </a:cubicBezTo>
                <a:cubicBezTo>
                  <a:pt x="15695" y="19193"/>
                  <a:pt x="16971" y="19031"/>
                  <a:pt x="18242" y="18754"/>
                </a:cubicBezTo>
                <a:lnTo>
                  <a:pt x="20946" y="19118"/>
                </a:lnTo>
                <a:lnTo>
                  <a:pt x="21600" y="16751"/>
                </a:lnTo>
                <a:lnTo>
                  <a:pt x="17600" y="16751"/>
                </a:lnTo>
                <a:lnTo>
                  <a:pt x="14802" y="15172"/>
                </a:lnTo>
                <a:lnTo>
                  <a:pt x="13214" y="10808"/>
                </a:lnTo>
                <a:lnTo>
                  <a:pt x="11408" y="9230"/>
                </a:lnTo>
                <a:lnTo>
                  <a:pt x="9731" y="7773"/>
                </a:lnTo>
                <a:lnTo>
                  <a:pt x="9139" y="5420"/>
                </a:lnTo>
                <a:lnTo>
                  <a:pt x="7225" y="3547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8" name="iśļíḍe">
            <a:extLst>
              <a:ext uri="{FF2B5EF4-FFF2-40B4-BE49-F238E27FC236}">
                <a16:creationId xmlns:a16="http://schemas.microsoft.com/office/drawing/2014/main" id="{21295AEA-312E-417F-97CE-0E26E676E2EC}"/>
              </a:ext>
            </a:extLst>
          </p:cNvPr>
          <p:cNvSpPr/>
          <p:nvPr/>
        </p:nvSpPr>
        <p:spPr>
          <a:xfrm>
            <a:off x="3990608" y="5693047"/>
            <a:ext cx="99598" cy="422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319" y="0"/>
                </a:moveTo>
                <a:lnTo>
                  <a:pt x="5026" y="117"/>
                </a:lnTo>
                <a:cubicBezTo>
                  <a:pt x="4484" y="789"/>
                  <a:pt x="3941" y="1461"/>
                  <a:pt x="3399" y="2133"/>
                </a:cubicBezTo>
                <a:cubicBezTo>
                  <a:pt x="2857" y="2805"/>
                  <a:pt x="2314" y="3476"/>
                  <a:pt x="1772" y="4148"/>
                </a:cubicBezTo>
                <a:lnTo>
                  <a:pt x="4542" y="6577"/>
                </a:lnTo>
                <a:lnTo>
                  <a:pt x="3392" y="10753"/>
                </a:lnTo>
                <a:lnTo>
                  <a:pt x="0" y="11818"/>
                </a:lnTo>
                <a:lnTo>
                  <a:pt x="1581" y="16345"/>
                </a:lnTo>
                <a:lnTo>
                  <a:pt x="4913" y="16345"/>
                </a:lnTo>
                <a:lnTo>
                  <a:pt x="7757" y="19148"/>
                </a:lnTo>
                <a:lnTo>
                  <a:pt x="10993" y="21600"/>
                </a:lnTo>
                <a:lnTo>
                  <a:pt x="14223" y="19761"/>
                </a:lnTo>
                <a:lnTo>
                  <a:pt x="14972" y="14169"/>
                </a:lnTo>
                <a:lnTo>
                  <a:pt x="18108" y="8928"/>
                </a:lnTo>
                <a:lnTo>
                  <a:pt x="21600" y="7876"/>
                </a:lnTo>
                <a:lnTo>
                  <a:pt x="21600" y="3101"/>
                </a:lnTo>
                <a:lnTo>
                  <a:pt x="19411" y="1378"/>
                </a:lnTo>
                <a:lnTo>
                  <a:pt x="17621" y="692"/>
                </a:lnTo>
                <a:lnTo>
                  <a:pt x="12533" y="2093"/>
                </a:lnTo>
                <a:lnTo>
                  <a:pt x="10949" y="1393"/>
                </a:lnTo>
                <a:lnTo>
                  <a:pt x="831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9" name="ïṧḻîďe">
            <a:extLst>
              <a:ext uri="{FF2B5EF4-FFF2-40B4-BE49-F238E27FC236}">
                <a16:creationId xmlns:a16="http://schemas.microsoft.com/office/drawing/2014/main" id="{33B8E9DD-9BDB-483A-BA80-2BD0B5F8C85A}"/>
              </a:ext>
            </a:extLst>
          </p:cNvPr>
          <p:cNvSpPr/>
          <p:nvPr/>
        </p:nvSpPr>
        <p:spPr>
          <a:xfrm>
            <a:off x="5060840" y="2790920"/>
            <a:ext cx="2061477" cy="2363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905" y="1298"/>
                </a:moveTo>
                <a:lnTo>
                  <a:pt x="11748" y="1386"/>
                </a:lnTo>
                <a:lnTo>
                  <a:pt x="11649" y="1501"/>
                </a:lnTo>
                <a:lnTo>
                  <a:pt x="11657" y="1629"/>
                </a:lnTo>
                <a:lnTo>
                  <a:pt x="11744" y="1704"/>
                </a:lnTo>
                <a:lnTo>
                  <a:pt x="11765" y="1791"/>
                </a:lnTo>
                <a:lnTo>
                  <a:pt x="11622" y="1915"/>
                </a:lnTo>
                <a:lnTo>
                  <a:pt x="11470" y="2059"/>
                </a:lnTo>
                <a:lnTo>
                  <a:pt x="11326" y="2096"/>
                </a:lnTo>
                <a:lnTo>
                  <a:pt x="11204" y="2078"/>
                </a:lnTo>
                <a:lnTo>
                  <a:pt x="10972" y="2003"/>
                </a:lnTo>
                <a:lnTo>
                  <a:pt x="10824" y="1959"/>
                </a:lnTo>
                <a:lnTo>
                  <a:pt x="10659" y="1903"/>
                </a:lnTo>
                <a:lnTo>
                  <a:pt x="10370" y="1872"/>
                </a:lnTo>
                <a:lnTo>
                  <a:pt x="10297" y="1768"/>
                </a:lnTo>
                <a:lnTo>
                  <a:pt x="10194" y="1639"/>
                </a:lnTo>
                <a:lnTo>
                  <a:pt x="10095" y="1497"/>
                </a:lnTo>
                <a:lnTo>
                  <a:pt x="9893" y="1403"/>
                </a:lnTo>
                <a:lnTo>
                  <a:pt x="9738" y="1384"/>
                </a:lnTo>
                <a:lnTo>
                  <a:pt x="9487" y="1311"/>
                </a:lnTo>
                <a:lnTo>
                  <a:pt x="9256" y="1311"/>
                </a:lnTo>
                <a:lnTo>
                  <a:pt x="9130" y="1305"/>
                </a:lnTo>
                <a:lnTo>
                  <a:pt x="9053" y="1242"/>
                </a:lnTo>
                <a:lnTo>
                  <a:pt x="8911" y="1116"/>
                </a:lnTo>
                <a:lnTo>
                  <a:pt x="8694" y="947"/>
                </a:lnTo>
                <a:lnTo>
                  <a:pt x="8636" y="849"/>
                </a:lnTo>
                <a:lnTo>
                  <a:pt x="8687" y="761"/>
                </a:lnTo>
                <a:lnTo>
                  <a:pt x="8783" y="636"/>
                </a:lnTo>
                <a:lnTo>
                  <a:pt x="8776" y="548"/>
                </a:lnTo>
                <a:lnTo>
                  <a:pt x="8704" y="440"/>
                </a:lnTo>
                <a:lnTo>
                  <a:pt x="8651" y="369"/>
                </a:lnTo>
                <a:lnTo>
                  <a:pt x="8694" y="263"/>
                </a:lnTo>
                <a:lnTo>
                  <a:pt x="8750" y="213"/>
                </a:lnTo>
                <a:lnTo>
                  <a:pt x="8706" y="120"/>
                </a:lnTo>
                <a:lnTo>
                  <a:pt x="8574" y="53"/>
                </a:lnTo>
                <a:lnTo>
                  <a:pt x="8473" y="0"/>
                </a:lnTo>
                <a:lnTo>
                  <a:pt x="8301" y="31"/>
                </a:lnTo>
                <a:lnTo>
                  <a:pt x="8038" y="123"/>
                </a:lnTo>
                <a:lnTo>
                  <a:pt x="7831" y="167"/>
                </a:lnTo>
                <a:lnTo>
                  <a:pt x="7542" y="204"/>
                </a:lnTo>
                <a:lnTo>
                  <a:pt x="7323" y="198"/>
                </a:lnTo>
                <a:lnTo>
                  <a:pt x="7098" y="173"/>
                </a:lnTo>
                <a:lnTo>
                  <a:pt x="6861" y="167"/>
                </a:lnTo>
                <a:lnTo>
                  <a:pt x="6735" y="117"/>
                </a:lnTo>
                <a:lnTo>
                  <a:pt x="6538" y="97"/>
                </a:lnTo>
                <a:lnTo>
                  <a:pt x="6405" y="145"/>
                </a:lnTo>
                <a:lnTo>
                  <a:pt x="6221" y="214"/>
                </a:lnTo>
                <a:lnTo>
                  <a:pt x="6040" y="224"/>
                </a:lnTo>
                <a:lnTo>
                  <a:pt x="5774" y="295"/>
                </a:lnTo>
                <a:lnTo>
                  <a:pt x="5503" y="389"/>
                </a:lnTo>
                <a:lnTo>
                  <a:pt x="5346" y="481"/>
                </a:lnTo>
                <a:lnTo>
                  <a:pt x="5159" y="600"/>
                </a:lnTo>
                <a:lnTo>
                  <a:pt x="4994" y="675"/>
                </a:lnTo>
                <a:cubicBezTo>
                  <a:pt x="4958" y="685"/>
                  <a:pt x="4920" y="693"/>
                  <a:pt x="4883" y="698"/>
                </a:cubicBezTo>
                <a:cubicBezTo>
                  <a:pt x="4849" y="702"/>
                  <a:pt x="4815" y="704"/>
                  <a:pt x="4781" y="704"/>
                </a:cubicBezTo>
                <a:lnTo>
                  <a:pt x="4638" y="679"/>
                </a:lnTo>
                <a:lnTo>
                  <a:pt x="4547" y="675"/>
                </a:lnTo>
                <a:lnTo>
                  <a:pt x="4417" y="656"/>
                </a:lnTo>
                <a:lnTo>
                  <a:pt x="4244" y="637"/>
                </a:lnTo>
                <a:lnTo>
                  <a:pt x="4107" y="562"/>
                </a:lnTo>
                <a:lnTo>
                  <a:pt x="3988" y="482"/>
                </a:lnTo>
                <a:lnTo>
                  <a:pt x="3873" y="464"/>
                </a:lnTo>
                <a:lnTo>
                  <a:pt x="3807" y="533"/>
                </a:lnTo>
                <a:lnTo>
                  <a:pt x="3751" y="608"/>
                </a:lnTo>
                <a:lnTo>
                  <a:pt x="3646" y="730"/>
                </a:lnTo>
                <a:lnTo>
                  <a:pt x="3580" y="822"/>
                </a:lnTo>
                <a:lnTo>
                  <a:pt x="3480" y="939"/>
                </a:lnTo>
                <a:lnTo>
                  <a:pt x="3212" y="1058"/>
                </a:lnTo>
                <a:lnTo>
                  <a:pt x="2961" y="1162"/>
                </a:lnTo>
                <a:lnTo>
                  <a:pt x="2882" y="1237"/>
                </a:lnTo>
                <a:lnTo>
                  <a:pt x="2746" y="1325"/>
                </a:lnTo>
                <a:lnTo>
                  <a:pt x="2704" y="1430"/>
                </a:lnTo>
                <a:lnTo>
                  <a:pt x="2576" y="1610"/>
                </a:lnTo>
                <a:lnTo>
                  <a:pt x="2532" y="1707"/>
                </a:lnTo>
                <a:lnTo>
                  <a:pt x="2566" y="1826"/>
                </a:lnTo>
                <a:lnTo>
                  <a:pt x="2573" y="1918"/>
                </a:lnTo>
                <a:lnTo>
                  <a:pt x="2559" y="2012"/>
                </a:lnTo>
                <a:lnTo>
                  <a:pt x="2544" y="2114"/>
                </a:lnTo>
                <a:lnTo>
                  <a:pt x="2436" y="2195"/>
                </a:lnTo>
                <a:lnTo>
                  <a:pt x="2269" y="2330"/>
                </a:lnTo>
                <a:lnTo>
                  <a:pt x="2091" y="2512"/>
                </a:lnTo>
                <a:lnTo>
                  <a:pt x="1925" y="2605"/>
                </a:lnTo>
                <a:lnTo>
                  <a:pt x="1797" y="2653"/>
                </a:lnTo>
                <a:lnTo>
                  <a:pt x="1647" y="2722"/>
                </a:lnTo>
                <a:lnTo>
                  <a:pt x="1528" y="2808"/>
                </a:lnTo>
                <a:lnTo>
                  <a:pt x="1447" y="2931"/>
                </a:lnTo>
                <a:lnTo>
                  <a:pt x="1332" y="3038"/>
                </a:lnTo>
                <a:lnTo>
                  <a:pt x="1173" y="3213"/>
                </a:lnTo>
                <a:lnTo>
                  <a:pt x="1030" y="3388"/>
                </a:lnTo>
                <a:lnTo>
                  <a:pt x="1001" y="3475"/>
                </a:lnTo>
                <a:lnTo>
                  <a:pt x="951" y="3585"/>
                </a:lnTo>
                <a:lnTo>
                  <a:pt x="845" y="3723"/>
                </a:lnTo>
                <a:lnTo>
                  <a:pt x="700" y="3911"/>
                </a:lnTo>
                <a:lnTo>
                  <a:pt x="650" y="4048"/>
                </a:lnTo>
                <a:lnTo>
                  <a:pt x="448" y="4221"/>
                </a:lnTo>
                <a:lnTo>
                  <a:pt x="410" y="4305"/>
                </a:lnTo>
                <a:lnTo>
                  <a:pt x="349" y="4386"/>
                </a:lnTo>
                <a:lnTo>
                  <a:pt x="269" y="4455"/>
                </a:lnTo>
                <a:lnTo>
                  <a:pt x="232" y="4555"/>
                </a:lnTo>
                <a:lnTo>
                  <a:pt x="226" y="4651"/>
                </a:lnTo>
                <a:lnTo>
                  <a:pt x="176" y="4751"/>
                </a:lnTo>
                <a:lnTo>
                  <a:pt x="156" y="4813"/>
                </a:lnTo>
                <a:lnTo>
                  <a:pt x="163" y="4888"/>
                </a:lnTo>
                <a:lnTo>
                  <a:pt x="220" y="5002"/>
                </a:lnTo>
                <a:lnTo>
                  <a:pt x="292" y="5121"/>
                </a:lnTo>
                <a:lnTo>
                  <a:pt x="355" y="5258"/>
                </a:lnTo>
                <a:lnTo>
                  <a:pt x="369" y="5453"/>
                </a:lnTo>
                <a:lnTo>
                  <a:pt x="413" y="5578"/>
                </a:lnTo>
                <a:lnTo>
                  <a:pt x="477" y="5695"/>
                </a:lnTo>
                <a:lnTo>
                  <a:pt x="477" y="5825"/>
                </a:lnTo>
                <a:lnTo>
                  <a:pt x="441" y="5944"/>
                </a:lnTo>
                <a:lnTo>
                  <a:pt x="405" y="6019"/>
                </a:lnTo>
                <a:lnTo>
                  <a:pt x="391" y="6138"/>
                </a:lnTo>
                <a:lnTo>
                  <a:pt x="355" y="6250"/>
                </a:lnTo>
                <a:lnTo>
                  <a:pt x="307" y="6323"/>
                </a:lnTo>
                <a:lnTo>
                  <a:pt x="280" y="6392"/>
                </a:lnTo>
                <a:lnTo>
                  <a:pt x="215" y="6459"/>
                </a:lnTo>
                <a:lnTo>
                  <a:pt x="80" y="6545"/>
                </a:lnTo>
                <a:lnTo>
                  <a:pt x="0" y="6592"/>
                </a:lnTo>
                <a:lnTo>
                  <a:pt x="0" y="6680"/>
                </a:lnTo>
                <a:lnTo>
                  <a:pt x="74" y="6761"/>
                </a:lnTo>
                <a:lnTo>
                  <a:pt x="110" y="6891"/>
                </a:lnTo>
                <a:lnTo>
                  <a:pt x="117" y="7009"/>
                </a:lnTo>
                <a:lnTo>
                  <a:pt x="117" y="7138"/>
                </a:lnTo>
                <a:lnTo>
                  <a:pt x="61" y="7213"/>
                </a:lnTo>
                <a:lnTo>
                  <a:pt x="54" y="7299"/>
                </a:lnTo>
                <a:lnTo>
                  <a:pt x="185" y="7447"/>
                </a:lnTo>
                <a:lnTo>
                  <a:pt x="278" y="7578"/>
                </a:lnTo>
                <a:lnTo>
                  <a:pt x="459" y="7641"/>
                </a:lnTo>
                <a:lnTo>
                  <a:pt x="564" y="7676"/>
                </a:lnTo>
                <a:lnTo>
                  <a:pt x="670" y="7805"/>
                </a:lnTo>
                <a:lnTo>
                  <a:pt x="779" y="7951"/>
                </a:lnTo>
                <a:lnTo>
                  <a:pt x="880" y="8070"/>
                </a:lnTo>
                <a:lnTo>
                  <a:pt x="1010" y="8216"/>
                </a:lnTo>
                <a:lnTo>
                  <a:pt x="1152" y="8321"/>
                </a:lnTo>
                <a:lnTo>
                  <a:pt x="1238" y="8546"/>
                </a:lnTo>
                <a:lnTo>
                  <a:pt x="1195" y="8652"/>
                </a:lnTo>
                <a:lnTo>
                  <a:pt x="1275" y="8822"/>
                </a:lnTo>
                <a:lnTo>
                  <a:pt x="1378" y="8876"/>
                </a:lnTo>
                <a:lnTo>
                  <a:pt x="1513" y="8970"/>
                </a:lnTo>
                <a:lnTo>
                  <a:pt x="1679" y="9195"/>
                </a:lnTo>
                <a:lnTo>
                  <a:pt x="1843" y="9284"/>
                </a:lnTo>
                <a:lnTo>
                  <a:pt x="1963" y="9393"/>
                </a:lnTo>
                <a:lnTo>
                  <a:pt x="2026" y="9468"/>
                </a:lnTo>
                <a:lnTo>
                  <a:pt x="2137" y="9480"/>
                </a:lnTo>
                <a:lnTo>
                  <a:pt x="2185" y="9549"/>
                </a:lnTo>
                <a:lnTo>
                  <a:pt x="2387" y="9655"/>
                </a:lnTo>
                <a:lnTo>
                  <a:pt x="2546" y="9722"/>
                </a:lnTo>
                <a:lnTo>
                  <a:pt x="2676" y="9747"/>
                </a:lnTo>
                <a:lnTo>
                  <a:pt x="2864" y="9801"/>
                </a:lnTo>
                <a:lnTo>
                  <a:pt x="3059" y="9868"/>
                </a:lnTo>
                <a:lnTo>
                  <a:pt x="3321" y="9803"/>
                </a:lnTo>
                <a:lnTo>
                  <a:pt x="3355" y="9741"/>
                </a:lnTo>
                <a:lnTo>
                  <a:pt x="3514" y="9656"/>
                </a:lnTo>
                <a:lnTo>
                  <a:pt x="3671" y="9656"/>
                </a:lnTo>
                <a:lnTo>
                  <a:pt x="3834" y="9668"/>
                </a:lnTo>
                <a:lnTo>
                  <a:pt x="3928" y="9618"/>
                </a:lnTo>
                <a:lnTo>
                  <a:pt x="4065" y="9568"/>
                </a:lnTo>
                <a:lnTo>
                  <a:pt x="4183" y="9562"/>
                </a:lnTo>
                <a:lnTo>
                  <a:pt x="4264" y="9614"/>
                </a:lnTo>
                <a:lnTo>
                  <a:pt x="4399" y="9656"/>
                </a:lnTo>
                <a:lnTo>
                  <a:pt x="4491" y="9685"/>
                </a:lnTo>
                <a:lnTo>
                  <a:pt x="4570" y="9697"/>
                </a:lnTo>
                <a:lnTo>
                  <a:pt x="4741" y="9672"/>
                </a:lnTo>
                <a:lnTo>
                  <a:pt x="4835" y="9629"/>
                </a:lnTo>
                <a:lnTo>
                  <a:pt x="5049" y="9541"/>
                </a:lnTo>
                <a:lnTo>
                  <a:pt x="5236" y="9504"/>
                </a:lnTo>
                <a:lnTo>
                  <a:pt x="5409" y="9560"/>
                </a:lnTo>
                <a:lnTo>
                  <a:pt x="5568" y="9456"/>
                </a:lnTo>
                <a:lnTo>
                  <a:pt x="5900" y="9362"/>
                </a:lnTo>
                <a:lnTo>
                  <a:pt x="6211" y="9231"/>
                </a:lnTo>
                <a:lnTo>
                  <a:pt x="6387" y="9206"/>
                </a:lnTo>
                <a:lnTo>
                  <a:pt x="6552" y="9212"/>
                </a:lnTo>
                <a:lnTo>
                  <a:pt x="6746" y="9256"/>
                </a:lnTo>
                <a:lnTo>
                  <a:pt x="6865" y="9309"/>
                </a:lnTo>
                <a:lnTo>
                  <a:pt x="6951" y="9353"/>
                </a:lnTo>
                <a:lnTo>
                  <a:pt x="7023" y="9409"/>
                </a:lnTo>
                <a:lnTo>
                  <a:pt x="7103" y="9497"/>
                </a:lnTo>
                <a:lnTo>
                  <a:pt x="7134" y="9626"/>
                </a:lnTo>
                <a:lnTo>
                  <a:pt x="7148" y="9713"/>
                </a:lnTo>
                <a:lnTo>
                  <a:pt x="7170" y="9786"/>
                </a:lnTo>
                <a:lnTo>
                  <a:pt x="7298" y="9829"/>
                </a:lnTo>
                <a:lnTo>
                  <a:pt x="7435" y="9842"/>
                </a:lnTo>
                <a:lnTo>
                  <a:pt x="7584" y="9786"/>
                </a:lnTo>
                <a:lnTo>
                  <a:pt x="7980" y="9786"/>
                </a:lnTo>
                <a:lnTo>
                  <a:pt x="8202" y="9831"/>
                </a:lnTo>
                <a:lnTo>
                  <a:pt x="8289" y="9968"/>
                </a:lnTo>
                <a:lnTo>
                  <a:pt x="8455" y="10087"/>
                </a:lnTo>
                <a:lnTo>
                  <a:pt x="8491" y="10175"/>
                </a:lnTo>
                <a:lnTo>
                  <a:pt x="8498" y="10323"/>
                </a:lnTo>
                <a:lnTo>
                  <a:pt x="8534" y="10455"/>
                </a:lnTo>
                <a:lnTo>
                  <a:pt x="8534" y="10567"/>
                </a:lnTo>
                <a:lnTo>
                  <a:pt x="8486" y="10709"/>
                </a:lnTo>
                <a:lnTo>
                  <a:pt x="8438" y="10877"/>
                </a:lnTo>
                <a:lnTo>
                  <a:pt x="8421" y="11008"/>
                </a:lnTo>
                <a:lnTo>
                  <a:pt x="8356" y="11171"/>
                </a:lnTo>
                <a:lnTo>
                  <a:pt x="8236" y="11348"/>
                </a:lnTo>
                <a:lnTo>
                  <a:pt x="8272" y="11458"/>
                </a:lnTo>
                <a:lnTo>
                  <a:pt x="8279" y="11545"/>
                </a:lnTo>
                <a:lnTo>
                  <a:pt x="8322" y="11649"/>
                </a:lnTo>
                <a:lnTo>
                  <a:pt x="8387" y="11749"/>
                </a:lnTo>
                <a:lnTo>
                  <a:pt x="8437" y="11849"/>
                </a:lnTo>
                <a:lnTo>
                  <a:pt x="8567" y="11936"/>
                </a:lnTo>
                <a:lnTo>
                  <a:pt x="8726" y="12086"/>
                </a:lnTo>
                <a:lnTo>
                  <a:pt x="8935" y="12257"/>
                </a:lnTo>
                <a:lnTo>
                  <a:pt x="9193" y="12538"/>
                </a:lnTo>
                <a:lnTo>
                  <a:pt x="9222" y="12667"/>
                </a:lnTo>
                <a:lnTo>
                  <a:pt x="9215" y="12761"/>
                </a:lnTo>
                <a:lnTo>
                  <a:pt x="9229" y="12888"/>
                </a:lnTo>
                <a:lnTo>
                  <a:pt x="9266" y="13018"/>
                </a:lnTo>
                <a:lnTo>
                  <a:pt x="9302" y="13097"/>
                </a:lnTo>
                <a:lnTo>
                  <a:pt x="9403" y="13235"/>
                </a:lnTo>
                <a:lnTo>
                  <a:pt x="9453" y="13316"/>
                </a:lnTo>
                <a:lnTo>
                  <a:pt x="9566" y="13451"/>
                </a:lnTo>
                <a:lnTo>
                  <a:pt x="9766" y="13633"/>
                </a:lnTo>
                <a:lnTo>
                  <a:pt x="9692" y="13770"/>
                </a:lnTo>
                <a:lnTo>
                  <a:pt x="9591" y="13864"/>
                </a:lnTo>
                <a:lnTo>
                  <a:pt x="9591" y="13962"/>
                </a:lnTo>
                <a:lnTo>
                  <a:pt x="9620" y="14068"/>
                </a:lnTo>
                <a:lnTo>
                  <a:pt x="9710" y="14197"/>
                </a:lnTo>
                <a:lnTo>
                  <a:pt x="9780" y="14370"/>
                </a:lnTo>
                <a:lnTo>
                  <a:pt x="9795" y="14482"/>
                </a:lnTo>
                <a:lnTo>
                  <a:pt x="9802" y="14588"/>
                </a:lnTo>
                <a:lnTo>
                  <a:pt x="9775" y="14690"/>
                </a:lnTo>
                <a:lnTo>
                  <a:pt x="9739" y="14790"/>
                </a:lnTo>
                <a:lnTo>
                  <a:pt x="9667" y="14915"/>
                </a:lnTo>
                <a:lnTo>
                  <a:pt x="9609" y="15021"/>
                </a:lnTo>
                <a:lnTo>
                  <a:pt x="9530" y="15132"/>
                </a:lnTo>
                <a:lnTo>
                  <a:pt x="9479" y="15276"/>
                </a:lnTo>
                <a:lnTo>
                  <a:pt x="9395" y="15443"/>
                </a:lnTo>
                <a:lnTo>
                  <a:pt x="9345" y="15586"/>
                </a:lnTo>
                <a:lnTo>
                  <a:pt x="9275" y="15726"/>
                </a:lnTo>
                <a:lnTo>
                  <a:pt x="9162" y="15929"/>
                </a:lnTo>
                <a:lnTo>
                  <a:pt x="9125" y="16060"/>
                </a:lnTo>
                <a:lnTo>
                  <a:pt x="9118" y="16204"/>
                </a:lnTo>
                <a:lnTo>
                  <a:pt x="9133" y="16366"/>
                </a:lnTo>
                <a:lnTo>
                  <a:pt x="9145" y="16558"/>
                </a:lnTo>
                <a:lnTo>
                  <a:pt x="9224" y="16671"/>
                </a:lnTo>
                <a:lnTo>
                  <a:pt x="9275" y="16808"/>
                </a:lnTo>
                <a:lnTo>
                  <a:pt x="9364" y="16942"/>
                </a:lnTo>
                <a:lnTo>
                  <a:pt x="9448" y="17105"/>
                </a:lnTo>
                <a:lnTo>
                  <a:pt x="9540" y="17211"/>
                </a:lnTo>
                <a:lnTo>
                  <a:pt x="9663" y="17399"/>
                </a:lnTo>
                <a:lnTo>
                  <a:pt x="9739" y="17522"/>
                </a:lnTo>
                <a:lnTo>
                  <a:pt x="9826" y="17703"/>
                </a:lnTo>
                <a:lnTo>
                  <a:pt x="9978" y="17846"/>
                </a:lnTo>
                <a:lnTo>
                  <a:pt x="9978" y="17984"/>
                </a:lnTo>
                <a:lnTo>
                  <a:pt x="10014" y="18084"/>
                </a:lnTo>
                <a:lnTo>
                  <a:pt x="10050" y="18240"/>
                </a:lnTo>
                <a:lnTo>
                  <a:pt x="10081" y="18371"/>
                </a:lnTo>
                <a:lnTo>
                  <a:pt x="10146" y="18518"/>
                </a:lnTo>
                <a:lnTo>
                  <a:pt x="10197" y="18674"/>
                </a:lnTo>
                <a:lnTo>
                  <a:pt x="10223" y="18828"/>
                </a:lnTo>
                <a:lnTo>
                  <a:pt x="10173" y="18905"/>
                </a:lnTo>
                <a:cubicBezTo>
                  <a:pt x="10161" y="18932"/>
                  <a:pt x="10154" y="18960"/>
                  <a:pt x="10154" y="18989"/>
                </a:cubicBezTo>
                <a:cubicBezTo>
                  <a:pt x="10153" y="19050"/>
                  <a:pt x="10179" y="19109"/>
                  <a:pt x="10226" y="19154"/>
                </a:cubicBezTo>
                <a:lnTo>
                  <a:pt x="10226" y="19319"/>
                </a:lnTo>
                <a:lnTo>
                  <a:pt x="10198" y="19438"/>
                </a:lnTo>
                <a:lnTo>
                  <a:pt x="10205" y="19569"/>
                </a:lnTo>
                <a:lnTo>
                  <a:pt x="10335" y="19657"/>
                </a:lnTo>
                <a:cubicBezTo>
                  <a:pt x="10390" y="19680"/>
                  <a:pt x="10437" y="19714"/>
                  <a:pt x="10472" y="19757"/>
                </a:cubicBezTo>
                <a:cubicBezTo>
                  <a:pt x="10520" y="19816"/>
                  <a:pt x="10543" y="19887"/>
                  <a:pt x="10537" y="19959"/>
                </a:cubicBezTo>
                <a:cubicBezTo>
                  <a:pt x="10582" y="19972"/>
                  <a:pt x="10624" y="19991"/>
                  <a:pt x="10662" y="20015"/>
                </a:cubicBezTo>
                <a:cubicBezTo>
                  <a:pt x="10709" y="20045"/>
                  <a:pt x="10748" y="20083"/>
                  <a:pt x="10778" y="20126"/>
                </a:cubicBezTo>
                <a:lnTo>
                  <a:pt x="10833" y="20258"/>
                </a:lnTo>
                <a:lnTo>
                  <a:pt x="10886" y="20443"/>
                </a:lnTo>
                <a:lnTo>
                  <a:pt x="10987" y="20518"/>
                </a:lnTo>
                <a:lnTo>
                  <a:pt x="11146" y="20643"/>
                </a:lnTo>
                <a:lnTo>
                  <a:pt x="11228" y="20767"/>
                </a:lnTo>
                <a:lnTo>
                  <a:pt x="11192" y="20929"/>
                </a:lnTo>
                <a:lnTo>
                  <a:pt x="11116" y="20979"/>
                </a:lnTo>
                <a:lnTo>
                  <a:pt x="11094" y="21129"/>
                </a:lnTo>
                <a:lnTo>
                  <a:pt x="11138" y="21216"/>
                </a:lnTo>
                <a:lnTo>
                  <a:pt x="11232" y="21323"/>
                </a:lnTo>
                <a:lnTo>
                  <a:pt x="11296" y="21404"/>
                </a:lnTo>
                <a:lnTo>
                  <a:pt x="11398" y="21485"/>
                </a:lnTo>
                <a:lnTo>
                  <a:pt x="11510" y="21554"/>
                </a:lnTo>
                <a:lnTo>
                  <a:pt x="11611" y="21600"/>
                </a:lnTo>
                <a:lnTo>
                  <a:pt x="11710" y="21587"/>
                </a:lnTo>
                <a:lnTo>
                  <a:pt x="11885" y="21519"/>
                </a:lnTo>
                <a:lnTo>
                  <a:pt x="12056" y="21494"/>
                </a:lnTo>
                <a:lnTo>
                  <a:pt x="12201" y="21481"/>
                </a:lnTo>
                <a:lnTo>
                  <a:pt x="12338" y="21418"/>
                </a:lnTo>
                <a:lnTo>
                  <a:pt x="12439" y="21389"/>
                </a:lnTo>
                <a:lnTo>
                  <a:pt x="12576" y="21408"/>
                </a:lnTo>
                <a:lnTo>
                  <a:pt x="12739" y="21426"/>
                </a:lnTo>
                <a:lnTo>
                  <a:pt x="12983" y="21499"/>
                </a:lnTo>
                <a:lnTo>
                  <a:pt x="13082" y="21535"/>
                </a:lnTo>
                <a:lnTo>
                  <a:pt x="13262" y="21478"/>
                </a:lnTo>
                <a:lnTo>
                  <a:pt x="13457" y="21372"/>
                </a:lnTo>
                <a:lnTo>
                  <a:pt x="13645" y="21293"/>
                </a:lnTo>
                <a:lnTo>
                  <a:pt x="13855" y="21184"/>
                </a:lnTo>
                <a:lnTo>
                  <a:pt x="13917" y="21124"/>
                </a:lnTo>
                <a:lnTo>
                  <a:pt x="14020" y="21112"/>
                </a:lnTo>
                <a:lnTo>
                  <a:pt x="14140" y="20918"/>
                </a:lnTo>
                <a:lnTo>
                  <a:pt x="14308" y="20841"/>
                </a:lnTo>
                <a:lnTo>
                  <a:pt x="14496" y="20735"/>
                </a:lnTo>
                <a:lnTo>
                  <a:pt x="14532" y="20631"/>
                </a:lnTo>
                <a:cubicBezTo>
                  <a:pt x="14523" y="20597"/>
                  <a:pt x="14526" y="20563"/>
                  <a:pt x="14539" y="20531"/>
                </a:cubicBezTo>
                <a:cubicBezTo>
                  <a:pt x="14575" y="20440"/>
                  <a:pt x="14682" y="20384"/>
                  <a:pt x="14791" y="20399"/>
                </a:cubicBezTo>
                <a:lnTo>
                  <a:pt x="14996" y="20260"/>
                </a:lnTo>
                <a:lnTo>
                  <a:pt x="15107" y="20110"/>
                </a:lnTo>
                <a:lnTo>
                  <a:pt x="15150" y="19997"/>
                </a:lnTo>
                <a:lnTo>
                  <a:pt x="15186" y="19891"/>
                </a:lnTo>
                <a:lnTo>
                  <a:pt x="15369" y="19792"/>
                </a:lnTo>
                <a:lnTo>
                  <a:pt x="15454" y="19676"/>
                </a:lnTo>
                <a:lnTo>
                  <a:pt x="15576" y="19632"/>
                </a:lnTo>
                <a:lnTo>
                  <a:pt x="15638" y="19549"/>
                </a:lnTo>
                <a:lnTo>
                  <a:pt x="15609" y="19482"/>
                </a:lnTo>
                <a:lnTo>
                  <a:pt x="15554" y="19391"/>
                </a:lnTo>
                <a:lnTo>
                  <a:pt x="15540" y="19247"/>
                </a:lnTo>
                <a:lnTo>
                  <a:pt x="15594" y="18994"/>
                </a:lnTo>
                <a:lnTo>
                  <a:pt x="15680" y="18888"/>
                </a:lnTo>
                <a:lnTo>
                  <a:pt x="15783" y="18803"/>
                </a:lnTo>
                <a:lnTo>
                  <a:pt x="16108" y="18703"/>
                </a:lnTo>
                <a:lnTo>
                  <a:pt x="16294" y="18563"/>
                </a:lnTo>
                <a:lnTo>
                  <a:pt x="16356" y="18482"/>
                </a:lnTo>
                <a:lnTo>
                  <a:pt x="16450" y="18419"/>
                </a:lnTo>
                <a:lnTo>
                  <a:pt x="16505" y="18325"/>
                </a:lnTo>
                <a:lnTo>
                  <a:pt x="16541" y="18156"/>
                </a:lnTo>
                <a:lnTo>
                  <a:pt x="16548" y="18043"/>
                </a:lnTo>
                <a:lnTo>
                  <a:pt x="16548" y="17943"/>
                </a:lnTo>
                <a:lnTo>
                  <a:pt x="16457" y="17826"/>
                </a:lnTo>
                <a:lnTo>
                  <a:pt x="16334" y="17670"/>
                </a:lnTo>
                <a:lnTo>
                  <a:pt x="16240" y="17538"/>
                </a:lnTo>
                <a:lnTo>
                  <a:pt x="16254" y="17449"/>
                </a:lnTo>
                <a:lnTo>
                  <a:pt x="16304" y="17342"/>
                </a:lnTo>
                <a:lnTo>
                  <a:pt x="16369" y="17186"/>
                </a:lnTo>
                <a:lnTo>
                  <a:pt x="16451" y="17084"/>
                </a:lnTo>
                <a:lnTo>
                  <a:pt x="16585" y="16986"/>
                </a:lnTo>
                <a:lnTo>
                  <a:pt x="16672" y="16904"/>
                </a:lnTo>
                <a:lnTo>
                  <a:pt x="16819" y="16806"/>
                </a:lnTo>
                <a:lnTo>
                  <a:pt x="16908" y="16667"/>
                </a:lnTo>
                <a:lnTo>
                  <a:pt x="17014" y="16561"/>
                </a:lnTo>
                <a:lnTo>
                  <a:pt x="17093" y="16492"/>
                </a:lnTo>
                <a:lnTo>
                  <a:pt x="17208" y="16417"/>
                </a:lnTo>
                <a:lnTo>
                  <a:pt x="17512" y="16298"/>
                </a:lnTo>
                <a:lnTo>
                  <a:pt x="17764" y="16173"/>
                </a:lnTo>
                <a:lnTo>
                  <a:pt x="17834" y="16130"/>
                </a:lnTo>
                <a:lnTo>
                  <a:pt x="18026" y="15990"/>
                </a:lnTo>
                <a:cubicBezTo>
                  <a:pt x="18082" y="15956"/>
                  <a:pt x="18127" y="15911"/>
                  <a:pt x="18157" y="15859"/>
                </a:cubicBezTo>
                <a:cubicBezTo>
                  <a:pt x="18188" y="15803"/>
                  <a:pt x="18203" y="15741"/>
                  <a:pt x="18198" y="15679"/>
                </a:cubicBezTo>
                <a:lnTo>
                  <a:pt x="18246" y="15583"/>
                </a:lnTo>
                <a:lnTo>
                  <a:pt x="18366" y="15487"/>
                </a:lnTo>
                <a:lnTo>
                  <a:pt x="18345" y="15404"/>
                </a:lnTo>
                <a:lnTo>
                  <a:pt x="18243" y="15335"/>
                </a:lnTo>
                <a:lnTo>
                  <a:pt x="18279" y="15179"/>
                </a:lnTo>
                <a:lnTo>
                  <a:pt x="18265" y="15022"/>
                </a:lnTo>
                <a:lnTo>
                  <a:pt x="18188" y="14962"/>
                </a:lnTo>
                <a:cubicBezTo>
                  <a:pt x="18199" y="14916"/>
                  <a:pt x="18210" y="14869"/>
                  <a:pt x="18222" y="14823"/>
                </a:cubicBezTo>
                <a:cubicBezTo>
                  <a:pt x="18246" y="14730"/>
                  <a:pt x="18271" y="14638"/>
                  <a:pt x="18299" y="14547"/>
                </a:cubicBezTo>
                <a:lnTo>
                  <a:pt x="18285" y="14483"/>
                </a:lnTo>
                <a:lnTo>
                  <a:pt x="18215" y="14353"/>
                </a:lnTo>
                <a:lnTo>
                  <a:pt x="18136" y="14247"/>
                </a:lnTo>
                <a:lnTo>
                  <a:pt x="18078" y="14173"/>
                </a:lnTo>
                <a:lnTo>
                  <a:pt x="18002" y="14079"/>
                </a:lnTo>
                <a:lnTo>
                  <a:pt x="17843" y="13717"/>
                </a:lnTo>
                <a:lnTo>
                  <a:pt x="17758" y="13550"/>
                </a:lnTo>
                <a:lnTo>
                  <a:pt x="17758" y="13409"/>
                </a:lnTo>
                <a:lnTo>
                  <a:pt x="17751" y="13334"/>
                </a:lnTo>
                <a:lnTo>
                  <a:pt x="17751" y="13215"/>
                </a:lnTo>
                <a:lnTo>
                  <a:pt x="17758" y="13096"/>
                </a:lnTo>
                <a:lnTo>
                  <a:pt x="17763" y="12990"/>
                </a:lnTo>
                <a:lnTo>
                  <a:pt x="17785" y="12871"/>
                </a:lnTo>
                <a:lnTo>
                  <a:pt x="17806" y="12777"/>
                </a:lnTo>
                <a:lnTo>
                  <a:pt x="17847" y="12656"/>
                </a:lnTo>
                <a:lnTo>
                  <a:pt x="17869" y="12508"/>
                </a:lnTo>
                <a:lnTo>
                  <a:pt x="17948" y="12397"/>
                </a:lnTo>
                <a:lnTo>
                  <a:pt x="17975" y="12341"/>
                </a:lnTo>
                <a:lnTo>
                  <a:pt x="18025" y="12266"/>
                </a:lnTo>
                <a:lnTo>
                  <a:pt x="18119" y="12160"/>
                </a:lnTo>
                <a:lnTo>
                  <a:pt x="18213" y="12103"/>
                </a:lnTo>
                <a:lnTo>
                  <a:pt x="18266" y="11989"/>
                </a:lnTo>
                <a:lnTo>
                  <a:pt x="18374" y="11916"/>
                </a:lnTo>
                <a:lnTo>
                  <a:pt x="18483" y="11840"/>
                </a:lnTo>
                <a:lnTo>
                  <a:pt x="18706" y="11666"/>
                </a:lnTo>
                <a:lnTo>
                  <a:pt x="18844" y="11494"/>
                </a:lnTo>
                <a:lnTo>
                  <a:pt x="18938" y="11331"/>
                </a:lnTo>
                <a:lnTo>
                  <a:pt x="19010" y="11281"/>
                </a:lnTo>
                <a:lnTo>
                  <a:pt x="19096" y="11194"/>
                </a:lnTo>
                <a:lnTo>
                  <a:pt x="19175" y="11131"/>
                </a:lnTo>
                <a:lnTo>
                  <a:pt x="19282" y="10996"/>
                </a:lnTo>
                <a:lnTo>
                  <a:pt x="19324" y="10940"/>
                </a:lnTo>
                <a:lnTo>
                  <a:pt x="19389" y="10872"/>
                </a:lnTo>
                <a:lnTo>
                  <a:pt x="19524" y="10799"/>
                </a:lnTo>
                <a:cubicBezTo>
                  <a:pt x="19560" y="10778"/>
                  <a:pt x="19596" y="10758"/>
                  <a:pt x="19632" y="10738"/>
                </a:cubicBezTo>
                <a:cubicBezTo>
                  <a:pt x="19704" y="10698"/>
                  <a:pt x="19777" y="10660"/>
                  <a:pt x="19849" y="10621"/>
                </a:cubicBezTo>
                <a:lnTo>
                  <a:pt x="20001" y="10465"/>
                </a:lnTo>
                <a:lnTo>
                  <a:pt x="20044" y="10396"/>
                </a:lnTo>
                <a:lnTo>
                  <a:pt x="20145" y="10315"/>
                </a:lnTo>
                <a:lnTo>
                  <a:pt x="20246" y="10299"/>
                </a:lnTo>
                <a:lnTo>
                  <a:pt x="20366" y="10226"/>
                </a:lnTo>
                <a:cubicBezTo>
                  <a:pt x="20392" y="10200"/>
                  <a:pt x="20416" y="10173"/>
                  <a:pt x="20438" y="10144"/>
                </a:cubicBezTo>
                <a:cubicBezTo>
                  <a:pt x="20479" y="10093"/>
                  <a:pt x="20513" y="10038"/>
                  <a:pt x="20540" y="9980"/>
                </a:cubicBezTo>
                <a:lnTo>
                  <a:pt x="20669" y="9713"/>
                </a:lnTo>
                <a:lnTo>
                  <a:pt x="20763" y="9627"/>
                </a:lnTo>
                <a:lnTo>
                  <a:pt x="20850" y="9427"/>
                </a:lnTo>
                <a:lnTo>
                  <a:pt x="21053" y="9218"/>
                </a:lnTo>
                <a:lnTo>
                  <a:pt x="21106" y="9101"/>
                </a:lnTo>
                <a:lnTo>
                  <a:pt x="21207" y="8920"/>
                </a:lnTo>
                <a:lnTo>
                  <a:pt x="21270" y="8773"/>
                </a:lnTo>
                <a:lnTo>
                  <a:pt x="21345" y="8665"/>
                </a:lnTo>
                <a:lnTo>
                  <a:pt x="21410" y="8525"/>
                </a:lnTo>
                <a:lnTo>
                  <a:pt x="21516" y="8371"/>
                </a:lnTo>
                <a:lnTo>
                  <a:pt x="21542" y="8283"/>
                </a:lnTo>
                <a:lnTo>
                  <a:pt x="21600" y="8133"/>
                </a:lnTo>
                <a:lnTo>
                  <a:pt x="21600" y="8003"/>
                </a:lnTo>
                <a:lnTo>
                  <a:pt x="21549" y="7866"/>
                </a:lnTo>
                <a:lnTo>
                  <a:pt x="21537" y="7747"/>
                </a:lnTo>
                <a:lnTo>
                  <a:pt x="21528" y="7674"/>
                </a:lnTo>
                <a:lnTo>
                  <a:pt x="21417" y="7699"/>
                </a:lnTo>
                <a:lnTo>
                  <a:pt x="21251" y="7784"/>
                </a:lnTo>
                <a:lnTo>
                  <a:pt x="20953" y="7845"/>
                </a:lnTo>
                <a:lnTo>
                  <a:pt x="20707" y="7931"/>
                </a:lnTo>
                <a:lnTo>
                  <a:pt x="20477" y="7987"/>
                </a:lnTo>
                <a:lnTo>
                  <a:pt x="20226" y="8018"/>
                </a:lnTo>
                <a:lnTo>
                  <a:pt x="19987" y="8056"/>
                </a:lnTo>
                <a:lnTo>
                  <a:pt x="19901" y="8080"/>
                </a:lnTo>
                <a:lnTo>
                  <a:pt x="19803" y="8110"/>
                </a:lnTo>
                <a:lnTo>
                  <a:pt x="19721" y="8116"/>
                </a:lnTo>
                <a:lnTo>
                  <a:pt x="19490" y="8053"/>
                </a:lnTo>
                <a:cubicBezTo>
                  <a:pt x="19444" y="8038"/>
                  <a:pt x="19398" y="8022"/>
                  <a:pt x="19353" y="8003"/>
                </a:cubicBezTo>
                <a:cubicBezTo>
                  <a:pt x="19301" y="7982"/>
                  <a:pt x="19251" y="7959"/>
                  <a:pt x="19202" y="7934"/>
                </a:cubicBezTo>
                <a:lnTo>
                  <a:pt x="19144" y="7826"/>
                </a:lnTo>
                <a:lnTo>
                  <a:pt x="19151" y="7733"/>
                </a:lnTo>
                <a:lnTo>
                  <a:pt x="19091" y="7614"/>
                </a:lnTo>
                <a:lnTo>
                  <a:pt x="19062" y="7518"/>
                </a:lnTo>
                <a:lnTo>
                  <a:pt x="19033" y="7385"/>
                </a:lnTo>
                <a:lnTo>
                  <a:pt x="18862" y="7343"/>
                </a:lnTo>
                <a:lnTo>
                  <a:pt x="18805" y="7243"/>
                </a:lnTo>
                <a:lnTo>
                  <a:pt x="18783" y="7166"/>
                </a:lnTo>
                <a:lnTo>
                  <a:pt x="18632" y="7073"/>
                </a:lnTo>
                <a:lnTo>
                  <a:pt x="18605" y="6906"/>
                </a:lnTo>
                <a:lnTo>
                  <a:pt x="18519" y="6897"/>
                </a:lnTo>
                <a:cubicBezTo>
                  <a:pt x="18492" y="6901"/>
                  <a:pt x="18465" y="6899"/>
                  <a:pt x="18439" y="6891"/>
                </a:cubicBezTo>
                <a:cubicBezTo>
                  <a:pt x="18366" y="6870"/>
                  <a:pt x="18317" y="6810"/>
                  <a:pt x="18316" y="6743"/>
                </a:cubicBezTo>
                <a:cubicBezTo>
                  <a:pt x="18302" y="6716"/>
                  <a:pt x="18283" y="6691"/>
                  <a:pt x="18261" y="6668"/>
                </a:cubicBezTo>
                <a:cubicBezTo>
                  <a:pt x="18230" y="6636"/>
                  <a:pt x="18191" y="6609"/>
                  <a:pt x="18148" y="6589"/>
                </a:cubicBezTo>
                <a:lnTo>
                  <a:pt x="18030" y="6579"/>
                </a:lnTo>
                <a:lnTo>
                  <a:pt x="17871" y="6463"/>
                </a:lnTo>
                <a:lnTo>
                  <a:pt x="17771" y="6355"/>
                </a:lnTo>
                <a:lnTo>
                  <a:pt x="17792" y="6247"/>
                </a:lnTo>
                <a:lnTo>
                  <a:pt x="17721" y="6185"/>
                </a:lnTo>
                <a:lnTo>
                  <a:pt x="17713" y="6087"/>
                </a:lnTo>
                <a:lnTo>
                  <a:pt x="17711" y="6006"/>
                </a:lnTo>
                <a:lnTo>
                  <a:pt x="17530" y="5908"/>
                </a:lnTo>
                <a:lnTo>
                  <a:pt x="17460" y="5774"/>
                </a:lnTo>
                <a:lnTo>
                  <a:pt x="17402" y="5680"/>
                </a:lnTo>
                <a:lnTo>
                  <a:pt x="17258" y="5530"/>
                </a:lnTo>
                <a:lnTo>
                  <a:pt x="17183" y="5451"/>
                </a:lnTo>
                <a:lnTo>
                  <a:pt x="17082" y="5351"/>
                </a:lnTo>
                <a:lnTo>
                  <a:pt x="17048" y="5222"/>
                </a:lnTo>
                <a:lnTo>
                  <a:pt x="17048" y="5089"/>
                </a:lnTo>
                <a:cubicBezTo>
                  <a:pt x="17065" y="5018"/>
                  <a:pt x="17060" y="4945"/>
                  <a:pt x="17034" y="4876"/>
                </a:cubicBezTo>
                <a:cubicBezTo>
                  <a:pt x="17013" y="4820"/>
                  <a:pt x="16978" y="4769"/>
                  <a:pt x="16933" y="4726"/>
                </a:cubicBezTo>
                <a:lnTo>
                  <a:pt x="16889" y="4630"/>
                </a:lnTo>
                <a:lnTo>
                  <a:pt x="16775" y="4458"/>
                </a:lnTo>
                <a:lnTo>
                  <a:pt x="16501" y="4341"/>
                </a:lnTo>
                <a:lnTo>
                  <a:pt x="16472" y="4199"/>
                </a:lnTo>
                <a:cubicBezTo>
                  <a:pt x="16470" y="4140"/>
                  <a:pt x="16461" y="4082"/>
                  <a:pt x="16443" y="4024"/>
                </a:cubicBezTo>
                <a:cubicBezTo>
                  <a:pt x="16425" y="3965"/>
                  <a:pt x="16398" y="3909"/>
                  <a:pt x="16363" y="3855"/>
                </a:cubicBezTo>
                <a:lnTo>
                  <a:pt x="16291" y="3674"/>
                </a:lnTo>
                <a:cubicBezTo>
                  <a:pt x="16289" y="3647"/>
                  <a:pt x="16285" y="3621"/>
                  <a:pt x="16277" y="3595"/>
                </a:cubicBezTo>
                <a:cubicBezTo>
                  <a:pt x="16256" y="3522"/>
                  <a:pt x="16213" y="3455"/>
                  <a:pt x="16154" y="3401"/>
                </a:cubicBezTo>
                <a:lnTo>
                  <a:pt x="16039" y="3250"/>
                </a:lnTo>
                <a:lnTo>
                  <a:pt x="15769" y="2894"/>
                </a:lnTo>
                <a:lnTo>
                  <a:pt x="15611" y="2670"/>
                </a:lnTo>
                <a:lnTo>
                  <a:pt x="15517" y="2564"/>
                </a:lnTo>
                <a:lnTo>
                  <a:pt x="15445" y="2442"/>
                </a:lnTo>
                <a:lnTo>
                  <a:pt x="15435" y="2351"/>
                </a:lnTo>
                <a:lnTo>
                  <a:pt x="15507" y="2268"/>
                </a:lnTo>
                <a:lnTo>
                  <a:pt x="15557" y="2174"/>
                </a:lnTo>
                <a:lnTo>
                  <a:pt x="15579" y="2095"/>
                </a:lnTo>
                <a:lnTo>
                  <a:pt x="15476" y="1983"/>
                </a:lnTo>
                <a:lnTo>
                  <a:pt x="15276" y="1854"/>
                </a:lnTo>
                <a:lnTo>
                  <a:pt x="15163" y="1798"/>
                </a:lnTo>
                <a:lnTo>
                  <a:pt x="15004" y="1798"/>
                </a:lnTo>
                <a:lnTo>
                  <a:pt x="14882" y="1810"/>
                </a:lnTo>
                <a:lnTo>
                  <a:pt x="14680" y="1867"/>
                </a:lnTo>
                <a:lnTo>
                  <a:pt x="14502" y="1898"/>
                </a:lnTo>
                <a:lnTo>
                  <a:pt x="14335" y="1902"/>
                </a:lnTo>
                <a:lnTo>
                  <a:pt x="14156" y="1858"/>
                </a:lnTo>
                <a:lnTo>
                  <a:pt x="13954" y="1827"/>
                </a:lnTo>
                <a:lnTo>
                  <a:pt x="13826" y="1795"/>
                </a:lnTo>
                <a:lnTo>
                  <a:pt x="13650" y="1741"/>
                </a:lnTo>
                <a:lnTo>
                  <a:pt x="13521" y="1716"/>
                </a:lnTo>
                <a:lnTo>
                  <a:pt x="13389" y="1716"/>
                </a:lnTo>
                <a:lnTo>
                  <a:pt x="13240" y="1681"/>
                </a:lnTo>
                <a:lnTo>
                  <a:pt x="13103" y="1668"/>
                </a:lnTo>
                <a:lnTo>
                  <a:pt x="12934" y="1606"/>
                </a:lnTo>
                <a:lnTo>
                  <a:pt x="12749" y="1481"/>
                </a:lnTo>
                <a:lnTo>
                  <a:pt x="12590" y="1418"/>
                </a:lnTo>
                <a:lnTo>
                  <a:pt x="12457" y="1374"/>
                </a:lnTo>
                <a:lnTo>
                  <a:pt x="12308" y="1331"/>
                </a:lnTo>
                <a:lnTo>
                  <a:pt x="12072" y="1318"/>
                </a:lnTo>
                <a:lnTo>
                  <a:pt x="11905" y="129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1" name="ïšḻíde">
            <a:extLst>
              <a:ext uri="{FF2B5EF4-FFF2-40B4-BE49-F238E27FC236}">
                <a16:creationId xmlns:a16="http://schemas.microsoft.com/office/drawing/2014/main" id="{2F6ED008-1752-43ED-831C-B4B4B7296608}"/>
              </a:ext>
            </a:extLst>
          </p:cNvPr>
          <p:cNvSpPr/>
          <p:nvPr/>
        </p:nvSpPr>
        <p:spPr>
          <a:xfrm>
            <a:off x="7267076" y="4181435"/>
            <a:ext cx="24715" cy="19680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81" name="íś1îḍe">
            <a:extLst>
              <a:ext uri="{FF2B5EF4-FFF2-40B4-BE49-F238E27FC236}">
                <a16:creationId xmlns:a16="http://schemas.microsoft.com/office/drawing/2014/main" id="{4489EA31-E53C-4B66-B31A-6ACEA65CF6BB}"/>
              </a:ext>
            </a:extLst>
          </p:cNvPr>
          <p:cNvSpPr/>
          <p:nvPr/>
        </p:nvSpPr>
        <p:spPr>
          <a:xfrm>
            <a:off x="6869188" y="4427700"/>
            <a:ext cx="224769" cy="4303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96" y="0"/>
                </a:moveTo>
                <a:lnTo>
                  <a:pt x="19918" y="733"/>
                </a:lnTo>
                <a:lnTo>
                  <a:pt x="20738" y="1839"/>
                </a:lnTo>
                <a:lnTo>
                  <a:pt x="21268" y="2687"/>
                </a:lnTo>
                <a:lnTo>
                  <a:pt x="21600" y="3981"/>
                </a:lnTo>
                <a:lnTo>
                  <a:pt x="20826" y="5023"/>
                </a:lnTo>
                <a:cubicBezTo>
                  <a:pt x="20609" y="5376"/>
                  <a:pt x="20366" y="5724"/>
                  <a:pt x="20097" y="6066"/>
                </a:cubicBezTo>
                <a:cubicBezTo>
                  <a:pt x="19662" y="6621"/>
                  <a:pt x="19160" y="7160"/>
                  <a:pt x="18594" y="7681"/>
                </a:cubicBezTo>
                <a:lnTo>
                  <a:pt x="17802" y="9136"/>
                </a:lnTo>
                <a:lnTo>
                  <a:pt x="17031" y="10592"/>
                </a:lnTo>
                <a:cubicBezTo>
                  <a:pt x="16764" y="10920"/>
                  <a:pt x="16499" y="11249"/>
                  <a:pt x="16235" y="11578"/>
                </a:cubicBezTo>
                <a:cubicBezTo>
                  <a:pt x="15888" y="12012"/>
                  <a:pt x="15544" y="12446"/>
                  <a:pt x="15203" y="12881"/>
                </a:cubicBezTo>
                <a:lnTo>
                  <a:pt x="14606" y="13728"/>
                </a:lnTo>
                <a:lnTo>
                  <a:pt x="14010" y="14760"/>
                </a:lnTo>
                <a:lnTo>
                  <a:pt x="13215" y="16308"/>
                </a:lnTo>
                <a:lnTo>
                  <a:pt x="12950" y="17339"/>
                </a:lnTo>
                <a:lnTo>
                  <a:pt x="12553" y="18473"/>
                </a:lnTo>
                <a:lnTo>
                  <a:pt x="11359" y="19536"/>
                </a:lnTo>
                <a:lnTo>
                  <a:pt x="10161" y="20327"/>
                </a:lnTo>
                <a:lnTo>
                  <a:pt x="8567" y="20671"/>
                </a:lnTo>
                <a:lnTo>
                  <a:pt x="6435" y="21394"/>
                </a:lnTo>
                <a:lnTo>
                  <a:pt x="5446" y="21600"/>
                </a:lnTo>
                <a:cubicBezTo>
                  <a:pt x="4959" y="21573"/>
                  <a:pt x="4489" y="21491"/>
                  <a:pt x="4070" y="21359"/>
                </a:cubicBezTo>
                <a:cubicBezTo>
                  <a:pt x="3557" y="21198"/>
                  <a:pt x="3137" y="20969"/>
                  <a:pt x="2852" y="20696"/>
                </a:cubicBezTo>
                <a:cubicBezTo>
                  <a:pt x="2444" y="20653"/>
                  <a:pt x="2063" y="20558"/>
                  <a:pt x="1743" y="20420"/>
                </a:cubicBezTo>
                <a:cubicBezTo>
                  <a:pt x="1252" y="20209"/>
                  <a:pt x="932" y="19911"/>
                  <a:pt x="844" y="19584"/>
                </a:cubicBezTo>
                <a:cubicBezTo>
                  <a:pt x="905" y="19197"/>
                  <a:pt x="866" y="18807"/>
                  <a:pt x="730" y="18426"/>
                </a:cubicBezTo>
                <a:cubicBezTo>
                  <a:pt x="598" y="18058"/>
                  <a:pt x="376" y="17701"/>
                  <a:pt x="69" y="17362"/>
                </a:cubicBezTo>
                <a:lnTo>
                  <a:pt x="0" y="16892"/>
                </a:lnTo>
                <a:lnTo>
                  <a:pt x="534" y="16137"/>
                </a:lnTo>
                <a:lnTo>
                  <a:pt x="1656" y="15246"/>
                </a:lnTo>
                <a:lnTo>
                  <a:pt x="2695" y="14432"/>
                </a:lnTo>
                <a:lnTo>
                  <a:pt x="3422" y="13745"/>
                </a:lnTo>
                <a:lnTo>
                  <a:pt x="4350" y="12713"/>
                </a:lnTo>
                <a:cubicBezTo>
                  <a:pt x="4439" y="12532"/>
                  <a:pt x="4506" y="12348"/>
                  <a:pt x="4549" y="12163"/>
                </a:cubicBezTo>
                <a:cubicBezTo>
                  <a:pt x="4652" y="11728"/>
                  <a:pt x="4630" y="11288"/>
                  <a:pt x="4483" y="10857"/>
                </a:cubicBezTo>
                <a:lnTo>
                  <a:pt x="3687" y="9791"/>
                </a:lnTo>
                <a:cubicBezTo>
                  <a:pt x="3616" y="9483"/>
                  <a:pt x="3616" y="9171"/>
                  <a:pt x="3687" y="8862"/>
                </a:cubicBezTo>
                <a:cubicBezTo>
                  <a:pt x="3777" y="8475"/>
                  <a:pt x="3978" y="8097"/>
                  <a:pt x="4284" y="7740"/>
                </a:cubicBezTo>
                <a:lnTo>
                  <a:pt x="4594" y="6756"/>
                </a:lnTo>
                <a:lnTo>
                  <a:pt x="5588" y="5967"/>
                </a:lnTo>
                <a:cubicBezTo>
                  <a:pt x="5955" y="5974"/>
                  <a:pt x="6322" y="5974"/>
                  <a:pt x="6688" y="5967"/>
                </a:cubicBezTo>
                <a:cubicBezTo>
                  <a:pt x="7526" y="5953"/>
                  <a:pt x="8361" y="5907"/>
                  <a:pt x="9186" y="5830"/>
                </a:cubicBezTo>
                <a:lnTo>
                  <a:pt x="11131" y="5176"/>
                </a:lnTo>
                <a:lnTo>
                  <a:pt x="12454" y="4236"/>
                </a:lnTo>
                <a:cubicBezTo>
                  <a:pt x="12687" y="3853"/>
                  <a:pt x="13251" y="3548"/>
                  <a:pt x="13980" y="3411"/>
                </a:cubicBezTo>
                <a:cubicBezTo>
                  <a:pt x="14318" y="3347"/>
                  <a:pt x="14680" y="3324"/>
                  <a:pt x="15038" y="3342"/>
                </a:cubicBezTo>
                <a:cubicBezTo>
                  <a:pt x="15356" y="3221"/>
                  <a:pt x="15665" y="3095"/>
                  <a:pt x="15966" y="2964"/>
                </a:cubicBezTo>
                <a:cubicBezTo>
                  <a:pt x="16733" y="2629"/>
                  <a:pt x="17443" y="2261"/>
                  <a:pt x="18088" y="1863"/>
                </a:cubicBezTo>
                <a:lnTo>
                  <a:pt x="18685" y="866"/>
                </a:lnTo>
                <a:lnTo>
                  <a:pt x="18354" y="341"/>
                </a:lnTo>
                <a:lnTo>
                  <a:pt x="1869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2" name="íşľiḍe">
            <a:extLst>
              <a:ext uri="{FF2B5EF4-FFF2-40B4-BE49-F238E27FC236}">
                <a16:creationId xmlns:a16="http://schemas.microsoft.com/office/drawing/2014/main" id="{6B379066-0D35-42EC-A8AB-646D51B61E89}"/>
              </a:ext>
            </a:extLst>
          </p:cNvPr>
          <p:cNvSpPr/>
          <p:nvPr/>
        </p:nvSpPr>
        <p:spPr>
          <a:xfrm>
            <a:off x="6923938" y="4469512"/>
            <a:ext cx="23218" cy="1848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3" name="îśľïďè">
            <a:extLst>
              <a:ext uri="{FF2B5EF4-FFF2-40B4-BE49-F238E27FC236}">
                <a16:creationId xmlns:a16="http://schemas.microsoft.com/office/drawing/2014/main" id="{D6D76FC8-0ED6-4212-B08F-3C9F45758872}"/>
              </a:ext>
            </a:extLst>
          </p:cNvPr>
          <p:cNvSpPr/>
          <p:nvPr/>
        </p:nvSpPr>
        <p:spPr>
          <a:xfrm>
            <a:off x="6904902" y="4433131"/>
            <a:ext cx="19061" cy="1517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4" name="îṡļíde">
            <a:extLst>
              <a:ext uri="{FF2B5EF4-FFF2-40B4-BE49-F238E27FC236}">
                <a16:creationId xmlns:a16="http://schemas.microsoft.com/office/drawing/2014/main" id="{E4E41C60-BAD5-49A4-9895-7873C11279B2}"/>
              </a:ext>
            </a:extLst>
          </p:cNvPr>
          <p:cNvSpPr/>
          <p:nvPr/>
        </p:nvSpPr>
        <p:spPr>
          <a:xfrm>
            <a:off x="6881766" y="4443350"/>
            <a:ext cx="18399" cy="14651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5" name="îṥ1íḍé">
            <a:extLst>
              <a:ext uri="{FF2B5EF4-FFF2-40B4-BE49-F238E27FC236}">
                <a16:creationId xmlns:a16="http://schemas.microsoft.com/office/drawing/2014/main" id="{315022B5-91B1-4AF2-8105-78533E7AE093}"/>
              </a:ext>
            </a:extLst>
          </p:cNvPr>
          <p:cNvSpPr/>
          <p:nvPr/>
        </p:nvSpPr>
        <p:spPr>
          <a:xfrm>
            <a:off x="6861584" y="4408876"/>
            <a:ext cx="21746" cy="1731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6" name="íşḷîḍè">
            <a:extLst>
              <a:ext uri="{FF2B5EF4-FFF2-40B4-BE49-F238E27FC236}">
                <a16:creationId xmlns:a16="http://schemas.microsoft.com/office/drawing/2014/main" id="{128693D1-3554-4F99-8589-969617A636A2}"/>
              </a:ext>
            </a:extLst>
          </p:cNvPr>
          <p:cNvSpPr/>
          <p:nvPr/>
        </p:nvSpPr>
        <p:spPr>
          <a:xfrm>
            <a:off x="7231610" y="4695697"/>
            <a:ext cx="32378" cy="2578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7" name="ïṣḻídè">
            <a:extLst>
              <a:ext uri="{FF2B5EF4-FFF2-40B4-BE49-F238E27FC236}">
                <a16:creationId xmlns:a16="http://schemas.microsoft.com/office/drawing/2014/main" id="{A912B6E6-3251-473D-B3DF-10EF4BA8ABAD}"/>
              </a:ext>
            </a:extLst>
          </p:cNvPr>
          <p:cNvSpPr/>
          <p:nvPr/>
        </p:nvSpPr>
        <p:spPr>
          <a:xfrm>
            <a:off x="7289423" y="4669641"/>
            <a:ext cx="21265" cy="1693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8" name="îŝľïḋé">
            <a:extLst>
              <a:ext uri="{FF2B5EF4-FFF2-40B4-BE49-F238E27FC236}">
                <a16:creationId xmlns:a16="http://schemas.microsoft.com/office/drawing/2014/main" id="{381A0EDA-358A-47CC-9CB9-8B309B7D8AE8}"/>
              </a:ext>
            </a:extLst>
          </p:cNvPr>
          <p:cNvSpPr/>
          <p:nvPr/>
        </p:nvSpPr>
        <p:spPr>
          <a:xfrm>
            <a:off x="5396514" y="4536954"/>
            <a:ext cx="28826" cy="22954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79" name="îsḻîḓé">
            <a:extLst>
              <a:ext uri="{FF2B5EF4-FFF2-40B4-BE49-F238E27FC236}">
                <a16:creationId xmlns:a16="http://schemas.microsoft.com/office/drawing/2014/main" id="{29B7E068-338F-47D9-8D29-34EFF2694C30}"/>
              </a:ext>
            </a:extLst>
          </p:cNvPr>
          <p:cNvSpPr/>
          <p:nvPr/>
        </p:nvSpPr>
        <p:spPr>
          <a:xfrm>
            <a:off x="5760076" y="3980732"/>
            <a:ext cx="21028" cy="16744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90" name="íšlïďê">
            <a:extLst>
              <a:ext uri="{FF2B5EF4-FFF2-40B4-BE49-F238E27FC236}">
                <a16:creationId xmlns:a16="http://schemas.microsoft.com/office/drawing/2014/main" id="{E733622F-AF80-4527-AD63-B1716B04F9F8}"/>
              </a:ext>
            </a:extLst>
          </p:cNvPr>
          <p:cNvSpPr/>
          <p:nvPr/>
        </p:nvSpPr>
        <p:spPr>
          <a:xfrm>
            <a:off x="5826286" y="3894867"/>
            <a:ext cx="18727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047" y="0"/>
                </a:moveTo>
                <a:lnTo>
                  <a:pt x="0" y="5982"/>
                </a:lnTo>
                <a:lnTo>
                  <a:pt x="2019" y="20443"/>
                </a:lnTo>
                <a:lnTo>
                  <a:pt x="15499" y="21600"/>
                </a:lnTo>
                <a:lnTo>
                  <a:pt x="21600" y="4412"/>
                </a:lnTo>
                <a:lnTo>
                  <a:pt x="11047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1" name="išļïḑè">
            <a:extLst>
              <a:ext uri="{FF2B5EF4-FFF2-40B4-BE49-F238E27FC236}">
                <a16:creationId xmlns:a16="http://schemas.microsoft.com/office/drawing/2014/main" id="{E1B603A9-B0B0-4C1C-8064-C921C9C28E63}"/>
              </a:ext>
            </a:extLst>
          </p:cNvPr>
          <p:cNvSpPr/>
          <p:nvPr/>
        </p:nvSpPr>
        <p:spPr>
          <a:xfrm>
            <a:off x="5802081" y="3947167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11" y="0"/>
                </a:moveTo>
                <a:lnTo>
                  <a:pt x="0" y="9014"/>
                </a:lnTo>
                <a:lnTo>
                  <a:pt x="7385" y="21600"/>
                </a:lnTo>
                <a:lnTo>
                  <a:pt x="21600" y="12069"/>
                </a:lnTo>
                <a:lnTo>
                  <a:pt x="17567" y="1769"/>
                </a:lnTo>
                <a:lnTo>
                  <a:pt x="72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2" name="íšḻidè">
            <a:extLst>
              <a:ext uri="{FF2B5EF4-FFF2-40B4-BE49-F238E27FC236}">
                <a16:creationId xmlns:a16="http://schemas.microsoft.com/office/drawing/2014/main" id="{0630BA85-A9C8-40E7-9A62-3F9B8FB368E5}"/>
              </a:ext>
            </a:extLst>
          </p:cNvPr>
          <p:cNvSpPr/>
          <p:nvPr/>
        </p:nvSpPr>
        <p:spPr>
          <a:xfrm>
            <a:off x="4873667" y="3502446"/>
            <a:ext cx="21321" cy="188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240" y="3109"/>
                </a:moveTo>
                <a:lnTo>
                  <a:pt x="7082" y="0"/>
                </a:lnTo>
                <a:lnTo>
                  <a:pt x="0" y="4651"/>
                </a:lnTo>
                <a:lnTo>
                  <a:pt x="2157" y="15611"/>
                </a:lnTo>
                <a:lnTo>
                  <a:pt x="14637" y="21600"/>
                </a:lnTo>
                <a:lnTo>
                  <a:pt x="21600" y="17214"/>
                </a:lnTo>
                <a:lnTo>
                  <a:pt x="18240" y="3109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3" name="íṡľiḓè">
            <a:extLst>
              <a:ext uri="{FF2B5EF4-FFF2-40B4-BE49-F238E27FC236}">
                <a16:creationId xmlns:a16="http://schemas.microsoft.com/office/drawing/2014/main" id="{309894C6-6E39-4B53-8E18-25115C833012}"/>
              </a:ext>
            </a:extLst>
          </p:cNvPr>
          <p:cNvSpPr/>
          <p:nvPr/>
        </p:nvSpPr>
        <p:spPr>
          <a:xfrm>
            <a:off x="4849684" y="3506215"/>
            <a:ext cx="16664" cy="162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02" y="0"/>
                </a:moveTo>
                <a:lnTo>
                  <a:pt x="2249" y="4561"/>
                </a:lnTo>
                <a:lnTo>
                  <a:pt x="0" y="15210"/>
                </a:lnTo>
                <a:lnTo>
                  <a:pt x="16269" y="21600"/>
                </a:lnTo>
                <a:lnTo>
                  <a:pt x="21600" y="9771"/>
                </a:lnTo>
                <a:lnTo>
                  <a:pt x="10002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4" name="ïšľîḓe">
            <a:extLst>
              <a:ext uri="{FF2B5EF4-FFF2-40B4-BE49-F238E27FC236}">
                <a16:creationId xmlns:a16="http://schemas.microsoft.com/office/drawing/2014/main" id="{2A9C0F49-629E-42A7-B87C-A7FA67EAB6AF}"/>
              </a:ext>
            </a:extLst>
          </p:cNvPr>
          <p:cNvSpPr/>
          <p:nvPr/>
        </p:nvSpPr>
        <p:spPr>
          <a:xfrm>
            <a:off x="4843579" y="3468797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67" y="0"/>
                </a:moveTo>
                <a:lnTo>
                  <a:pt x="0" y="5790"/>
                </a:lnTo>
                <a:lnTo>
                  <a:pt x="269" y="21257"/>
                </a:lnTo>
                <a:lnTo>
                  <a:pt x="21600" y="21600"/>
                </a:lnTo>
                <a:lnTo>
                  <a:pt x="15567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5" name="îšliḋé">
            <a:extLst>
              <a:ext uri="{FF2B5EF4-FFF2-40B4-BE49-F238E27FC236}">
                <a16:creationId xmlns:a16="http://schemas.microsoft.com/office/drawing/2014/main" id="{3149630C-AD20-4F48-BC2D-5223403394D9}"/>
              </a:ext>
            </a:extLst>
          </p:cNvPr>
          <p:cNvSpPr/>
          <p:nvPr/>
        </p:nvSpPr>
        <p:spPr>
          <a:xfrm>
            <a:off x="4881632" y="3470530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788" y="13213"/>
                </a:lnTo>
                <a:lnTo>
                  <a:pt x="15312" y="21600"/>
                </a:lnTo>
                <a:lnTo>
                  <a:pt x="21600" y="190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6" name="išḷiḋe">
            <a:extLst>
              <a:ext uri="{FF2B5EF4-FFF2-40B4-BE49-F238E27FC236}">
                <a16:creationId xmlns:a16="http://schemas.microsoft.com/office/drawing/2014/main" id="{22F603E0-F7B6-4909-9FBE-F8940AF78FA2}"/>
              </a:ext>
            </a:extLst>
          </p:cNvPr>
          <p:cNvSpPr/>
          <p:nvPr/>
        </p:nvSpPr>
        <p:spPr>
          <a:xfrm>
            <a:off x="4801134" y="3440306"/>
            <a:ext cx="14800" cy="199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742"/>
                </a:moveTo>
                <a:lnTo>
                  <a:pt x="4329" y="14327"/>
                </a:lnTo>
                <a:lnTo>
                  <a:pt x="16819" y="21600"/>
                </a:lnTo>
                <a:lnTo>
                  <a:pt x="21600" y="10493"/>
                </a:lnTo>
                <a:lnTo>
                  <a:pt x="13195" y="0"/>
                </a:lnTo>
                <a:lnTo>
                  <a:pt x="0" y="374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7" name="ïŝ1ïḋè">
            <a:extLst>
              <a:ext uri="{FF2B5EF4-FFF2-40B4-BE49-F238E27FC236}">
                <a16:creationId xmlns:a16="http://schemas.microsoft.com/office/drawing/2014/main" id="{0C89CD37-3252-47CF-AB2B-F17F0EBA9F20}"/>
              </a:ext>
            </a:extLst>
          </p:cNvPr>
          <p:cNvSpPr/>
          <p:nvPr/>
        </p:nvSpPr>
        <p:spPr>
          <a:xfrm>
            <a:off x="6330313" y="1575550"/>
            <a:ext cx="3668293" cy="2399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888" y="10223"/>
                </a:moveTo>
                <a:lnTo>
                  <a:pt x="3759" y="10132"/>
                </a:lnTo>
                <a:lnTo>
                  <a:pt x="3569" y="10003"/>
                </a:lnTo>
                <a:lnTo>
                  <a:pt x="3374" y="9884"/>
                </a:lnTo>
                <a:lnTo>
                  <a:pt x="3246" y="9786"/>
                </a:lnTo>
                <a:lnTo>
                  <a:pt x="3076" y="9629"/>
                </a:lnTo>
                <a:lnTo>
                  <a:pt x="2911" y="9493"/>
                </a:lnTo>
                <a:lnTo>
                  <a:pt x="2761" y="9429"/>
                </a:lnTo>
                <a:lnTo>
                  <a:pt x="2496" y="9413"/>
                </a:lnTo>
                <a:lnTo>
                  <a:pt x="2488" y="9536"/>
                </a:lnTo>
                <a:lnTo>
                  <a:pt x="2488" y="9685"/>
                </a:lnTo>
                <a:lnTo>
                  <a:pt x="2440" y="9710"/>
                </a:lnTo>
                <a:lnTo>
                  <a:pt x="2438" y="9806"/>
                </a:lnTo>
                <a:lnTo>
                  <a:pt x="2404" y="9868"/>
                </a:lnTo>
                <a:lnTo>
                  <a:pt x="2281" y="9898"/>
                </a:lnTo>
                <a:lnTo>
                  <a:pt x="2204" y="9935"/>
                </a:lnTo>
                <a:lnTo>
                  <a:pt x="2136" y="9972"/>
                </a:lnTo>
                <a:lnTo>
                  <a:pt x="2027" y="9972"/>
                </a:lnTo>
                <a:lnTo>
                  <a:pt x="2002" y="9923"/>
                </a:lnTo>
                <a:lnTo>
                  <a:pt x="1910" y="9911"/>
                </a:lnTo>
                <a:lnTo>
                  <a:pt x="1838" y="9882"/>
                </a:lnTo>
                <a:lnTo>
                  <a:pt x="1737" y="9753"/>
                </a:lnTo>
                <a:lnTo>
                  <a:pt x="1662" y="9674"/>
                </a:lnTo>
                <a:lnTo>
                  <a:pt x="1566" y="9632"/>
                </a:lnTo>
                <a:lnTo>
                  <a:pt x="1456" y="9632"/>
                </a:lnTo>
                <a:lnTo>
                  <a:pt x="1311" y="9556"/>
                </a:lnTo>
                <a:lnTo>
                  <a:pt x="1142" y="9550"/>
                </a:lnTo>
                <a:lnTo>
                  <a:pt x="1029" y="9601"/>
                </a:lnTo>
                <a:lnTo>
                  <a:pt x="892" y="9755"/>
                </a:lnTo>
                <a:lnTo>
                  <a:pt x="746" y="9853"/>
                </a:lnTo>
                <a:lnTo>
                  <a:pt x="686" y="9775"/>
                </a:lnTo>
                <a:lnTo>
                  <a:pt x="637" y="9781"/>
                </a:lnTo>
                <a:lnTo>
                  <a:pt x="517" y="9840"/>
                </a:lnTo>
                <a:lnTo>
                  <a:pt x="497" y="9942"/>
                </a:lnTo>
                <a:lnTo>
                  <a:pt x="434" y="10016"/>
                </a:lnTo>
                <a:lnTo>
                  <a:pt x="372" y="10094"/>
                </a:lnTo>
                <a:lnTo>
                  <a:pt x="333" y="10172"/>
                </a:lnTo>
                <a:lnTo>
                  <a:pt x="266" y="10168"/>
                </a:lnTo>
                <a:lnTo>
                  <a:pt x="217" y="10086"/>
                </a:lnTo>
                <a:lnTo>
                  <a:pt x="134" y="10086"/>
                </a:lnTo>
                <a:lnTo>
                  <a:pt x="77" y="10159"/>
                </a:lnTo>
                <a:lnTo>
                  <a:pt x="17" y="10178"/>
                </a:lnTo>
                <a:lnTo>
                  <a:pt x="0" y="10303"/>
                </a:lnTo>
                <a:lnTo>
                  <a:pt x="78" y="10326"/>
                </a:lnTo>
                <a:lnTo>
                  <a:pt x="133" y="10326"/>
                </a:lnTo>
                <a:lnTo>
                  <a:pt x="213" y="10443"/>
                </a:lnTo>
                <a:lnTo>
                  <a:pt x="190" y="10662"/>
                </a:lnTo>
                <a:lnTo>
                  <a:pt x="231" y="10788"/>
                </a:lnTo>
                <a:lnTo>
                  <a:pt x="262" y="10847"/>
                </a:lnTo>
                <a:lnTo>
                  <a:pt x="282" y="10968"/>
                </a:lnTo>
                <a:lnTo>
                  <a:pt x="337" y="11040"/>
                </a:lnTo>
                <a:lnTo>
                  <a:pt x="424" y="11071"/>
                </a:lnTo>
                <a:lnTo>
                  <a:pt x="465" y="11186"/>
                </a:lnTo>
                <a:lnTo>
                  <a:pt x="540" y="11180"/>
                </a:lnTo>
                <a:lnTo>
                  <a:pt x="596" y="11201"/>
                </a:lnTo>
                <a:lnTo>
                  <a:pt x="645" y="11223"/>
                </a:lnTo>
                <a:lnTo>
                  <a:pt x="735" y="11198"/>
                </a:lnTo>
                <a:lnTo>
                  <a:pt x="776" y="11089"/>
                </a:lnTo>
                <a:lnTo>
                  <a:pt x="857" y="11047"/>
                </a:lnTo>
                <a:lnTo>
                  <a:pt x="954" y="11071"/>
                </a:lnTo>
                <a:lnTo>
                  <a:pt x="993" y="11139"/>
                </a:lnTo>
                <a:lnTo>
                  <a:pt x="1119" y="11238"/>
                </a:lnTo>
                <a:lnTo>
                  <a:pt x="1269" y="11219"/>
                </a:lnTo>
                <a:lnTo>
                  <a:pt x="1313" y="11207"/>
                </a:lnTo>
                <a:lnTo>
                  <a:pt x="1390" y="11119"/>
                </a:lnTo>
                <a:lnTo>
                  <a:pt x="1486" y="11040"/>
                </a:lnTo>
                <a:lnTo>
                  <a:pt x="1581" y="11016"/>
                </a:lnTo>
                <a:lnTo>
                  <a:pt x="1654" y="11065"/>
                </a:lnTo>
                <a:lnTo>
                  <a:pt x="1739" y="11096"/>
                </a:lnTo>
                <a:lnTo>
                  <a:pt x="1739" y="11260"/>
                </a:lnTo>
                <a:lnTo>
                  <a:pt x="1702" y="11340"/>
                </a:lnTo>
                <a:lnTo>
                  <a:pt x="1719" y="11558"/>
                </a:lnTo>
                <a:lnTo>
                  <a:pt x="1711" y="11714"/>
                </a:lnTo>
                <a:lnTo>
                  <a:pt x="1701" y="11890"/>
                </a:lnTo>
                <a:lnTo>
                  <a:pt x="1645" y="12051"/>
                </a:lnTo>
                <a:lnTo>
                  <a:pt x="1657" y="12205"/>
                </a:lnTo>
                <a:cubicBezTo>
                  <a:pt x="1663" y="12254"/>
                  <a:pt x="1664" y="12305"/>
                  <a:pt x="1661" y="12355"/>
                </a:cubicBezTo>
                <a:cubicBezTo>
                  <a:pt x="1657" y="12420"/>
                  <a:pt x="1645" y="12483"/>
                  <a:pt x="1626" y="12542"/>
                </a:cubicBezTo>
                <a:lnTo>
                  <a:pt x="1585" y="12622"/>
                </a:lnTo>
                <a:lnTo>
                  <a:pt x="1546" y="12708"/>
                </a:lnTo>
                <a:lnTo>
                  <a:pt x="1479" y="12732"/>
                </a:lnTo>
                <a:lnTo>
                  <a:pt x="1386" y="12744"/>
                </a:lnTo>
                <a:lnTo>
                  <a:pt x="1285" y="12855"/>
                </a:lnTo>
                <a:lnTo>
                  <a:pt x="1201" y="12825"/>
                </a:lnTo>
                <a:lnTo>
                  <a:pt x="1164" y="12855"/>
                </a:lnTo>
                <a:lnTo>
                  <a:pt x="1228" y="12954"/>
                </a:lnTo>
                <a:lnTo>
                  <a:pt x="1263" y="13016"/>
                </a:lnTo>
                <a:lnTo>
                  <a:pt x="1239" y="13122"/>
                </a:lnTo>
                <a:lnTo>
                  <a:pt x="1307" y="13243"/>
                </a:lnTo>
                <a:lnTo>
                  <a:pt x="1359" y="13286"/>
                </a:lnTo>
                <a:lnTo>
                  <a:pt x="1408" y="13345"/>
                </a:lnTo>
                <a:lnTo>
                  <a:pt x="1404" y="13429"/>
                </a:lnTo>
                <a:lnTo>
                  <a:pt x="1404" y="13509"/>
                </a:lnTo>
                <a:lnTo>
                  <a:pt x="1481" y="13572"/>
                </a:lnTo>
                <a:lnTo>
                  <a:pt x="1558" y="13731"/>
                </a:lnTo>
                <a:lnTo>
                  <a:pt x="1602" y="13657"/>
                </a:lnTo>
                <a:lnTo>
                  <a:pt x="1602" y="13398"/>
                </a:lnTo>
                <a:lnTo>
                  <a:pt x="1659" y="13331"/>
                </a:lnTo>
                <a:lnTo>
                  <a:pt x="1705" y="13420"/>
                </a:lnTo>
                <a:lnTo>
                  <a:pt x="1741" y="13555"/>
                </a:lnTo>
                <a:lnTo>
                  <a:pt x="1778" y="13837"/>
                </a:lnTo>
                <a:lnTo>
                  <a:pt x="1857" y="13946"/>
                </a:lnTo>
                <a:lnTo>
                  <a:pt x="1897" y="14113"/>
                </a:lnTo>
                <a:lnTo>
                  <a:pt x="1945" y="14215"/>
                </a:lnTo>
                <a:lnTo>
                  <a:pt x="1995" y="14373"/>
                </a:lnTo>
                <a:lnTo>
                  <a:pt x="2107" y="14477"/>
                </a:lnTo>
                <a:lnTo>
                  <a:pt x="2161" y="14557"/>
                </a:lnTo>
                <a:lnTo>
                  <a:pt x="2205" y="14753"/>
                </a:lnTo>
                <a:lnTo>
                  <a:pt x="2226" y="14836"/>
                </a:lnTo>
                <a:lnTo>
                  <a:pt x="2263" y="14879"/>
                </a:lnTo>
                <a:lnTo>
                  <a:pt x="2376" y="14996"/>
                </a:lnTo>
                <a:cubicBezTo>
                  <a:pt x="2426" y="15014"/>
                  <a:pt x="2466" y="15070"/>
                  <a:pt x="2482" y="15144"/>
                </a:cubicBezTo>
                <a:cubicBezTo>
                  <a:pt x="2497" y="15214"/>
                  <a:pt x="2488" y="15290"/>
                  <a:pt x="2459" y="15348"/>
                </a:cubicBezTo>
                <a:lnTo>
                  <a:pt x="2471" y="15538"/>
                </a:lnTo>
                <a:lnTo>
                  <a:pt x="2507" y="15643"/>
                </a:lnTo>
                <a:lnTo>
                  <a:pt x="2572" y="15815"/>
                </a:lnTo>
                <a:lnTo>
                  <a:pt x="2569" y="15885"/>
                </a:lnTo>
                <a:lnTo>
                  <a:pt x="2642" y="16007"/>
                </a:lnTo>
                <a:lnTo>
                  <a:pt x="2642" y="16132"/>
                </a:lnTo>
                <a:lnTo>
                  <a:pt x="2752" y="16182"/>
                </a:lnTo>
                <a:lnTo>
                  <a:pt x="2832" y="16227"/>
                </a:lnTo>
                <a:lnTo>
                  <a:pt x="2913" y="16387"/>
                </a:lnTo>
                <a:lnTo>
                  <a:pt x="2927" y="16529"/>
                </a:lnTo>
                <a:lnTo>
                  <a:pt x="2966" y="16723"/>
                </a:lnTo>
                <a:lnTo>
                  <a:pt x="3043" y="16785"/>
                </a:lnTo>
                <a:lnTo>
                  <a:pt x="3087" y="16846"/>
                </a:lnTo>
                <a:lnTo>
                  <a:pt x="3139" y="16957"/>
                </a:lnTo>
                <a:lnTo>
                  <a:pt x="3191" y="17089"/>
                </a:lnTo>
                <a:lnTo>
                  <a:pt x="3118" y="17304"/>
                </a:lnTo>
                <a:lnTo>
                  <a:pt x="3139" y="17419"/>
                </a:lnTo>
                <a:lnTo>
                  <a:pt x="3194" y="17508"/>
                </a:lnTo>
                <a:lnTo>
                  <a:pt x="3227" y="17680"/>
                </a:lnTo>
                <a:lnTo>
                  <a:pt x="3227" y="17814"/>
                </a:lnTo>
                <a:lnTo>
                  <a:pt x="3293" y="17911"/>
                </a:lnTo>
                <a:lnTo>
                  <a:pt x="3336" y="18030"/>
                </a:lnTo>
                <a:lnTo>
                  <a:pt x="3409" y="18178"/>
                </a:lnTo>
                <a:lnTo>
                  <a:pt x="3565" y="18190"/>
                </a:lnTo>
                <a:lnTo>
                  <a:pt x="3748" y="18135"/>
                </a:lnTo>
                <a:lnTo>
                  <a:pt x="3935" y="18014"/>
                </a:lnTo>
                <a:lnTo>
                  <a:pt x="4073" y="17896"/>
                </a:lnTo>
                <a:lnTo>
                  <a:pt x="4184" y="17812"/>
                </a:lnTo>
                <a:cubicBezTo>
                  <a:pt x="4199" y="17796"/>
                  <a:pt x="4214" y="17780"/>
                  <a:pt x="4230" y="17765"/>
                </a:cubicBezTo>
                <a:cubicBezTo>
                  <a:pt x="4287" y="17711"/>
                  <a:pt x="4350" y="17669"/>
                  <a:pt x="4415" y="17640"/>
                </a:cubicBezTo>
                <a:lnTo>
                  <a:pt x="4544" y="17598"/>
                </a:lnTo>
                <a:lnTo>
                  <a:pt x="4658" y="17456"/>
                </a:lnTo>
                <a:lnTo>
                  <a:pt x="4758" y="17382"/>
                </a:lnTo>
                <a:lnTo>
                  <a:pt x="4839" y="17253"/>
                </a:lnTo>
                <a:lnTo>
                  <a:pt x="4875" y="17128"/>
                </a:lnTo>
                <a:lnTo>
                  <a:pt x="4961" y="17019"/>
                </a:lnTo>
                <a:cubicBezTo>
                  <a:pt x="4995" y="16986"/>
                  <a:pt x="5032" y="16960"/>
                  <a:pt x="5070" y="16941"/>
                </a:cubicBezTo>
                <a:cubicBezTo>
                  <a:pt x="5110" y="16921"/>
                  <a:pt x="5151" y="16908"/>
                  <a:pt x="5192" y="16903"/>
                </a:cubicBezTo>
                <a:cubicBezTo>
                  <a:pt x="5225" y="16899"/>
                  <a:pt x="5257" y="16887"/>
                  <a:pt x="5288" y="16869"/>
                </a:cubicBezTo>
                <a:cubicBezTo>
                  <a:pt x="5328" y="16844"/>
                  <a:pt x="5365" y="16809"/>
                  <a:pt x="5396" y="16764"/>
                </a:cubicBezTo>
                <a:lnTo>
                  <a:pt x="5451" y="16651"/>
                </a:lnTo>
                <a:lnTo>
                  <a:pt x="5538" y="16468"/>
                </a:lnTo>
                <a:lnTo>
                  <a:pt x="5657" y="16322"/>
                </a:lnTo>
                <a:cubicBezTo>
                  <a:pt x="5670" y="16286"/>
                  <a:pt x="5682" y="16249"/>
                  <a:pt x="5694" y="16212"/>
                </a:cubicBezTo>
                <a:cubicBezTo>
                  <a:pt x="5710" y="16157"/>
                  <a:pt x="5726" y="16102"/>
                  <a:pt x="5740" y="16045"/>
                </a:cubicBezTo>
                <a:lnTo>
                  <a:pt x="5776" y="15879"/>
                </a:lnTo>
                <a:cubicBezTo>
                  <a:pt x="5808" y="15838"/>
                  <a:pt x="5839" y="15797"/>
                  <a:pt x="5869" y="15756"/>
                </a:cubicBezTo>
                <a:cubicBezTo>
                  <a:pt x="5901" y="15713"/>
                  <a:pt x="5933" y="15670"/>
                  <a:pt x="5964" y="15626"/>
                </a:cubicBezTo>
                <a:lnTo>
                  <a:pt x="6029" y="15553"/>
                </a:lnTo>
                <a:lnTo>
                  <a:pt x="6063" y="15485"/>
                </a:lnTo>
                <a:lnTo>
                  <a:pt x="6063" y="15401"/>
                </a:lnTo>
                <a:lnTo>
                  <a:pt x="5965" y="15268"/>
                </a:lnTo>
                <a:lnTo>
                  <a:pt x="5871" y="15159"/>
                </a:lnTo>
                <a:lnTo>
                  <a:pt x="5830" y="15003"/>
                </a:lnTo>
                <a:lnTo>
                  <a:pt x="5748" y="14940"/>
                </a:lnTo>
                <a:lnTo>
                  <a:pt x="5631" y="14861"/>
                </a:lnTo>
                <a:lnTo>
                  <a:pt x="5505" y="14786"/>
                </a:lnTo>
                <a:lnTo>
                  <a:pt x="5437" y="14638"/>
                </a:lnTo>
                <a:lnTo>
                  <a:pt x="5414" y="14547"/>
                </a:lnTo>
                <a:lnTo>
                  <a:pt x="5434" y="14455"/>
                </a:lnTo>
                <a:lnTo>
                  <a:pt x="5487" y="14377"/>
                </a:lnTo>
                <a:lnTo>
                  <a:pt x="5436" y="14294"/>
                </a:lnTo>
                <a:lnTo>
                  <a:pt x="5436" y="14214"/>
                </a:lnTo>
                <a:lnTo>
                  <a:pt x="5394" y="14183"/>
                </a:lnTo>
                <a:lnTo>
                  <a:pt x="5375" y="14243"/>
                </a:lnTo>
                <a:lnTo>
                  <a:pt x="5340" y="14329"/>
                </a:lnTo>
                <a:lnTo>
                  <a:pt x="5256" y="14499"/>
                </a:lnTo>
                <a:lnTo>
                  <a:pt x="5091" y="14727"/>
                </a:lnTo>
                <a:lnTo>
                  <a:pt x="5056" y="14801"/>
                </a:lnTo>
                <a:lnTo>
                  <a:pt x="4994" y="14801"/>
                </a:lnTo>
                <a:lnTo>
                  <a:pt x="4947" y="14807"/>
                </a:lnTo>
                <a:lnTo>
                  <a:pt x="4906" y="14856"/>
                </a:lnTo>
                <a:lnTo>
                  <a:pt x="4740" y="14875"/>
                </a:lnTo>
                <a:lnTo>
                  <a:pt x="4692" y="14807"/>
                </a:lnTo>
                <a:lnTo>
                  <a:pt x="4634" y="14766"/>
                </a:lnTo>
                <a:lnTo>
                  <a:pt x="4581" y="14679"/>
                </a:lnTo>
                <a:lnTo>
                  <a:pt x="4674" y="14568"/>
                </a:lnTo>
                <a:lnTo>
                  <a:pt x="4648" y="14475"/>
                </a:lnTo>
                <a:lnTo>
                  <a:pt x="4550" y="14438"/>
                </a:lnTo>
                <a:lnTo>
                  <a:pt x="4562" y="14367"/>
                </a:lnTo>
                <a:lnTo>
                  <a:pt x="4522" y="14348"/>
                </a:lnTo>
                <a:lnTo>
                  <a:pt x="4490" y="14410"/>
                </a:lnTo>
                <a:lnTo>
                  <a:pt x="4462" y="14502"/>
                </a:lnTo>
                <a:lnTo>
                  <a:pt x="4337" y="14533"/>
                </a:lnTo>
                <a:cubicBezTo>
                  <a:pt x="4331" y="14498"/>
                  <a:pt x="4323" y="14463"/>
                  <a:pt x="4314" y="14428"/>
                </a:cubicBezTo>
                <a:cubicBezTo>
                  <a:pt x="4298" y="14362"/>
                  <a:pt x="4278" y="14299"/>
                  <a:pt x="4255" y="14237"/>
                </a:cubicBezTo>
                <a:lnTo>
                  <a:pt x="4234" y="14018"/>
                </a:lnTo>
                <a:lnTo>
                  <a:pt x="4191" y="13904"/>
                </a:lnTo>
                <a:lnTo>
                  <a:pt x="4136" y="13783"/>
                </a:lnTo>
                <a:lnTo>
                  <a:pt x="4036" y="13581"/>
                </a:lnTo>
                <a:lnTo>
                  <a:pt x="3967" y="13457"/>
                </a:lnTo>
                <a:lnTo>
                  <a:pt x="3917" y="13357"/>
                </a:lnTo>
                <a:lnTo>
                  <a:pt x="3910" y="13265"/>
                </a:lnTo>
                <a:lnTo>
                  <a:pt x="3970" y="13125"/>
                </a:lnTo>
                <a:lnTo>
                  <a:pt x="3985" y="13013"/>
                </a:lnTo>
                <a:lnTo>
                  <a:pt x="4029" y="12939"/>
                </a:lnTo>
                <a:lnTo>
                  <a:pt x="4100" y="12939"/>
                </a:lnTo>
                <a:lnTo>
                  <a:pt x="4187" y="12956"/>
                </a:lnTo>
                <a:lnTo>
                  <a:pt x="4248" y="13017"/>
                </a:lnTo>
                <a:lnTo>
                  <a:pt x="4344" y="13091"/>
                </a:lnTo>
                <a:lnTo>
                  <a:pt x="4365" y="13162"/>
                </a:lnTo>
                <a:lnTo>
                  <a:pt x="4421" y="13266"/>
                </a:lnTo>
                <a:cubicBezTo>
                  <a:pt x="4450" y="13317"/>
                  <a:pt x="4470" y="13379"/>
                  <a:pt x="4479" y="13445"/>
                </a:cubicBezTo>
                <a:cubicBezTo>
                  <a:pt x="4485" y="13493"/>
                  <a:pt x="4485" y="13543"/>
                  <a:pt x="4479" y="13591"/>
                </a:cubicBezTo>
                <a:lnTo>
                  <a:pt x="4511" y="13696"/>
                </a:lnTo>
                <a:lnTo>
                  <a:pt x="4660" y="13788"/>
                </a:lnTo>
                <a:lnTo>
                  <a:pt x="4794" y="13899"/>
                </a:lnTo>
                <a:lnTo>
                  <a:pt x="4994" y="14024"/>
                </a:lnTo>
                <a:lnTo>
                  <a:pt x="5100" y="14092"/>
                </a:lnTo>
                <a:lnTo>
                  <a:pt x="5224" y="14082"/>
                </a:lnTo>
                <a:lnTo>
                  <a:pt x="5261" y="14033"/>
                </a:lnTo>
                <a:lnTo>
                  <a:pt x="5374" y="13959"/>
                </a:lnTo>
                <a:lnTo>
                  <a:pt x="5431" y="13947"/>
                </a:lnTo>
                <a:lnTo>
                  <a:pt x="5522" y="14062"/>
                </a:lnTo>
                <a:cubicBezTo>
                  <a:pt x="5537" y="14073"/>
                  <a:pt x="5550" y="14086"/>
                  <a:pt x="5562" y="14103"/>
                </a:cubicBezTo>
                <a:cubicBezTo>
                  <a:pt x="5586" y="14136"/>
                  <a:pt x="5605" y="14180"/>
                  <a:pt x="5614" y="14228"/>
                </a:cubicBezTo>
                <a:lnTo>
                  <a:pt x="5643" y="14331"/>
                </a:lnTo>
                <a:lnTo>
                  <a:pt x="5698" y="14433"/>
                </a:lnTo>
                <a:lnTo>
                  <a:pt x="5848" y="14477"/>
                </a:lnTo>
                <a:lnTo>
                  <a:pt x="6003" y="14470"/>
                </a:lnTo>
                <a:cubicBezTo>
                  <a:pt x="6040" y="14472"/>
                  <a:pt x="6077" y="14481"/>
                  <a:pt x="6112" y="14497"/>
                </a:cubicBezTo>
                <a:cubicBezTo>
                  <a:pt x="6145" y="14512"/>
                  <a:pt x="6176" y="14533"/>
                  <a:pt x="6206" y="14559"/>
                </a:cubicBezTo>
                <a:lnTo>
                  <a:pt x="6303" y="14547"/>
                </a:lnTo>
                <a:lnTo>
                  <a:pt x="6419" y="14487"/>
                </a:lnTo>
                <a:lnTo>
                  <a:pt x="6603" y="14487"/>
                </a:lnTo>
                <a:lnTo>
                  <a:pt x="6724" y="14567"/>
                </a:lnTo>
                <a:lnTo>
                  <a:pt x="6879" y="14555"/>
                </a:lnTo>
                <a:lnTo>
                  <a:pt x="6977" y="14489"/>
                </a:lnTo>
                <a:lnTo>
                  <a:pt x="7070" y="14403"/>
                </a:lnTo>
                <a:lnTo>
                  <a:pt x="7147" y="14409"/>
                </a:lnTo>
                <a:lnTo>
                  <a:pt x="7209" y="14502"/>
                </a:lnTo>
                <a:lnTo>
                  <a:pt x="7315" y="14543"/>
                </a:lnTo>
                <a:lnTo>
                  <a:pt x="7340" y="14604"/>
                </a:lnTo>
                <a:lnTo>
                  <a:pt x="7368" y="14721"/>
                </a:lnTo>
                <a:lnTo>
                  <a:pt x="7407" y="14857"/>
                </a:lnTo>
                <a:lnTo>
                  <a:pt x="7550" y="14913"/>
                </a:lnTo>
                <a:lnTo>
                  <a:pt x="7601" y="14995"/>
                </a:lnTo>
                <a:lnTo>
                  <a:pt x="7666" y="15131"/>
                </a:lnTo>
                <a:lnTo>
                  <a:pt x="7730" y="15227"/>
                </a:lnTo>
                <a:lnTo>
                  <a:pt x="7824" y="15221"/>
                </a:lnTo>
                <a:lnTo>
                  <a:pt x="7928" y="15166"/>
                </a:lnTo>
                <a:lnTo>
                  <a:pt x="7948" y="15245"/>
                </a:lnTo>
                <a:lnTo>
                  <a:pt x="7920" y="15356"/>
                </a:lnTo>
                <a:lnTo>
                  <a:pt x="7861" y="15391"/>
                </a:lnTo>
                <a:lnTo>
                  <a:pt x="7781" y="15366"/>
                </a:lnTo>
                <a:lnTo>
                  <a:pt x="7730" y="15391"/>
                </a:lnTo>
                <a:lnTo>
                  <a:pt x="7758" y="15489"/>
                </a:lnTo>
                <a:lnTo>
                  <a:pt x="7847" y="15538"/>
                </a:lnTo>
                <a:lnTo>
                  <a:pt x="7873" y="15682"/>
                </a:lnTo>
                <a:lnTo>
                  <a:pt x="7941" y="15770"/>
                </a:lnTo>
                <a:lnTo>
                  <a:pt x="8042" y="15801"/>
                </a:lnTo>
                <a:lnTo>
                  <a:pt x="8140" y="15801"/>
                </a:lnTo>
                <a:lnTo>
                  <a:pt x="8215" y="15735"/>
                </a:lnTo>
                <a:lnTo>
                  <a:pt x="8215" y="15647"/>
                </a:lnTo>
                <a:lnTo>
                  <a:pt x="8207" y="15558"/>
                </a:lnTo>
                <a:lnTo>
                  <a:pt x="8244" y="15441"/>
                </a:lnTo>
                <a:cubicBezTo>
                  <a:pt x="8257" y="15421"/>
                  <a:pt x="8274" y="15406"/>
                  <a:pt x="8293" y="15398"/>
                </a:cubicBezTo>
                <a:cubicBezTo>
                  <a:pt x="8324" y="15385"/>
                  <a:pt x="8357" y="15392"/>
                  <a:pt x="8385" y="15417"/>
                </a:cubicBezTo>
                <a:lnTo>
                  <a:pt x="8429" y="15521"/>
                </a:lnTo>
                <a:lnTo>
                  <a:pt x="8417" y="15693"/>
                </a:lnTo>
                <a:lnTo>
                  <a:pt x="8397" y="15792"/>
                </a:lnTo>
                <a:lnTo>
                  <a:pt x="8386" y="15933"/>
                </a:lnTo>
                <a:lnTo>
                  <a:pt x="8386" y="16079"/>
                </a:lnTo>
                <a:lnTo>
                  <a:pt x="8398" y="16182"/>
                </a:lnTo>
                <a:lnTo>
                  <a:pt x="8473" y="16441"/>
                </a:lnTo>
                <a:lnTo>
                  <a:pt x="8502" y="16728"/>
                </a:lnTo>
                <a:lnTo>
                  <a:pt x="8510" y="16868"/>
                </a:lnTo>
                <a:lnTo>
                  <a:pt x="8607" y="17022"/>
                </a:lnTo>
                <a:lnTo>
                  <a:pt x="8663" y="17133"/>
                </a:lnTo>
                <a:lnTo>
                  <a:pt x="8679" y="17303"/>
                </a:lnTo>
                <a:lnTo>
                  <a:pt x="8703" y="17418"/>
                </a:lnTo>
                <a:lnTo>
                  <a:pt x="8759" y="17603"/>
                </a:lnTo>
                <a:lnTo>
                  <a:pt x="8799" y="17688"/>
                </a:lnTo>
                <a:lnTo>
                  <a:pt x="8858" y="17815"/>
                </a:lnTo>
                <a:lnTo>
                  <a:pt x="8894" y="17957"/>
                </a:lnTo>
                <a:lnTo>
                  <a:pt x="8919" y="18076"/>
                </a:lnTo>
                <a:lnTo>
                  <a:pt x="8963" y="18226"/>
                </a:lnTo>
                <a:lnTo>
                  <a:pt x="9034" y="18456"/>
                </a:lnTo>
                <a:lnTo>
                  <a:pt x="9088" y="18673"/>
                </a:lnTo>
                <a:lnTo>
                  <a:pt x="9120" y="18766"/>
                </a:lnTo>
                <a:lnTo>
                  <a:pt x="9157" y="18876"/>
                </a:lnTo>
                <a:lnTo>
                  <a:pt x="9165" y="18992"/>
                </a:lnTo>
                <a:lnTo>
                  <a:pt x="9224" y="19229"/>
                </a:lnTo>
                <a:lnTo>
                  <a:pt x="9265" y="19340"/>
                </a:lnTo>
                <a:lnTo>
                  <a:pt x="9335" y="19401"/>
                </a:lnTo>
                <a:lnTo>
                  <a:pt x="9398" y="19455"/>
                </a:lnTo>
                <a:lnTo>
                  <a:pt x="9435" y="19534"/>
                </a:lnTo>
                <a:lnTo>
                  <a:pt x="9499" y="19529"/>
                </a:lnTo>
                <a:cubicBezTo>
                  <a:pt x="9505" y="19494"/>
                  <a:pt x="9512" y="19459"/>
                  <a:pt x="9519" y="19424"/>
                </a:cubicBezTo>
                <a:cubicBezTo>
                  <a:pt x="9525" y="19391"/>
                  <a:pt x="9532" y="19357"/>
                  <a:pt x="9539" y="19324"/>
                </a:cubicBezTo>
                <a:cubicBezTo>
                  <a:pt x="9570" y="19289"/>
                  <a:pt x="9599" y="19249"/>
                  <a:pt x="9625" y="19204"/>
                </a:cubicBezTo>
                <a:cubicBezTo>
                  <a:pt x="9647" y="19167"/>
                  <a:pt x="9667" y="19127"/>
                  <a:pt x="9684" y="19085"/>
                </a:cubicBezTo>
                <a:cubicBezTo>
                  <a:pt x="9697" y="19045"/>
                  <a:pt x="9711" y="19006"/>
                  <a:pt x="9726" y="18966"/>
                </a:cubicBezTo>
                <a:cubicBezTo>
                  <a:pt x="9741" y="18924"/>
                  <a:pt x="9756" y="18882"/>
                  <a:pt x="9772" y="18841"/>
                </a:cubicBezTo>
                <a:cubicBezTo>
                  <a:pt x="9774" y="18775"/>
                  <a:pt x="9777" y="18710"/>
                  <a:pt x="9780" y="18644"/>
                </a:cubicBezTo>
                <a:cubicBezTo>
                  <a:pt x="9783" y="18560"/>
                  <a:pt x="9787" y="18477"/>
                  <a:pt x="9791" y="18393"/>
                </a:cubicBezTo>
                <a:lnTo>
                  <a:pt x="9799" y="18288"/>
                </a:lnTo>
                <a:cubicBezTo>
                  <a:pt x="9805" y="18246"/>
                  <a:pt x="9812" y="18203"/>
                  <a:pt x="9819" y="18161"/>
                </a:cubicBezTo>
                <a:cubicBezTo>
                  <a:pt x="9829" y="18099"/>
                  <a:pt x="9840" y="18037"/>
                  <a:pt x="9852" y="17976"/>
                </a:cubicBezTo>
                <a:lnTo>
                  <a:pt x="9839" y="17816"/>
                </a:lnTo>
                <a:lnTo>
                  <a:pt x="9791" y="17643"/>
                </a:lnTo>
                <a:lnTo>
                  <a:pt x="9831" y="17391"/>
                </a:lnTo>
                <a:lnTo>
                  <a:pt x="9876" y="17301"/>
                </a:lnTo>
                <a:lnTo>
                  <a:pt x="10002" y="17165"/>
                </a:lnTo>
                <a:lnTo>
                  <a:pt x="10132" y="17023"/>
                </a:lnTo>
                <a:lnTo>
                  <a:pt x="10237" y="16902"/>
                </a:lnTo>
                <a:lnTo>
                  <a:pt x="10262" y="16723"/>
                </a:lnTo>
                <a:lnTo>
                  <a:pt x="10286" y="16610"/>
                </a:lnTo>
                <a:lnTo>
                  <a:pt x="10412" y="16555"/>
                </a:lnTo>
                <a:lnTo>
                  <a:pt x="10492" y="16493"/>
                </a:lnTo>
                <a:lnTo>
                  <a:pt x="10549" y="16327"/>
                </a:lnTo>
                <a:cubicBezTo>
                  <a:pt x="10554" y="16271"/>
                  <a:pt x="10568" y="16218"/>
                  <a:pt x="10590" y="16173"/>
                </a:cubicBezTo>
                <a:cubicBezTo>
                  <a:pt x="10626" y="16098"/>
                  <a:pt x="10680" y="16049"/>
                  <a:pt x="10740" y="16037"/>
                </a:cubicBezTo>
                <a:lnTo>
                  <a:pt x="10874" y="15975"/>
                </a:lnTo>
                <a:lnTo>
                  <a:pt x="10909" y="15840"/>
                </a:lnTo>
                <a:lnTo>
                  <a:pt x="10885" y="15717"/>
                </a:lnTo>
                <a:lnTo>
                  <a:pt x="10892" y="15606"/>
                </a:lnTo>
                <a:lnTo>
                  <a:pt x="11030" y="15483"/>
                </a:lnTo>
                <a:lnTo>
                  <a:pt x="11172" y="15422"/>
                </a:lnTo>
                <a:lnTo>
                  <a:pt x="11283" y="15422"/>
                </a:lnTo>
                <a:lnTo>
                  <a:pt x="11432" y="15358"/>
                </a:lnTo>
                <a:cubicBezTo>
                  <a:pt x="11441" y="15314"/>
                  <a:pt x="11462" y="15277"/>
                  <a:pt x="11490" y="15257"/>
                </a:cubicBezTo>
                <a:cubicBezTo>
                  <a:pt x="11517" y="15237"/>
                  <a:pt x="11549" y="15235"/>
                  <a:pt x="11578" y="15251"/>
                </a:cubicBezTo>
                <a:lnTo>
                  <a:pt x="11664" y="15279"/>
                </a:lnTo>
                <a:cubicBezTo>
                  <a:pt x="11683" y="15305"/>
                  <a:pt x="11699" y="15334"/>
                  <a:pt x="11713" y="15365"/>
                </a:cubicBezTo>
                <a:cubicBezTo>
                  <a:pt x="11732" y="15408"/>
                  <a:pt x="11745" y="15456"/>
                  <a:pt x="11753" y="15507"/>
                </a:cubicBezTo>
                <a:lnTo>
                  <a:pt x="11800" y="15701"/>
                </a:lnTo>
                <a:lnTo>
                  <a:pt x="11828" y="15833"/>
                </a:lnTo>
                <a:cubicBezTo>
                  <a:pt x="11839" y="15860"/>
                  <a:pt x="11854" y="15883"/>
                  <a:pt x="11872" y="15899"/>
                </a:cubicBezTo>
                <a:cubicBezTo>
                  <a:pt x="11906" y="15927"/>
                  <a:pt x="11947" y="15931"/>
                  <a:pt x="11982" y="15909"/>
                </a:cubicBezTo>
                <a:lnTo>
                  <a:pt x="12043" y="15981"/>
                </a:lnTo>
                <a:lnTo>
                  <a:pt x="12197" y="16141"/>
                </a:lnTo>
                <a:cubicBezTo>
                  <a:pt x="12217" y="16216"/>
                  <a:pt x="12238" y="16289"/>
                  <a:pt x="12262" y="16361"/>
                </a:cubicBezTo>
                <a:cubicBezTo>
                  <a:pt x="12295" y="16459"/>
                  <a:pt x="12331" y="16555"/>
                  <a:pt x="12368" y="16650"/>
                </a:cubicBezTo>
                <a:cubicBezTo>
                  <a:pt x="12386" y="16699"/>
                  <a:pt x="12405" y="16748"/>
                  <a:pt x="12423" y="16798"/>
                </a:cubicBezTo>
                <a:lnTo>
                  <a:pt x="12395" y="16894"/>
                </a:lnTo>
                <a:lnTo>
                  <a:pt x="12331" y="16954"/>
                </a:lnTo>
                <a:lnTo>
                  <a:pt x="12335" y="17094"/>
                </a:lnTo>
                <a:cubicBezTo>
                  <a:pt x="12355" y="17119"/>
                  <a:pt x="12375" y="17144"/>
                  <a:pt x="12396" y="17168"/>
                </a:cubicBezTo>
                <a:cubicBezTo>
                  <a:pt x="12423" y="17200"/>
                  <a:pt x="12450" y="17230"/>
                  <a:pt x="12478" y="17260"/>
                </a:cubicBezTo>
                <a:lnTo>
                  <a:pt x="12575" y="17255"/>
                </a:lnTo>
                <a:lnTo>
                  <a:pt x="12636" y="17120"/>
                </a:lnTo>
                <a:lnTo>
                  <a:pt x="12693" y="16980"/>
                </a:lnTo>
                <a:lnTo>
                  <a:pt x="12800" y="16904"/>
                </a:lnTo>
                <a:lnTo>
                  <a:pt x="12877" y="17115"/>
                </a:lnTo>
                <a:lnTo>
                  <a:pt x="12945" y="17317"/>
                </a:lnTo>
                <a:lnTo>
                  <a:pt x="12957" y="17518"/>
                </a:lnTo>
                <a:lnTo>
                  <a:pt x="13008" y="17691"/>
                </a:lnTo>
                <a:lnTo>
                  <a:pt x="13054" y="17855"/>
                </a:lnTo>
                <a:lnTo>
                  <a:pt x="13127" y="18014"/>
                </a:lnTo>
                <a:lnTo>
                  <a:pt x="13171" y="18203"/>
                </a:lnTo>
                <a:lnTo>
                  <a:pt x="13183" y="18371"/>
                </a:lnTo>
                <a:lnTo>
                  <a:pt x="13148" y="18675"/>
                </a:lnTo>
                <a:lnTo>
                  <a:pt x="13144" y="18870"/>
                </a:lnTo>
                <a:lnTo>
                  <a:pt x="13159" y="19080"/>
                </a:lnTo>
                <a:lnTo>
                  <a:pt x="13159" y="19174"/>
                </a:lnTo>
                <a:lnTo>
                  <a:pt x="13117" y="19238"/>
                </a:lnTo>
                <a:lnTo>
                  <a:pt x="13113" y="19347"/>
                </a:lnTo>
                <a:lnTo>
                  <a:pt x="13125" y="19507"/>
                </a:lnTo>
                <a:lnTo>
                  <a:pt x="13186" y="19549"/>
                </a:lnTo>
                <a:cubicBezTo>
                  <a:pt x="13215" y="19555"/>
                  <a:pt x="13242" y="19574"/>
                  <a:pt x="13263" y="19604"/>
                </a:cubicBezTo>
                <a:cubicBezTo>
                  <a:pt x="13285" y="19635"/>
                  <a:pt x="13300" y="19676"/>
                  <a:pt x="13306" y="19721"/>
                </a:cubicBezTo>
                <a:lnTo>
                  <a:pt x="13420" y="19817"/>
                </a:lnTo>
                <a:lnTo>
                  <a:pt x="13492" y="19981"/>
                </a:lnTo>
                <a:lnTo>
                  <a:pt x="13536" y="20099"/>
                </a:lnTo>
                <a:lnTo>
                  <a:pt x="13550" y="20266"/>
                </a:lnTo>
                <a:lnTo>
                  <a:pt x="13596" y="20554"/>
                </a:lnTo>
                <a:lnTo>
                  <a:pt x="13625" y="20775"/>
                </a:lnTo>
                <a:lnTo>
                  <a:pt x="13682" y="20923"/>
                </a:lnTo>
                <a:lnTo>
                  <a:pt x="13714" y="21021"/>
                </a:lnTo>
                <a:lnTo>
                  <a:pt x="13772" y="21189"/>
                </a:lnTo>
                <a:lnTo>
                  <a:pt x="13829" y="21220"/>
                </a:lnTo>
                <a:lnTo>
                  <a:pt x="13914" y="21327"/>
                </a:lnTo>
                <a:lnTo>
                  <a:pt x="13982" y="21385"/>
                </a:lnTo>
                <a:lnTo>
                  <a:pt x="14071" y="21477"/>
                </a:lnTo>
                <a:lnTo>
                  <a:pt x="14136" y="21600"/>
                </a:lnTo>
                <a:lnTo>
                  <a:pt x="14168" y="21558"/>
                </a:lnTo>
                <a:lnTo>
                  <a:pt x="14144" y="21461"/>
                </a:lnTo>
                <a:lnTo>
                  <a:pt x="14220" y="21456"/>
                </a:lnTo>
                <a:lnTo>
                  <a:pt x="14242" y="21376"/>
                </a:lnTo>
                <a:lnTo>
                  <a:pt x="14195" y="21227"/>
                </a:lnTo>
                <a:lnTo>
                  <a:pt x="14149" y="21028"/>
                </a:lnTo>
                <a:lnTo>
                  <a:pt x="14121" y="20856"/>
                </a:lnTo>
                <a:lnTo>
                  <a:pt x="14064" y="20706"/>
                </a:lnTo>
                <a:cubicBezTo>
                  <a:pt x="14060" y="20650"/>
                  <a:pt x="14051" y="20596"/>
                  <a:pt x="14037" y="20544"/>
                </a:cubicBezTo>
                <a:cubicBezTo>
                  <a:pt x="14023" y="20489"/>
                  <a:pt x="14004" y="20437"/>
                  <a:pt x="13980" y="20389"/>
                </a:cubicBezTo>
                <a:lnTo>
                  <a:pt x="13916" y="20256"/>
                </a:lnTo>
                <a:lnTo>
                  <a:pt x="13796" y="20153"/>
                </a:lnTo>
                <a:lnTo>
                  <a:pt x="13711" y="20030"/>
                </a:lnTo>
                <a:lnTo>
                  <a:pt x="13609" y="19920"/>
                </a:lnTo>
                <a:cubicBezTo>
                  <a:pt x="13556" y="19920"/>
                  <a:pt x="13507" y="19872"/>
                  <a:pt x="13485" y="19798"/>
                </a:cubicBezTo>
                <a:cubicBezTo>
                  <a:pt x="13470" y="19751"/>
                  <a:pt x="13469" y="19697"/>
                  <a:pt x="13481" y="19648"/>
                </a:cubicBezTo>
                <a:lnTo>
                  <a:pt x="13460" y="19495"/>
                </a:lnTo>
                <a:lnTo>
                  <a:pt x="13452" y="19396"/>
                </a:lnTo>
                <a:lnTo>
                  <a:pt x="13387" y="19310"/>
                </a:lnTo>
                <a:lnTo>
                  <a:pt x="13305" y="19191"/>
                </a:lnTo>
                <a:lnTo>
                  <a:pt x="13276" y="19059"/>
                </a:lnTo>
                <a:cubicBezTo>
                  <a:pt x="13277" y="19012"/>
                  <a:pt x="13280" y="18965"/>
                  <a:pt x="13285" y="18918"/>
                </a:cubicBezTo>
                <a:cubicBezTo>
                  <a:pt x="13292" y="18843"/>
                  <a:pt x="13304" y="18769"/>
                  <a:pt x="13320" y="18698"/>
                </a:cubicBezTo>
                <a:lnTo>
                  <a:pt x="13344" y="18550"/>
                </a:lnTo>
                <a:lnTo>
                  <a:pt x="13373" y="18396"/>
                </a:lnTo>
                <a:lnTo>
                  <a:pt x="13344" y="18289"/>
                </a:lnTo>
                <a:lnTo>
                  <a:pt x="13320" y="18141"/>
                </a:lnTo>
                <a:lnTo>
                  <a:pt x="13317" y="18024"/>
                </a:lnTo>
                <a:lnTo>
                  <a:pt x="13378" y="17962"/>
                </a:lnTo>
                <a:lnTo>
                  <a:pt x="13468" y="17956"/>
                </a:lnTo>
                <a:lnTo>
                  <a:pt x="13512" y="18073"/>
                </a:lnTo>
                <a:lnTo>
                  <a:pt x="13562" y="18139"/>
                </a:lnTo>
                <a:lnTo>
                  <a:pt x="13671" y="18279"/>
                </a:lnTo>
                <a:lnTo>
                  <a:pt x="13730" y="18310"/>
                </a:lnTo>
                <a:lnTo>
                  <a:pt x="13812" y="18382"/>
                </a:lnTo>
                <a:lnTo>
                  <a:pt x="13875" y="18423"/>
                </a:lnTo>
                <a:lnTo>
                  <a:pt x="13920" y="18490"/>
                </a:lnTo>
                <a:lnTo>
                  <a:pt x="13956" y="18648"/>
                </a:lnTo>
                <a:lnTo>
                  <a:pt x="14008" y="18743"/>
                </a:lnTo>
                <a:lnTo>
                  <a:pt x="14063" y="18771"/>
                </a:lnTo>
                <a:lnTo>
                  <a:pt x="14091" y="18862"/>
                </a:lnTo>
                <a:lnTo>
                  <a:pt x="14107" y="18940"/>
                </a:lnTo>
                <a:lnTo>
                  <a:pt x="14172" y="18933"/>
                </a:lnTo>
                <a:lnTo>
                  <a:pt x="14221" y="18872"/>
                </a:lnTo>
                <a:lnTo>
                  <a:pt x="14260" y="18826"/>
                </a:lnTo>
                <a:lnTo>
                  <a:pt x="14320" y="18833"/>
                </a:lnTo>
                <a:lnTo>
                  <a:pt x="14345" y="18921"/>
                </a:lnTo>
                <a:lnTo>
                  <a:pt x="14360" y="19056"/>
                </a:lnTo>
                <a:lnTo>
                  <a:pt x="14331" y="19130"/>
                </a:lnTo>
                <a:lnTo>
                  <a:pt x="14319" y="19343"/>
                </a:lnTo>
                <a:lnTo>
                  <a:pt x="14412" y="19408"/>
                </a:lnTo>
                <a:lnTo>
                  <a:pt x="14456" y="19286"/>
                </a:lnTo>
                <a:lnTo>
                  <a:pt x="14548" y="19241"/>
                </a:lnTo>
                <a:lnTo>
                  <a:pt x="14577" y="19051"/>
                </a:lnTo>
                <a:lnTo>
                  <a:pt x="14624" y="18944"/>
                </a:lnTo>
                <a:lnTo>
                  <a:pt x="14784" y="18882"/>
                </a:lnTo>
                <a:lnTo>
                  <a:pt x="14859" y="18791"/>
                </a:lnTo>
                <a:lnTo>
                  <a:pt x="15001" y="18675"/>
                </a:lnTo>
                <a:lnTo>
                  <a:pt x="15018" y="18428"/>
                </a:lnTo>
                <a:cubicBezTo>
                  <a:pt x="15027" y="18358"/>
                  <a:pt x="15029" y="18286"/>
                  <a:pt x="15026" y="18214"/>
                </a:cubicBezTo>
                <a:cubicBezTo>
                  <a:pt x="15023" y="18158"/>
                  <a:pt x="15016" y="18102"/>
                  <a:pt x="15005" y="18048"/>
                </a:cubicBezTo>
                <a:lnTo>
                  <a:pt x="14951" y="17795"/>
                </a:lnTo>
                <a:lnTo>
                  <a:pt x="14866" y="17561"/>
                </a:lnTo>
                <a:lnTo>
                  <a:pt x="14850" y="17352"/>
                </a:lnTo>
                <a:lnTo>
                  <a:pt x="14784" y="17141"/>
                </a:lnTo>
                <a:lnTo>
                  <a:pt x="14703" y="17036"/>
                </a:lnTo>
                <a:lnTo>
                  <a:pt x="14574" y="16931"/>
                </a:lnTo>
                <a:lnTo>
                  <a:pt x="14515" y="16866"/>
                </a:lnTo>
                <a:lnTo>
                  <a:pt x="14356" y="16669"/>
                </a:lnTo>
                <a:lnTo>
                  <a:pt x="14313" y="16504"/>
                </a:lnTo>
                <a:lnTo>
                  <a:pt x="14270" y="16280"/>
                </a:lnTo>
                <a:lnTo>
                  <a:pt x="14249" y="16054"/>
                </a:lnTo>
                <a:lnTo>
                  <a:pt x="14249" y="15855"/>
                </a:lnTo>
                <a:lnTo>
                  <a:pt x="14310" y="15701"/>
                </a:lnTo>
                <a:lnTo>
                  <a:pt x="14404" y="15603"/>
                </a:lnTo>
                <a:lnTo>
                  <a:pt x="14539" y="15572"/>
                </a:lnTo>
                <a:lnTo>
                  <a:pt x="14646" y="15529"/>
                </a:lnTo>
                <a:lnTo>
                  <a:pt x="14709" y="15498"/>
                </a:lnTo>
                <a:lnTo>
                  <a:pt x="14801" y="15566"/>
                </a:lnTo>
                <a:lnTo>
                  <a:pt x="14849" y="15613"/>
                </a:lnTo>
                <a:lnTo>
                  <a:pt x="14905" y="15711"/>
                </a:lnTo>
                <a:lnTo>
                  <a:pt x="14913" y="15816"/>
                </a:lnTo>
                <a:lnTo>
                  <a:pt x="14978" y="15932"/>
                </a:lnTo>
                <a:lnTo>
                  <a:pt x="15034" y="15903"/>
                </a:lnTo>
                <a:lnTo>
                  <a:pt x="15067" y="15749"/>
                </a:lnTo>
                <a:lnTo>
                  <a:pt x="15119" y="15621"/>
                </a:lnTo>
                <a:lnTo>
                  <a:pt x="15197" y="15541"/>
                </a:lnTo>
                <a:lnTo>
                  <a:pt x="15236" y="15492"/>
                </a:lnTo>
                <a:lnTo>
                  <a:pt x="15356" y="15426"/>
                </a:lnTo>
                <a:lnTo>
                  <a:pt x="15409" y="15420"/>
                </a:lnTo>
                <a:lnTo>
                  <a:pt x="15506" y="15420"/>
                </a:lnTo>
                <a:cubicBezTo>
                  <a:pt x="15541" y="15410"/>
                  <a:pt x="15576" y="15402"/>
                  <a:pt x="15611" y="15395"/>
                </a:cubicBezTo>
                <a:cubicBezTo>
                  <a:pt x="15656" y="15387"/>
                  <a:pt x="15702" y="15382"/>
                  <a:pt x="15748" y="15381"/>
                </a:cubicBezTo>
                <a:lnTo>
                  <a:pt x="15797" y="15264"/>
                </a:lnTo>
                <a:lnTo>
                  <a:pt x="15824" y="15215"/>
                </a:lnTo>
                <a:lnTo>
                  <a:pt x="15922" y="15247"/>
                </a:lnTo>
                <a:lnTo>
                  <a:pt x="16095" y="15132"/>
                </a:lnTo>
                <a:lnTo>
                  <a:pt x="16192" y="15009"/>
                </a:lnTo>
                <a:lnTo>
                  <a:pt x="16270" y="14854"/>
                </a:lnTo>
                <a:lnTo>
                  <a:pt x="16310" y="14737"/>
                </a:lnTo>
                <a:lnTo>
                  <a:pt x="16407" y="14620"/>
                </a:lnTo>
                <a:lnTo>
                  <a:pt x="16439" y="14464"/>
                </a:lnTo>
                <a:lnTo>
                  <a:pt x="16441" y="14274"/>
                </a:lnTo>
                <a:lnTo>
                  <a:pt x="16474" y="14063"/>
                </a:lnTo>
                <a:lnTo>
                  <a:pt x="16523" y="13908"/>
                </a:lnTo>
                <a:cubicBezTo>
                  <a:pt x="16537" y="13860"/>
                  <a:pt x="16549" y="13811"/>
                  <a:pt x="16559" y="13760"/>
                </a:cubicBezTo>
                <a:cubicBezTo>
                  <a:pt x="16573" y="13694"/>
                  <a:pt x="16583" y="13626"/>
                  <a:pt x="16590" y="13557"/>
                </a:cubicBezTo>
                <a:lnTo>
                  <a:pt x="16618" y="13434"/>
                </a:lnTo>
                <a:lnTo>
                  <a:pt x="16612" y="13238"/>
                </a:lnTo>
                <a:lnTo>
                  <a:pt x="16579" y="13087"/>
                </a:lnTo>
                <a:lnTo>
                  <a:pt x="16463" y="13118"/>
                </a:lnTo>
                <a:lnTo>
                  <a:pt x="16401" y="13023"/>
                </a:lnTo>
                <a:lnTo>
                  <a:pt x="16404" y="12902"/>
                </a:lnTo>
                <a:lnTo>
                  <a:pt x="16500" y="12877"/>
                </a:lnTo>
                <a:lnTo>
                  <a:pt x="16499" y="12711"/>
                </a:lnTo>
                <a:lnTo>
                  <a:pt x="16452" y="12608"/>
                </a:lnTo>
                <a:lnTo>
                  <a:pt x="16290" y="12516"/>
                </a:lnTo>
                <a:lnTo>
                  <a:pt x="16202" y="12414"/>
                </a:lnTo>
                <a:lnTo>
                  <a:pt x="16127" y="12274"/>
                </a:lnTo>
                <a:lnTo>
                  <a:pt x="16079" y="12031"/>
                </a:lnTo>
                <a:lnTo>
                  <a:pt x="16006" y="11871"/>
                </a:lnTo>
                <a:lnTo>
                  <a:pt x="15922" y="11816"/>
                </a:lnTo>
                <a:lnTo>
                  <a:pt x="15808" y="11687"/>
                </a:lnTo>
                <a:lnTo>
                  <a:pt x="15821" y="11475"/>
                </a:lnTo>
                <a:lnTo>
                  <a:pt x="15861" y="11346"/>
                </a:lnTo>
                <a:lnTo>
                  <a:pt x="15955" y="11253"/>
                </a:lnTo>
                <a:lnTo>
                  <a:pt x="16048" y="11167"/>
                </a:lnTo>
                <a:lnTo>
                  <a:pt x="16158" y="11093"/>
                </a:lnTo>
                <a:lnTo>
                  <a:pt x="16213" y="11001"/>
                </a:lnTo>
                <a:lnTo>
                  <a:pt x="16121" y="10906"/>
                </a:lnTo>
                <a:lnTo>
                  <a:pt x="16057" y="10878"/>
                </a:lnTo>
                <a:lnTo>
                  <a:pt x="15876" y="10796"/>
                </a:lnTo>
                <a:lnTo>
                  <a:pt x="15787" y="10913"/>
                </a:lnTo>
                <a:lnTo>
                  <a:pt x="15726" y="10986"/>
                </a:lnTo>
                <a:lnTo>
                  <a:pt x="15616" y="10898"/>
                </a:lnTo>
                <a:lnTo>
                  <a:pt x="15572" y="10814"/>
                </a:lnTo>
                <a:lnTo>
                  <a:pt x="15466" y="10773"/>
                </a:lnTo>
                <a:lnTo>
                  <a:pt x="15240" y="10656"/>
                </a:lnTo>
                <a:lnTo>
                  <a:pt x="15246" y="10486"/>
                </a:lnTo>
                <a:lnTo>
                  <a:pt x="15242" y="10361"/>
                </a:lnTo>
                <a:lnTo>
                  <a:pt x="15301" y="10324"/>
                </a:lnTo>
                <a:lnTo>
                  <a:pt x="15407" y="10336"/>
                </a:lnTo>
                <a:lnTo>
                  <a:pt x="15531" y="10149"/>
                </a:lnTo>
                <a:lnTo>
                  <a:pt x="15564" y="10015"/>
                </a:lnTo>
                <a:lnTo>
                  <a:pt x="15631" y="9837"/>
                </a:lnTo>
                <a:lnTo>
                  <a:pt x="15707" y="9806"/>
                </a:lnTo>
                <a:lnTo>
                  <a:pt x="15791" y="9837"/>
                </a:lnTo>
                <a:lnTo>
                  <a:pt x="15841" y="9943"/>
                </a:lnTo>
                <a:lnTo>
                  <a:pt x="15848" y="10050"/>
                </a:lnTo>
                <a:lnTo>
                  <a:pt x="15863" y="10231"/>
                </a:lnTo>
                <a:lnTo>
                  <a:pt x="15907" y="10340"/>
                </a:lnTo>
                <a:lnTo>
                  <a:pt x="15948" y="10401"/>
                </a:lnTo>
                <a:lnTo>
                  <a:pt x="16001" y="10382"/>
                </a:lnTo>
                <a:lnTo>
                  <a:pt x="16072" y="10288"/>
                </a:lnTo>
                <a:lnTo>
                  <a:pt x="16148" y="10200"/>
                </a:lnTo>
                <a:lnTo>
                  <a:pt x="16274" y="10150"/>
                </a:lnTo>
                <a:lnTo>
                  <a:pt x="16333" y="10181"/>
                </a:lnTo>
                <a:lnTo>
                  <a:pt x="16409" y="10234"/>
                </a:lnTo>
                <a:lnTo>
                  <a:pt x="16525" y="10312"/>
                </a:lnTo>
                <a:lnTo>
                  <a:pt x="16590" y="10442"/>
                </a:lnTo>
                <a:lnTo>
                  <a:pt x="16527" y="10497"/>
                </a:lnTo>
                <a:lnTo>
                  <a:pt x="16523" y="10644"/>
                </a:lnTo>
                <a:lnTo>
                  <a:pt x="16588" y="10729"/>
                </a:lnTo>
                <a:lnTo>
                  <a:pt x="16695" y="10722"/>
                </a:lnTo>
                <a:lnTo>
                  <a:pt x="16853" y="10809"/>
                </a:lnTo>
                <a:lnTo>
                  <a:pt x="16926" y="10987"/>
                </a:lnTo>
                <a:lnTo>
                  <a:pt x="16986" y="11078"/>
                </a:lnTo>
                <a:lnTo>
                  <a:pt x="17010" y="11232"/>
                </a:lnTo>
                <a:lnTo>
                  <a:pt x="17031" y="11349"/>
                </a:lnTo>
                <a:lnTo>
                  <a:pt x="17059" y="11498"/>
                </a:lnTo>
                <a:lnTo>
                  <a:pt x="17071" y="11651"/>
                </a:lnTo>
                <a:lnTo>
                  <a:pt x="17130" y="11766"/>
                </a:lnTo>
                <a:lnTo>
                  <a:pt x="17195" y="11815"/>
                </a:lnTo>
                <a:lnTo>
                  <a:pt x="17296" y="11702"/>
                </a:lnTo>
                <a:lnTo>
                  <a:pt x="17415" y="11614"/>
                </a:lnTo>
                <a:lnTo>
                  <a:pt x="17496" y="11558"/>
                </a:lnTo>
                <a:lnTo>
                  <a:pt x="17559" y="11499"/>
                </a:lnTo>
                <a:cubicBezTo>
                  <a:pt x="17562" y="11433"/>
                  <a:pt x="17556" y="11367"/>
                  <a:pt x="17540" y="11306"/>
                </a:cubicBezTo>
                <a:cubicBezTo>
                  <a:pt x="17525" y="11249"/>
                  <a:pt x="17502" y="11197"/>
                  <a:pt x="17473" y="11154"/>
                </a:cubicBezTo>
                <a:lnTo>
                  <a:pt x="17400" y="10964"/>
                </a:lnTo>
                <a:lnTo>
                  <a:pt x="17298" y="10799"/>
                </a:lnTo>
                <a:lnTo>
                  <a:pt x="17248" y="10793"/>
                </a:lnTo>
                <a:lnTo>
                  <a:pt x="17072" y="10623"/>
                </a:lnTo>
                <a:lnTo>
                  <a:pt x="16989" y="10544"/>
                </a:lnTo>
                <a:lnTo>
                  <a:pt x="16900" y="10423"/>
                </a:lnTo>
                <a:lnTo>
                  <a:pt x="16820" y="10351"/>
                </a:lnTo>
                <a:lnTo>
                  <a:pt x="16820" y="10220"/>
                </a:lnTo>
                <a:lnTo>
                  <a:pt x="16933" y="10133"/>
                </a:lnTo>
                <a:lnTo>
                  <a:pt x="17068" y="10029"/>
                </a:lnTo>
                <a:lnTo>
                  <a:pt x="17083" y="9914"/>
                </a:lnTo>
                <a:lnTo>
                  <a:pt x="17049" y="9761"/>
                </a:lnTo>
                <a:lnTo>
                  <a:pt x="16957" y="9770"/>
                </a:lnTo>
                <a:cubicBezTo>
                  <a:pt x="16942" y="9699"/>
                  <a:pt x="16956" y="9621"/>
                  <a:pt x="16992" y="9571"/>
                </a:cubicBezTo>
                <a:cubicBezTo>
                  <a:pt x="17020" y="9533"/>
                  <a:pt x="17058" y="9517"/>
                  <a:pt x="17095" y="9528"/>
                </a:cubicBezTo>
                <a:cubicBezTo>
                  <a:pt x="17106" y="9498"/>
                  <a:pt x="17116" y="9467"/>
                  <a:pt x="17123" y="9435"/>
                </a:cubicBezTo>
                <a:cubicBezTo>
                  <a:pt x="17139" y="9373"/>
                  <a:pt x="17147" y="9308"/>
                  <a:pt x="17149" y="9242"/>
                </a:cubicBezTo>
                <a:lnTo>
                  <a:pt x="17174" y="9110"/>
                </a:lnTo>
                <a:lnTo>
                  <a:pt x="17248" y="9178"/>
                </a:lnTo>
                <a:lnTo>
                  <a:pt x="17347" y="9270"/>
                </a:lnTo>
                <a:lnTo>
                  <a:pt x="17392" y="9297"/>
                </a:lnTo>
                <a:lnTo>
                  <a:pt x="17514" y="9286"/>
                </a:lnTo>
                <a:lnTo>
                  <a:pt x="17568" y="9177"/>
                </a:lnTo>
                <a:cubicBezTo>
                  <a:pt x="17590" y="9119"/>
                  <a:pt x="17610" y="9059"/>
                  <a:pt x="17626" y="8997"/>
                </a:cubicBezTo>
                <a:cubicBezTo>
                  <a:pt x="17641" y="8944"/>
                  <a:pt x="17653" y="8890"/>
                  <a:pt x="17663" y="8835"/>
                </a:cubicBezTo>
                <a:lnTo>
                  <a:pt x="17709" y="8691"/>
                </a:lnTo>
                <a:lnTo>
                  <a:pt x="17732" y="8540"/>
                </a:lnTo>
                <a:lnTo>
                  <a:pt x="17783" y="8406"/>
                </a:lnTo>
                <a:lnTo>
                  <a:pt x="17835" y="8208"/>
                </a:lnTo>
                <a:lnTo>
                  <a:pt x="17770" y="8060"/>
                </a:lnTo>
                <a:lnTo>
                  <a:pt x="17770" y="7890"/>
                </a:lnTo>
                <a:lnTo>
                  <a:pt x="17823" y="7767"/>
                </a:lnTo>
                <a:lnTo>
                  <a:pt x="17830" y="7600"/>
                </a:lnTo>
                <a:cubicBezTo>
                  <a:pt x="17813" y="7554"/>
                  <a:pt x="17796" y="7509"/>
                  <a:pt x="17778" y="7463"/>
                </a:cubicBezTo>
                <a:cubicBezTo>
                  <a:pt x="17763" y="7423"/>
                  <a:pt x="17747" y="7384"/>
                  <a:pt x="17735" y="7341"/>
                </a:cubicBezTo>
                <a:cubicBezTo>
                  <a:pt x="17715" y="7271"/>
                  <a:pt x="17705" y="7195"/>
                  <a:pt x="17707" y="7119"/>
                </a:cubicBezTo>
                <a:lnTo>
                  <a:pt x="17634" y="7044"/>
                </a:lnTo>
                <a:lnTo>
                  <a:pt x="17580" y="7052"/>
                </a:lnTo>
                <a:lnTo>
                  <a:pt x="17503" y="6849"/>
                </a:lnTo>
                <a:lnTo>
                  <a:pt x="17459" y="6758"/>
                </a:lnTo>
                <a:lnTo>
                  <a:pt x="17435" y="6611"/>
                </a:lnTo>
                <a:lnTo>
                  <a:pt x="17373" y="6495"/>
                </a:lnTo>
                <a:lnTo>
                  <a:pt x="17240" y="6324"/>
                </a:lnTo>
                <a:lnTo>
                  <a:pt x="17132" y="6263"/>
                </a:lnTo>
                <a:lnTo>
                  <a:pt x="17059" y="6103"/>
                </a:lnTo>
                <a:lnTo>
                  <a:pt x="16962" y="6028"/>
                </a:lnTo>
                <a:lnTo>
                  <a:pt x="16881" y="6047"/>
                </a:lnTo>
                <a:lnTo>
                  <a:pt x="16783" y="6115"/>
                </a:lnTo>
                <a:lnTo>
                  <a:pt x="16687" y="6140"/>
                </a:lnTo>
                <a:lnTo>
                  <a:pt x="16607" y="6103"/>
                </a:lnTo>
                <a:lnTo>
                  <a:pt x="16460" y="6072"/>
                </a:lnTo>
                <a:lnTo>
                  <a:pt x="16403" y="6004"/>
                </a:lnTo>
                <a:lnTo>
                  <a:pt x="16326" y="5924"/>
                </a:lnTo>
                <a:lnTo>
                  <a:pt x="16206" y="5924"/>
                </a:lnTo>
                <a:lnTo>
                  <a:pt x="16146" y="5807"/>
                </a:lnTo>
                <a:lnTo>
                  <a:pt x="16226" y="5720"/>
                </a:lnTo>
                <a:lnTo>
                  <a:pt x="16275" y="5634"/>
                </a:lnTo>
                <a:lnTo>
                  <a:pt x="16349" y="5282"/>
                </a:lnTo>
                <a:lnTo>
                  <a:pt x="16330" y="5106"/>
                </a:lnTo>
                <a:lnTo>
                  <a:pt x="16362" y="4989"/>
                </a:lnTo>
                <a:lnTo>
                  <a:pt x="16434" y="4856"/>
                </a:lnTo>
                <a:lnTo>
                  <a:pt x="16537" y="4743"/>
                </a:lnTo>
                <a:lnTo>
                  <a:pt x="16606" y="4658"/>
                </a:lnTo>
                <a:lnTo>
                  <a:pt x="16694" y="4611"/>
                </a:lnTo>
                <a:lnTo>
                  <a:pt x="16817" y="4582"/>
                </a:lnTo>
                <a:lnTo>
                  <a:pt x="16917" y="4582"/>
                </a:lnTo>
                <a:lnTo>
                  <a:pt x="17020" y="4619"/>
                </a:lnTo>
                <a:lnTo>
                  <a:pt x="17129" y="4632"/>
                </a:lnTo>
                <a:lnTo>
                  <a:pt x="17261" y="4626"/>
                </a:lnTo>
                <a:lnTo>
                  <a:pt x="17398" y="4558"/>
                </a:lnTo>
                <a:lnTo>
                  <a:pt x="17471" y="4527"/>
                </a:lnTo>
                <a:lnTo>
                  <a:pt x="17580" y="4490"/>
                </a:lnTo>
                <a:lnTo>
                  <a:pt x="17633" y="4527"/>
                </a:lnTo>
                <a:lnTo>
                  <a:pt x="17686" y="4607"/>
                </a:lnTo>
                <a:lnTo>
                  <a:pt x="17787" y="4674"/>
                </a:lnTo>
                <a:lnTo>
                  <a:pt x="17836" y="4724"/>
                </a:lnTo>
                <a:lnTo>
                  <a:pt x="17952" y="4730"/>
                </a:lnTo>
                <a:lnTo>
                  <a:pt x="18081" y="4644"/>
                </a:lnTo>
                <a:lnTo>
                  <a:pt x="18189" y="4625"/>
                </a:lnTo>
                <a:lnTo>
                  <a:pt x="18143" y="4366"/>
                </a:lnTo>
                <a:cubicBezTo>
                  <a:pt x="18105" y="4367"/>
                  <a:pt x="18070" y="4330"/>
                  <a:pt x="18058" y="4274"/>
                </a:cubicBezTo>
                <a:cubicBezTo>
                  <a:pt x="18044" y="4208"/>
                  <a:pt x="18064" y="4136"/>
                  <a:pt x="18106" y="4107"/>
                </a:cubicBezTo>
                <a:cubicBezTo>
                  <a:pt x="18105" y="4044"/>
                  <a:pt x="18122" y="3983"/>
                  <a:pt x="18153" y="3941"/>
                </a:cubicBezTo>
                <a:cubicBezTo>
                  <a:pt x="18184" y="3898"/>
                  <a:pt x="18225" y="3878"/>
                  <a:pt x="18266" y="3886"/>
                </a:cubicBezTo>
                <a:lnTo>
                  <a:pt x="18388" y="3912"/>
                </a:lnTo>
                <a:lnTo>
                  <a:pt x="18433" y="3986"/>
                </a:lnTo>
                <a:lnTo>
                  <a:pt x="18561" y="3941"/>
                </a:lnTo>
                <a:lnTo>
                  <a:pt x="18622" y="4058"/>
                </a:lnTo>
                <a:lnTo>
                  <a:pt x="18642" y="4156"/>
                </a:lnTo>
                <a:lnTo>
                  <a:pt x="18742" y="4173"/>
                </a:lnTo>
                <a:lnTo>
                  <a:pt x="18819" y="4105"/>
                </a:lnTo>
                <a:lnTo>
                  <a:pt x="18815" y="3967"/>
                </a:lnTo>
                <a:lnTo>
                  <a:pt x="18815" y="3844"/>
                </a:lnTo>
                <a:lnTo>
                  <a:pt x="18867" y="3773"/>
                </a:lnTo>
                <a:lnTo>
                  <a:pt x="18940" y="3726"/>
                </a:lnTo>
                <a:lnTo>
                  <a:pt x="19014" y="3739"/>
                </a:lnTo>
                <a:lnTo>
                  <a:pt x="19059" y="3881"/>
                </a:lnTo>
                <a:lnTo>
                  <a:pt x="19100" y="4056"/>
                </a:lnTo>
                <a:lnTo>
                  <a:pt x="19170" y="4183"/>
                </a:lnTo>
                <a:lnTo>
                  <a:pt x="19186" y="4282"/>
                </a:lnTo>
                <a:lnTo>
                  <a:pt x="19098" y="4430"/>
                </a:lnTo>
                <a:lnTo>
                  <a:pt x="19067" y="4607"/>
                </a:lnTo>
                <a:lnTo>
                  <a:pt x="19096" y="4814"/>
                </a:lnTo>
                <a:lnTo>
                  <a:pt x="19031" y="4991"/>
                </a:lnTo>
                <a:lnTo>
                  <a:pt x="18966" y="5108"/>
                </a:lnTo>
                <a:cubicBezTo>
                  <a:pt x="18954" y="5143"/>
                  <a:pt x="18950" y="5183"/>
                  <a:pt x="18953" y="5223"/>
                </a:cubicBezTo>
                <a:cubicBezTo>
                  <a:pt x="18962" y="5311"/>
                  <a:pt x="19008" y="5380"/>
                  <a:pt x="19066" y="5393"/>
                </a:cubicBezTo>
                <a:lnTo>
                  <a:pt x="19082" y="5556"/>
                </a:lnTo>
                <a:lnTo>
                  <a:pt x="19157" y="5665"/>
                </a:lnTo>
                <a:lnTo>
                  <a:pt x="19206" y="5747"/>
                </a:lnTo>
                <a:lnTo>
                  <a:pt x="19243" y="5909"/>
                </a:lnTo>
                <a:lnTo>
                  <a:pt x="19298" y="5952"/>
                </a:lnTo>
                <a:lnTo>
                  <a:pt x="19402" y="6100"/>
                </a:lnTo>
                <a:lnTo>
                  <a:pt x="19470" y="6174"/>
                </a:lnTo>
                <a:lnTo>
                  <a:pt x="19527" y="6193"/>
                </a:lnTo>
                <a:lnTo>
                  <a:pt x="19531" y="6369"/>
                </a:lnTo>
                <a:lnTo>
                  <a:pt x="19624" y="6357"/>
                </a:lnTo>
                <a:lnTo>
                  <a:pt x="19673" y="6369"/>
                </a:lnTo>
                <a:lnTo>
                  <a:pt x="19721" y="6499"/>
                </a:lnTo>
                <a:lnTo>
                  <a:pt x="19782" y="6579"/>
                </a:lnTo>
                <a:lnTo>
                  <a:pt x="19822" y="6747"/>
                </a:lnTo>
                <a:lnTo>
                  <a:pt x="19922" y="6825"/>
                </a:lnTo>
                <a:lnTo>
                  <a:pt x="19989" y="6912"/>
                </a:lnTo>
                <a:lnTo>
                  <a:pt x="20047" y="6840"/>
                </a:lnTo>
                <a:lnTo>
                  <a:pt x="20095" y="6770"/>
                </a:lnTo>
                <a:lnTo>
                  <a:pt x="20141" y="6776"/>
                </a:lnTo>
                <a:lnTo>
                  <a:pt x="20122" y="6661"/>
                </a:lnTo>
                <a:cubicBezTo>
                  <a:pt x="20096" y="6629"/>
                  <a:pt x="20076" y="6588"/>
                  <a:pt x="20063" y="6541"/>
                </a:cubicBezTo>
                <a:cubicBezTo>
                  <a:pt x="20048" y="6486"/>
                  <a:pt x="20044" y="6426"/>
                  <a:pt x="20051" y="6368"/>
                </a:cubicBezTo>
                <a:lnTo>
                  <a:pt x="20097" y="6333"/>
                </a:lnTo>
                <a:lnTo>
                  <a:pt x="20060" y="6229"/>
                </a:lnTo>
                <a:lnTo>
                  <a:pt x="20028" y="6130"/>
                </a:lnTo>
                <a:cubicBezTo>
                  <a:pt x="20017" y="6102"/>
                  <a:pt x="20015" y="6068"/>
                  <a:pt x="20024" y="6038"/>
                </a:cubicBezTo>
                <a:cubicBezTo>
                  <a:pt x="20032" y="6008"/>
                  <a:pt x="20050" y="5987"/>
                  <a:pt x="20071" y="5981"/>
                </a:cubicBezTo>
                <a:lnTo>
                  <a:pt x="20148" y="5952"/>
                </a:lnTo>
                <a:lnTo>
                  <a:pt x="20116" y="5824"/>
                </a:lnTo>
                <a:lnTo>
                  <a:pt x="20073" y="5726"/>
                </a:lnTo>
                <a:lnTo>
                  <a:pt x="20027" y="5675"/>
                </a:lnTo>
                <a:lnTo>
                  <a:pt x="19988" y="5459"/>
                </a:lnTo>
                <a:lnTo>
                  <a:pt x="19971" y="5357"/>
                </a:lnTo>
                <a:lnTo>
                  <a:pt x="19889" y="5276"/>
                </a:lnTo>
                <a:cubicBezTo>
                  <a:pt x="19848" y="5275"/>
                  <a:pt x="19809" y="5248"/>
                  <a:pt x="19781" y="5203"/>
                </a:cubicBezTo>
                <a:cubicBezTo>
                  <a:pt x="19758" y="5165"/>
                  <a:pt x="19743" y="5118"/>
                  <a:pt x="19740" y="5067"/>
                </a:cubicBezTo>
                <a:lnTo>
                  <a:pt x="19649" y="5030"/>
                </a:lnTo>
                <a:lnTo>
                  <a:pt x="19552" y="5065"/>
                </a:lnTo>
                <a:lnTo>
                  <a:pt x="19499" y="4954"/>
                </a:lnTo>
                <a:lnTo>
                  <a:pt x="19530" y="4815"/>
                </a:lnTo>
                <a:lnTo>
                  <a:pt x="19474" y="4739"/>
                </a:lnTo>
                <a:lnTo>
                  <a:pt x="19445" y="4653"/>
                </a:lnTo>
                <a:lnTo>
                  <a:pt x="19429" y="4566"/>
                </a:lnTo>
                <a:lnTo>
                  <a:pt x="19532" y="4463"/>
                </a:lnTo>
                <a:lnTo>
                  <a:pt x="19674" y="4445"/>
                </a:lnTo>
                <a:lnTo>
                  <a:pt x="19757" y="4410"/>
                </a:lnTo>
                <a:lnTo>
                  <a:pt x="19810" y="4391"/>
                </a:lnTo>
                <a:lnTo>
                  <a:pt x="19862" y="4330"/>
                </a:lnTo>
                <a:lnTo>
                  <a:pt x="19913" y="4237"/>
                </a:lnTo>
                <a:lnTo>
                  <a:pt x="19960" y="4135"/>
                </a:lnTo>
                <a:lnTo>
                  <a:pt x="20017" y="4135"/>
                </a:lnTo>
                <a:lnTo>
                  <a:pt x="20052" y="4258"/>
                </a:lnTo>
                <a:lnTo>
                  <a:pt x="20103" y="4307"/>
                </a:lnTo>
                <a:lnTo>
                  <a:pt x="20167" y="4360"/>
                </a:lnTo>
                <a:lnTo>
                  <a:pt x="20240" y="4360"/>
                </a:lnTo>
                <a:lnTo>
                  <a:pt x="20330" y="4258"/>
                </a:lnTo>
                <a:lnTo>
                  <a:pt x="20441" y="4155"/>
                </a:lnTo>
                <a:lnTo>
                  <a:pt x="20460" y="4007"/>
                </a:lnTo>
                <a:lnTo>
                  <a:pt x="20532" y="3897"/>
                </a:lnTo>
                <a:lnTo>
                  <a:pt x="20647" y="3796"/>
                </a:lnTo>
                <a:lnTo>
                  <a:pt x="20690" y="3796"/>
                </a:lnTo>
                <a:lnTo>
                  <a:pt x="20798" y="3815"/>
                </a:lnTo>
                <a:lnTo>
                  <a:pt x="20974" y="3825"/>
                </a:lnTo>
                <a:lnTo>
                  <a:pt x="21043" y="3689"/>
                </a:lnTo>
                <a:lnTo>
                  <a:pt x="20828" y="3616"/>
                </a:lnTo>
                <a:lnTo>
                  <a:pt x="20699" y="3488"/>
                </a:lnTo>
                <a:cubicBezTo>
                  <a:pt x="20651" y="3440"/>
                  <a:pt x="20598" y="3408"/>
                  <a:pt x="20541" y="3395"/>
                </a:cubicBezTo>
                <a:cubicBezTo>
                  <a:pt x="20487" y="3382"/>
                  <a:pt x="20431" y="3387"/>
                  <a:pt x="20377" y="3369"/>
                </a:cubicBezTo>
                <a:cubicBezTo>
                  <a:pt x="20319" y="3349"/>
                  <a:pt x="20265" y="3304"/>
                  <a:pt x="20223" y="3239"/>
                </a:cubicBezTo>
                <a:lnTo>
                  <a:pt x="20154" y="3103"/>
                </a:lnTo>
                <a:lnTo>
                  <a:pt x="20236" y="3024"/>
                </a:lnTo>
                <a:lnTo>
                  <a:pt x="20355" y="3107"/>
                </a:lnTo>
                <a:lnTo>
                  <a:pt x="20443" y="3134"/>
                </a:lnTo>
                <a:lnTo>
                  <a:pt x="20540" y="3140"/>
                </a:lnTo>
                <a:lnTo>
                  <a:pt x="20552" y="3056"/>
                </a:lnTo>
                <a:lnTo>
                  <a:pt x="20456" y="2990"/>
                </a:lnTo>
                <a:lnTo>
                  <a:pt x="20365" y="2851"/>
                </a:lnTo>
                <a:lnTo>
                  <a:pt x="20463" y="2783"/>
                </a:lnTo>
                <a:lnTo>
                  <a:pt x="20569" y="2870"/>
                </a:lnTo>
                <a:lnTo>
                  <a:pt x="20686" y="2876"/>
                </a:lnTo>
                <a:lnTo>
                  <a:pt x="20806" y="2925"/>
                </a:lnTo>
                <a:lnTo>
                  <a:pt x="20940" y="2947"/>
                </a:lnTo>
                <a:lnTo>
                  <a:pt x="21026" y="2924"/>
                </a:lnTo>
                <a:lnTo>
                  <a:pt x="21094" y="3032"/>
                </a:lnTo>
                <a:lnTo>
                  <a:pt x="21270" y="3145"/>
                </a:lnTo>
                <a:lnTo>
                  <a:pt x="21423" y="3219"/>
                </a:lnTo>
                <a:lnTo>
                  <a:pt x="21566" y="3127"/>
                </a:lnTo>
                <a:lnTo>
                  <a:pt x="21600" y="3078"/>
                </a:lnTo>
                <a:lnTo>
                  <a:pt x="21527" y="3010"/>
                </a:lnTo>
                <a:lnTo>
                  <a:pt x="21426" y="2891"/>
                </a:lnTo>
                <a:lnTo>
                  <a:pt x="21301" y="2737"/>
                </a:lnTo>
                <a:lnTo>
                  <a:pt x="21190" y="2630"/>
                </a:lnTo>
                <a:lnTo>
                  <a:pt x="21119" y="2630"/>
                </a:lnTo>
                <a:lnTo>
                  <a:pt x="21030" y="2636"/>
                </a:lnTo>
                <a:lnTo>
                  <a:pt x="20974" y="2686"/>
                </a:lnTo>
                <a:lnTo>
                  <a:pt x="20878" y="2770"/>
                </a:lnTo>
                <a:lnTo>
                  <a:pt x="20770" y="2686"/>
                </a:lnTo>
                <a:lnTo>
                  <a:pt x="20722" y="2588"/>
                </a:lnTo>
                <a:lnTo>
                  <a:pt x="20543" y="2472"/>
                </a:lnTo>
                <a:lnTo>
                  <a:pt x="20456" y="2425"/>
                </a:lnTo>
                <a:lnTo>
                  <a:pt x="20307" y="2425"/>
                </a:lnTo>
                <a:lnTo>
                  <a:pt x="20202" y="2382"/>
                </a:lnTo>
                <a:lnTo>
                  <a:pt x="20089" y="2339"/>
                </a:lnTo>
                <a:lnTo>
                  <a:pt x="19926" y="2311"/>
                </a:lnTo>
                <a:lnTo>
                  <a:pt x="19800" y="2213"/>
                </a:lnTo>
                <a:lnTo>
                  <a:pt x="19643" y="2083"/>
                </a:lnTo>
                <a:lnTo>
                  <a:pt x="19551" y="2052"/>
                </a:lnTo>
                <a:lnTo>
                  <a:pt x="19315" y="2034"/>
                </a:lnTo>
                <a:lnTo>
                  <a:pt x="19215" y="1997"/>
                </a:lnTo>
                <a:lnTo>
                  <a:pt x="19122" y="1921"/>
                </a:lnTo>
                <a:lnTo>
                  <a:pt x="18920" y="1933"/>
                </a:lnTo>
                <a:lnTo>
                  <a:pt x="18735" y="1921"/>
                </a:lnTo>
                <a:lnTo>
                  <a:pt x="18590" y="1909"/>
                </a:lnTo>
                <a:lnTo>
                  <a:pt x="18496" y="1822"/>
                </a:lnTo>
                <a:lnTo>
                  <a:pt x="18364" y="1797"/>
                </a:lnTo>
                <a:lnTo>
                  <a:pt x="18239" y="1810"/>
                </a:lnTo>
                <a:lnTo>
                  <a:pt x="18137" y="1829"/>
                </a:lnTo>
                <a:lnTo>
                  <a:pt x="18157" y="1902"/>
                </a:lnTo>
                <a:lnTo>
                  <a:pt x="18248" y="1991"/>
                </a:lnTo>
                <a:lnTo>
                  <a:pt x="18296" y="2120"/>
                </a:lnTo>
                <a:lnTo>
                  <a:pt x="18233" y="2151"/>
                </a:lnTo>
                <a:lnTo>
                  <a:pt x="18148" y="2110"/>
                </a:lnTo>
                <a:lnTo>
                  <a:pt x="18025" y="2036"/>
                </a:lnTo>
                <a:lnTo>
                  <a:pt x="17903" y="1987"/>
                </a:lnTo>
                <a:lnTo>
                  <a:pt x="17710" y="1891"/>
                </a:lnTo>
                <a:lnTo>
                  <a:pt x="17551" y="1878"/>
                </a:lnTo>
                <a:lnTo>
                  <a:pt x="17370" y="1915"/>
                </a:lnTo>
                <a:lnTo>
                  <a:pt x="17038" y="1989"/>
                </a:lnTo>
                <a:lnTo>
                  <a:pt x="16827" y="1926"/>
                </a:lnTo>
                <a:lnTo>
                  <a:pt x="16722" y="1858"/>
                </a:lnTo>
                <a:lnTo>
                  <a:pt x="16565" y="1799"/>
                </a:lnTo>
                <a:lnTo>
                  <a:pt x="16503" y="1709"/>
                </a:lnTo>
                <a:lnTo>
                  <a:pt x="16417" y="1665"/>
                </a:lnTo>
                <a:lnTo>
                  <a:pt x="16350" y="1665"/>
                </a:lnTo>
                <a:lnTo>
                  <a:pt x="16180" y="1702"/>
                </a:lnTo>
                <a:lnTo>
                  <a:pt x="15880" y="1706"/>
                </a:lnTo>
                <a:lnTo>
                  <a:pt x="15742" y="1620"/>
                </a:lnTo>
                <a:lnTo>
                  <a:pt x="15543" y="1620"/>
                </a:lnTo>
                <a:lnTo>
                  <a:pt x="15307" y="1595"/>
                </a:lnTo>
                <a:lnTo>
                  <a:pt x="15157" y="1620"/>
                </a:lnTo>
                <a:lnTo>
                  <a:pt x="15047" y="1501"/>
                </a:lnTo>
                <a:lnTo>
                  <a:pt x="14881" y="1420"/>
                </a:lnTo>
                <a:lnTo>
                  <a:pt x="14763" y="1303"/>
                </a:lnTo>
                <a:lnTo>
                  <a:pt x="14679" y="1266"/>
                </a:lnTo>
                <a:lnTo>
                  <a:pt x="14635" y="1352"/>
                </a:lnTo>
                <a:lnTo>
                  <a:pt x="14550" y="1352"/>
                </a:lnTo>
                <a:lnTo>
                  <a:pt x="14462" y="1297"/>
                </a:lnTo>
                <a:lnTo>
                  <a:pt x="14166" y="1211"/>
                </a:lnTo>
                <a:lnTo>
                  <a:pt x="14073" y="1169"/>
                </a:lnTo>
                <a:lnTo>
                  <a:pt x="13945" y="1162"/>
                </a:lnTo>
                <a:lnTo>
                  <a:pt x="13813" y="1181"/>
                </a:lnTo>
                <a:lnTo>
                  <a:pt x="13627" y="1224"/>
                </a:lnTo>
                <a:lnTo>
                  <a:pt x="13667" y="1317"/>
                </a:lnTo>
                <a:lnTo>
                  <a:pt x="13749" y="1403"/>
                </a:lnTo>
                <a:lnTo>
                  <a:pt x="13692" y="1507"/>
                </a:lnTo>
                <a:lnTo>
                  <a:pt x="13597" y="1536"/>
                </a:lnTo>
                <a:lnTo>
                  <a:pt x="13538" y="1628"/>
                </a:lnTo>
                <a:lnTo>
                  <a:pt x="13428" y="1659"/>
                </a:lnTo>
                <a:lnTo>
                  <a:pt x="13358" y="1560"/>
                </a:lnTo>
                <a:lnTo>
                  <a:pt x="13216" y="1548"/>
                </a:lnTo>
                <a:lnTo>
                  <a:pt x="13131" y="1566"/>
                </a:lnTo>
                <a:lnTo>
                  <a:pt x="13104" y="1505"/>
                </a:lnTo>
                <a:lnTo>
                  <a:pt x="12982" y="1530"/>
                </a:lnTo>
                <a:lnTo>
                  <a:pt x="12917" y="1609"/>
                </a:lnTo>
                <a:lnTo>
                  <a:pt x="12808" y="1661"/>
                </a:lnTo>
                <a:lnTo>
                  <a:pt x="12730" y="1716"/>
                </a:lnTo>
                <a:lnTo>
                  <a:pt x="12648" y="1673"/>
                </a:lnTo>
                <a:lnTo>
                  <a:pt x="12554" y="1612"/>
                </a:lnTo>
                <a:lnTo>
                  <a:pt x="12432" y="1501"/>
                </a:lnTo>
                <a:lnTo>
                  <a:pt x="12362" y="1435"/>
                </a:lnTo>
                <a:lnTo>
                  <a:pt x="12252" y="1303"/>
                </a:lnTo>
                <a:lnTo>
                  <a:pt x="12198" y="1196"/>
                </a:lnTo>
                <a:lnTo>
                  <a:pt x="12065" y="1147"/>
                </a:lnTo>
                <a:lnTo>
                  <a:pt x="11907" y="1091"/>
                </a:lnTo>
                <a:lnTo>
                  <a:pt x="11807" y="1027"/>
                </a:lnTo>
                <a:lnTo>
                  <a:pt x="11650" y="1040"/>
                </a:lnTo>
                <a:lnTo>
                  <a:pt x="11476" y="1046"/>
                </a:lnTo>
                <a:lnTo>
                  <a:pt x="11319" y="1107"/>
                </a:lnTo>
                <a:lnTo>
                  <a:pt x="11161" y="1175"/>
                </a:lnTo>
                <a:lnTo>
                  <a:pt x="11102" y="1212"/>
                </a:lnTo>
                <a:lnTo>
                  <a:pt x="10997" y="1157"/>
                </a:lnTo>
                <a:lnTo>
                  <a:pt x="10925" y="1085"/>
                </a:lnTo>
                <a:lnTo>
                  <a:pt x="10818" y="1062"/>
                </a:lnTo>
                <a:lnTo>
                  <a:pt x="10706" y="1005"/>
                </a:lnTo>
                <a:lnTo>
                  <a:pt x="10635" y="986"/>
                </a:lnTo>
                <a:lnTo>
                  <a:pt x="10534" y="1017"/>
                </a:lnTo>
                <a:lnTo>
                  <a:pt x="10460" y="1067"/>
                </a:lnTo>
                <a:lnTo>
                  <a:pt x="10390" y="1116"/>
                </a:lnTo>
                <a:lnTo>
                  <a:pt x="10258" y="1109"/>
                </a:lnTo>
                <a:lnTo>
                  <a:pt x="10185" y="1048"/>
                </a:lnTo>
                <a:lnTo>
                  <a:pt x="10067" y="999"/>
                </a:lnTo>
                <a:lnTo>
                  <a:pt x="10001" y="925"/>
                </a:lnTo>
                <a:lnTo>
                  <a:pt x="9915" y="908"/>
                </a:lnTo>
                <a:lnTo>
                  <a:pt x="9859" y="933"/>
                </a:lnTo>
                <a:lnTo>
                  <a:pt x="9750" y="999"/>
                </a:lnTo>
                <a:lnTo>
                  <a:pt x="9570" y="1077"/>
                </a:lnTo>
                <a:lnTo>
                  <a:pt x="9446" y="1137"/>
                </a:lnTo>
                <a:lnTo>
                  <a:pt x="9279" y="1137"/>
                </a:lnTo>
                <a:lnTo>
                  <a:pt x="9295" y="1014"/>
                </a:lnTo>
                <a:lnTo>
                  <a:pt x="9310" y="961"/>
                </a:lnTo>
                <a:lnTo>
                  <a:pt x="9378" y="871"/>
                </a:lnTo>
                <a:lnTo>
                  <a:pt x="9505" y="792"/>
                </a:lnTo>
                <a:lnTo>
                  <a:pt x="9585" y="731"/>
                </a:lnTo>
                <a:lnTo>
                  <a:pt x="9656" y="672"/>
                </a:lnTo>
                <a:lnTo>
                  <a:pt x="9727" y="607"/>
                </a:lnTo>
                <a:lnTo>
                  <a:pt x="9742" y="445"/>
                </a:lnTo>
                <a:lnTo>
                  <a:pt x="9582" y="412"/>
                </a:lnTo>
                <a:cubicBezTo>
                  <a:pt x="9560" y="371"/>
                  <a:pt x="9533" y="339"/>
                  <a:pt x="9502" y="316"/>
                </a:cubicBezTo>
                <a:cubicBezTo>
                  <a:pt x="9454" y="281"/>
                  <a:pt x="9400" y="272"/>
                  <a:pt x="9348" y="291"/>
                </a:cubicBezTo>
                <a:lnTo>
                  <a:pt x="9271" y="259"/>
                </a:lnTo>
                <a:lnTo>
                  <a:pt x="9024" y="240"/>
                </a:lnTo>
                <a:lnTo>
                  <a:pt x="8961" y="296"/>
                </a:lnTo>
                <a:lnTo>
                  <a:pt x="8878" y="321"/>
                </a:lnTo>
                <a:lnTo>
                  <a:pt x="8778" y="327"/>
                </a:lnTo>
                <a:lnTo>
                  <a:pt x="8669" y="321"/>
                </a:lnTo>
                <a:lnTo>
                  <a:pt x="8552" y="169"/>
                </a:lnTo>
                <a:lnTo>
                  <a:pt x="8382" y="61"/>
                </a:lnTo>
                <a:lnTo>
                  <a:pt x="8181" y="0"/>
                </a:lnTo>
                <a:lnTo>
                  <a:pt x="8118" y="111"/>
                </a:lnTo>
                <a:cubicBezTo>
                  <a:pt x="8095" y="146"/>
                  <a:pt x="8072" y="181"/>
                  <a:pt x="8049" y="216"/>
                </a:cubicBezTo>
                <a:cubicBezTo>
                  <a:pt x="8019" y="259"/>
                  <a:pt x="7990" y="302"/>
                  <a:pt x="7960" y="345"/>
                </a:cubicBezTo>
                <a:lnTo>
                  <a:pt x="7855" y="476"/>
                </a:lnTo>
                <a:lnTo>
                  <a:pt x="7722" y="482"/>
                </a:lnTo>
                <a:lnTo>
                  <a:pt x="7658" y="400"/>
                </a:lnTo>
                <a:lnTo>
                  <a:pt x="7484" y="373"/>
                </a:lnTo>
                <a:lnTo>
                  <a:pt x="7361" y="362"/>
                </a:lnTo>
                <a:lnTo>
                  <a:pt x="7275" y="430"/>
                </a:lnTo>
                <a:lnTo>
                  <a:pt x="7161" y="486"/>
                </a:lnTo>
                <a:lnTo>
                  <a:pt x="7012" y="523"/>
                </a:lnTo>
                <a:lnTo>
                  <a:pt x="6838" y="560"/>
                </a:lnTo>
                <a:lnTo>
                  <a:pt x="6726" y="578"/>
                </a:lnTo>
                <a:lnTo>
                  <a:pt x="6715" y="666"/>
                </a:lnTo>
                <a:lnTo>
                  <a:pt x="6751" y="734"/>
                </a:lnTo>
                <a:lnTo>
                  <a:pt x="6843" y="832"/>
                </a:lnTo>
                <a:lnTo>
                  <a:pt x="6786" y="906"/>
                </a:lnTo>
                <a:lnTo>
                  <a:pt x="6718" y="930"/>
                </a:lnTo>
                <a:lnTo>
                  <a:pt x="6637" y="973"/>
                </a:lnTo>
                <a:lnTo>
                  <a:pt x="6556" y="924"/>
                </a:lnTo>
                <a:lnTo>
                  <a:pt x="6471" y="887"/>
                </a:lnTo>
                <a:lnTo>
                  <a:pt x="6350" y="943"/>
                </a:lnTo>
                <a:lnTo>
                  <a:pt x="6279" y="996"/>
                </a:lnTo>
                <a:lnTo>
                  <a:pt x="6206" y="1051"/>
                </a:lnTo>
                <a:lnTo>
                  <a:pt x="6149" y="1132"/>
                </a:lnTo>
                <a:lnTo>
                  <a:pt x="6064" y="1205"/>
                </a:lnTo>
                <a:lnTo>
                  <a:pt x="5960" y="1295"/>
                </a:lnTo>
                <a:lnTo>
                  <a:pt x="5892" y="1351"/>
                </a:lnTo>
                <a:lnTo>
                  <a:pt x="5816" y="1400"/>
                </a:lnTo>
                <a:lnTo>
                  <a:pt x="5722" y="1449"/>
                </a:lnTo>
                <a:lnTo>
                  <a:pt x="5637" y="1449"/>
                </a:lnTo>
                <a:lnTo>
                  <a:pt x="5595" y="1413"/>
                </a:lnTo>
                <a:lnTo>
                  <a:pt x="5495" y="1413"/>
                </a:lnTo>
                <a:lnTo>
                  <a:pt x="5468" y="1536"/>
                </a:lnTo>
                <a:lnTo>
                  <a:pt x="5511" y="1683"/>
                </a:lnTo>
                <a:lnTo>
                  <a:pt x="5628" y="1858"/>
                </a:lnTo>
                <a:lnTo>
                  <a:pt x="5664" y="1907"/>
                </a:lnTo>
                <a:lnTo>
                  <a:pt x="5767" y="1929"/>
                </a:lnTo>
                <a:lnTo>
                  <a:pt x="5876" y="2075"/>
                </a:lnTo>
                <a:lnTo>
                  <a:pt x="5864" y="2215"/>
                </a:lnTo>
                <a:lnTo>
                  <a:pt x="5905" y="2289"/>
                </a:lnTo>
                <a:lnTo>
                  <a:pt x="5866" y="2477"/>
                </a:lnTo>
                <a:lnTo>
                  <a:pt x="5797" y="2656"/>
                </a:lnTo>
                <a:lnTo>
                  <a:pt x="5709" y="2755"/>
                </a:lnTo>
                <a:lnTo>
                  <a:pt x="5587" y="2810"/>
                </a:lnTo>
                <a:lnTo>
                  <a:pt x="5482" y="2822"/>
                </a:lnTo>
                <a:cubicBezTo>
                  <a:pt x="5453" y="2798"/>
                  <a:pt x="5444" y="2741"/>
                  <a:pt x="5463" y="2699"/>
                </a:cubicBezTo>
                <a:cubicBezTo>
                  <a:pt x="5481" y="2659"/>
                  <a:pt x="5516" y="2653"/>
                  <a:pt x="5544" y="2631"/>
                </a:cubicBezTo>
                <a:cubicBezTo>
                  <a:pt x="5592" y="2593"/>
                  <a:pt x="5617" y="2510"/>
                  <a:pt x="5603" y="2430"/>
                </a:cubicBezTo>
                <a:lnTo>
                  <a:pt x="5557" y="2208"/>
                </a:lnTo>
                <a:lnTo>
                  <a:pt x="5456" y="2066"/>
                </a:lnTo>
                <a:lnTo>
                  <a:pt x="5369" y="1842"/>
                </a:lnTo>
                <a:lnTo>
                  <a:pt x="5304" y="1651"/>
                </a:lnTo>
                <a:lnTo>
                  <a:pt x="5239" y="1515"/>
                </a:lnTo>
                <a:lnTo>
                  <a:pt x="5182" y="1355"/>
                </a:lnTo>
                <a:lnTo>
                  <a:pt x="5074" y="1252"/>
                </a:lnTo>
                <a:lnTo>
                  <a:pt x="4913" y="1178"/>
                </a:lnTo>
                <a:lnTo>
                  <a:pt x="4747" y="1246"/>
                </a:lnTo>
                <a:lnTo>
                  <a:pt x="4613" y="1388"/>
                </a:lnTo>
                <a:lnTo>
                  <a:pt x="4609" y="1523"/>
                </a:lnTo>
                <a:lnTo>
                  <a:pt x="4654" y="1702"/>
                </a:lnTo>
                <a:lnTo>
                  <a:pt x="4727" y="1825"/>
                </a:lnTo>
                <a:lnTo>
                  <a:pt x="4848" y="1874"/>
                </a:lnTo>
                <a:lnTo>
                  <a:pt x="4946" y="1942"/>
                </a:lnTo>
                <a:lnTo>
                  <a:pt x="5024" y="2032"/>
                </a:lnTo>
                <a:lnTo>
                  <a:pt x="5089" y="2143"/>
                </a:lnTo>
                <a:lnTo>
                  <a:pt x="5077" y="2241"/>
                </a:lnTo>
                <a:lnTo>
                  <a:pt x="4981" y="2276"/>
                </a:lnTo>
                <a:lnTo>
                  <a:pt x="4947" y="2348"/>
                </a:lnTo>
                <a:lnTo>
                  <a:pt x="4872" y="2286"/>
                </a:lnTo>
                <a:lnTo>
                  <a:pt x="4788" y="2194"/>
                </a:lnTo>
                <a:lnTo>
                  <a:pt x="4710" y="2163"/>
                </a:lnTo>
                <a:lnTo>
                  <a:pt x="4603" y="2151"/>
                </a:lnTo>
                <a:lnTo>
                  <a:pt x="4678" y="2284"/>
                </a:lnTo>
                <a:lnTo>
                  <a:pt x="4754" y="2363"/>
                </a:lnTo>
                <a:lnTo>
                  <a:pt x="4735" y="2522"/>
                </a:lnTo>
                <a:lnTo>
                  <a:pt x="4571" y="2643"/>
                </a:lnTo>
                <a:lnTo>
                  <a:pt x="4490" y="2738"/>
                </a:lnTo>
                <a:lnTo>
                  <a:pt x="4323" y="2820"/>
                </a:lnTo>
                <a:lnTo>
                  <a:pt x="4189" y="2900"/>
                </a:lnTo>
                <a:lnTo>
                  <a:pt x="4168" y="3010"/>
                </a:lnTo>
                <a:lnTo>
                  <a:pt x="4176" y="3166"/>
                </a:lnTo>
                <a:lnTo>
                  <a:pt x="4263" y="3589"/>
                </a:lnTo>
                <a:lnTo>
                  <a:pt x="4302" y="3809"/>
                </a:lnTo>
                <a:lnTo>
                  <a:pt x="4391" y="3967"/>
                </a:lnTo>
                <a:lnTo>
                  <a:pt x="4410" y="4139"/>
                </a:lnTo>
                <a:lnTo>
                  <a:pt x="4418" y="4379"/>
                </a:lnTo>
                <a:lnTo>
                  <a:pt x="4441" y="4560"/>
                </a:lnTo>
                <a:lnTo>
                  <a:pt x="4437" y="4864"/>
                </a:lnTo>
                <a:lnTo>
                  <a:pt x="4527" y="4941"/>
                </a:lnTo>
                <a:lnTo>
                  <a:pt x="4567" y="5097"/>
                </a:lnTo>
                <a:lnTo>
                  <a:pt x="4635" y="5183"/>
                </a:lnTo>
                <a:lnTo>
                  <a:pt x="4651" y="5256"/>
                </a:lnTo>
                <a:lnTo>
                  <a:pt x="4626" y="5367"/>
                </a:lnTo>
                <a:lnTo>
                  <a:pt x="4576" y="5443"/>
                </a:lnTo>
                <a:lnTo>
                  <a:pt x="4445" y="5463"/>
                </a:lnTo>
                <a:lnTo>
                  <a:pt x="4316" y="5596"/>
                </a:lnTo>
                <a:lnTo>
                  <a:pt x="4406" y="5724"/>
                </a:lnTo>
                <a:lnTo>
                  <a:pt x="4387" y="5836"/>
                </a:lnTo>
                <a:lnTo>
                  <a:pt x="4594" y="6114"/>
                </a:lnTo>
                <a:lnTo>
                  <a:pt x="4754" y="6030"/>
                </a:lnTo>
                <a:lnTo>
                  <a:pt x="4789" y="5840"/>
                </a:lnTo>
                <a:lnTo>
                  <a:pt x="4841" y="5803"/>
                </a:lnTo>
                <a:lnTo>
                  <a:pt x="4948" y="5879"/>
                </a:lnTo>
                <a:lnTo>
                  <a:pt x="5006" y="6012"/>
                </a:lnTo>
                <a:lnTo>
                  <a:pt x="4972" y="6178"/>
                </a:lnTo>
                <a:lnTo>
                  <a:pt x="4922" y="6262"/>
                </a:lnTo>
                <a:lnTo>
                  <a:pt x="4935" y="6389"/>
                </a:lnTo>
                <a:lnTo>
                  <a:pt x="4975" y="6457"/>
                </a:lnTo>
                <a:lnTo>
                  <a:pt x="4930" y="6525"/>
                </a:lnTo>
                <a:lnTo>
                  <a:pt x="4941" y="6684"/>
                </a:lnTo>
                <a:lnTo>
                  <a:pt x="4896" y="6822"/>
                </a:lnTo>
                <a:lnTo>
                  <a:pt x="4856" y="6858"/>
                </a:lnTo>
                <a:lnTo>
                  <a:pt x="4492" y="6703"/>
                </a:lnTo>
                <a:lnTo>
                  <a:pt x="4399" y="6602"/>
                </a:lnTo>
                <a:lnTo>
                  <a:pt x="4252" y="6584"/>
                </a:lnTo>
                <a:lnTo>
                  <a:pt x="4068" y="6730"/>
                </a:lnTo>
                <a:lnTo>
                  <a:pt x="3743" y="6603"/>
                </a:lnTo>
                <a:lnTo>
                  <a:pt x="3618" y="6656"/>
                </a:lnTo>
                <a:lnTo>
                  <a:pt x="3600" y="6823"/>
                </a:lnTo>
                <a:lnTo>
                  <a:pt x="3636" y="7187"/>
                </a:lnTo>
                <a:lnTo>
                  <a:pt x="3748" y="7239"/>
                </a:lnTo>
                <a:lnTo>
                  <a:pt x="3825" y="7347"/>
                </a:lnTo>
                <a:lnTo>
                  <a:pt x="3825" y="7604"/>
                </a:lnTo>
                <a:lnTo>
                  <a:pt x="3887" y="7855"/>
                </a:lnTo>
                <a:lnTo>
                  <a:pt x="3979" y="8012"/>
                </a:lnTo>
                <a:lnTo>
                  <a:pt x="4086" y="8093"/>
                </a:lnTo>
                <a:lnTo>
                  <a:pt x="4220" y="8136"/>
                </a:lnTo>
                <a:lnTo>
                  <a:pt x="4293" y="8263"/>
                </a:lnTo>
                <a:lnTo>
                  <a:pt x="4293" y="8394"/>
                </a:lnTo>
                <a:lnTo>
                  <a:pt x="4366" y="8540"/>
                </a:lnTo>
                <a:lnTo>
                  <a:pt x="4383" y="8629"/>
                </a:lnTo>
                <a:lnTo>
                  <a:pt x="4299" y="8664"/>
                </a:lnTo>
                <a:lnTo>
                  <a:pt x="4172" y="8604"/>
                </a:lnTo>
                <a:lnTo>
                  <a:pt x="4026" y="8653"/>
                </a:lnTo>
                <a:lnTo>
                  <a:pt x="3937" y="8795"/>
                </a:lnTo>
                <a:lnTo>
                  <a:pt x="3868" y="9042"/>
                </a:lnTo>
                <a:lnTo>
                  <a:pt x="4014" y="9200"/>
                </a:lnTo>
                <a:lnTo>
                  <a:pt x="4153" y="9272"/>
                </a:lnTo>
                <a:lnTo>
                  <a:pt x="4317" y="9447"/>
                </a:lnTo>
                <a:lnTo>
                  <a:pt x="4379" y="9595"/>
                </a:lnTo>
                <a:lnTo>
                  <a:pt x="4500" y="9504"/>
                </a:lnTo>
                <a:lnTo>
                  <a:pt x="4590" y="9545"/>
                </a:lnTo>
                <a:lnTo>
                  <a:pt x="4620" y="9647"/>
                </a:lnTo>
                <a:lnTo>
                  <a:pt x="4729" y="9807"/>
                </a:lnTo>
                <a:lnTo>
                  <a:pt x="4703" y="9934"/>
                </a:lnTo>
                <a:lnTo>
                  <a:pt x="4589" y="10028"/>
                </a:lnTo>
                <a:lnTo>
                  <a:pt x="4485" y="9905"/>
                </a:lnTo>
                <a:lnTo>
                  <a:pt x="4398" y="9948"/>
                </a:lnTo>
                <a:lnTo>
                  <a:pt x="4460" y="10099"/>
                </a:lnTo>
                <a:lnTo>
                  <a:pt x="4558" y="10237"/>
                </a:lnTo>
                <a:lnTo>
                  <a:pt x="4639" y="10407"/>
                </a:lnTo>
                <a:lnTo>
                  <a:pt x="4716" y="10732"/>
                </a:lnTo>
                <a:lnTo>
                  <a:pt x="4705" y="10997"/>
                </a:lnTo>
                <a:lnTo>
                  <a:pt x="4587" y="11154"/>
                </a:lnTo>
                <a:lnTo>
                  <a:pt x="4430" y="11160"/>
                </a:lnTo>
                <a:lnTo>
                  <a:pt x="4375" y="11281"/>
                </a:lnTo>
                <a:lnTo>
                  <a:pt x="4289" y="11156"/>
                </a:lnTo>
                <a:cubicBezTo>
                  <a:pt x="4252" y="11136"/>
                  <a:pt x="4216" y="11114"/>
                  <a:pt x="4180" y="11088"/>
                </a:cubicBezTo>
                <a:cubicBezTo>
                  <a:pt x="4134" y="11055"/>
                  <a:pt x="4089" y="11017"/>
                  <a:pt x="4044" y="10979"/>
                </a:cubicBezTo>
                <a:cubicBezTo>
                  <a:pt x="3984" y="10930"/>
                  <a:pt x="3923" y="10882"/>
                  <a:pt x="3862" y="10835"/>
                </a:cubicBezTo>
                <a:lnTo>
                  <a:pt x="3803" y="10661"/>
                </a:lnTo>
                <a:lnTo>
                  <a:pt x="3784" y="10495"/>
                </a:lnTo>
                <a:lnTo>
                  <a:pt x="3841" y="10339"/>
                </a:lnTo>
                <a:lnTo>
                  <a:pt x="3888" y="1022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8" name="îṥ1îdè">
            <a:extLst>
              <a:ext uri="{FF2B5EF4-FFF2-40B4-BE49-F238E27FC236}">
                <a16:creationId xmlns:a16="http://schemas.microsoft.com/office/drawing/2014/main" id="{7F6DFB87-1172-49E9-A24F-5DED34EC9366}"/>
              </a:ext>
            </a:extLst>
          </p:cNvPr>
          <p:cNvSpPr/>
          <p:nvPr/>
        </p:nvSpPr>
        <p:spPr>
          <a:xfrm>
            <a:off x="7418918" y="1507613"/>
            <a:ext cx="297562" cy="809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778" y="6595"/>
                </a:moveTo>
                <a:lnTo>
                  <a:pt x="10446" y="7621"/>
                </a:lnTo>
                <a:lnTo>
                  <a:pt x="11913" y="8186"/>
                </a:lnTo>
                <a:lnTo>
                  <a:pt x="12620" y="11749"/>
                </a:lnTo>
                <a:lnTo>
                  <a:pt x="14481" y="12643"/>
                </a:lnTo>
                <a:lnTo>
                  <a:pt x="16772" y="11668"/>
                </a:lnTo>
                <a:lnTo>
                  <a:pt x="18486" y="11668"/>
                </a:lnTo>
                <a:lnTo>
                  <a:pt x="20801" y="12156"/>
                </a:lnTo>
                <a:lnTo>
                  <a:pt x="21600" y="13283"/>
                </a:lnTo>
                <a:lnTo>
                  <a:pt x="19933" y="15944"/>
                </a:lnTo>
                <a:lnTo>
                  <a:pt x="17089" y="15944"/>
                </a:lnTo>
                <a:lnTo>
                  <a:pt x="16332" y="19345"/>
                </a:lnTo>
                <a:lnTo>
                  <a:pt x="16001" y="21600"/>
                </a:lnTo>
                <a:lnTo>
                  <a:pt x="14718" y="20625"/>
                </a:lnTo>
                <a:lnTo>
                  <a:pt x="14985" y="16005"/>
                </a:lnTo>
                <a:lnTo>
                  <a:pt x="13115" y="14553"/>
                </a:lnTo>
                <a:lnTo>
                  <a:pt x="9998" y="14309"/>
                </a:lnTo>
                <a:lnTo>
                  <a:pt x="8554" y="13334"/>
                </a:lnTo>
                <a:lnTo>
                  <a:pt x="6375" y="9273"/>
                </a:lnTo>
                <a:lnTo>
                  <a:pt x="4455" y="10004"/>
                </a:lnTo>
                <a:lnTo>
                  <a:pt x="647" y="10490"/>
                </a:lnTo>
                <a:lnTo>
                  <a:pt x="0" y="7648"/>
                </a:lnTo>
                <a:lnTo>
                  <a:pt x="1373" y="1494"/>
                </a:lnTo>
                <a:lnTo>
                  <a:pt x="2843" y="0"/>
                </a:lnTo>
                <a:lnTo>
                  <a:pt x="5108" y="1491"/>
                </a:lnTo>
                <a:lnTo>
                  <a:pt x="5617" y="3189"/>
                </a:lnTo>
                <a:lnTo>
                  <a:pt x="6572" y="5128"/>
                </a:lnTo>
                <a:lnTo>
                  <a:pt x="7778" y="659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9" name="ís1ïḋe">
            <a:extLst>
              <a:ext uri="{FF2B5EF4-FFF2-40B4-BE49-F238E27FC236}">
                <a16:creationId xmlns:a16="http://schemas.microsoft.com/office/drawing/2014/main" id="{BBFD61CC-BED9-45AC-9F82-DB7CD5DB5ED2}"/>
              </a:ext>
            </a:extLst>
          </p:cNvPr>
          <p:cNvSpPr/>
          <p:nvPr/>
        </p:nvSpPr>
        <p:spPr>
          <a:xfrm>
            <a:off x="9291737" y="2265253"/>
            <a:ext cx="197060" cy="231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8" y="306"/>
                </a:moveTo>
                <a:lnTo>
                  <a:pt x="2649" y="0"/>
                </a:lnTo>
                <a:lnTo>
                  <a:pt x="4359" y="1473"/>
                </a:lnTo>
                <a:lnTo>
                  <a:pt x="4763" y="2920"/>
                </a:lnTo>
                <a:lnTo>
                  <a:pt x="5532" y="4452"/>
                </a:lnTo>
                <a:lnTo>
                  <a:pt x="7347" y="6386"/>
                </a:lnTo>
                <a:lnTo>
                  <a:pt x="9263" y="7065"/>
                </a:lnTo>
                <a:lnTo>
                  <a:pt x="12200" y="8654"/>
                </a:lnTo>
                <a:lnTo>
                  <a:pt x="15159" y="10100"/>
                </a:lnTo>
                <a:lnTo>
                  <a:pt x="16566" y="11032"/>
                </a:lnTo>
                <a:lnTo>
                  <a:pt x="17268" y="12134"/>
                </a:lnTo>
                <a:lnTo>
                  <a:pt x="17470" y="13346"/>
                </a:lnTo>
                <a:lnTo>
                  <a:pt x="16028" y="13005"/>
                </a:lnTo>
                <a:lnTo>
                  <a:pt x="14423" y="13403"/>
                </a:lnTo>
                <a:lnTo>
                  <a:pt x="14629" y="14594"/>
                </a:lnTo>
                <a:lnTo>
                  <a:pt x="16612" y="15959"/>
                </a:lnTo>
                <a:lnTo>
                  <a:pt x="18226" y="17825"/>
                </a:lnTo>
                <a:lnTo>
                  <a:pt x="20991" y="20121"/>
                </a:lnTo>
                <a:lnTo>
                  <a:pt x="21600" y="21600"/>
                </a:lnTo>
                <a:lnTo>
                  <a:pt x="18856" y="21600"/>
                </a:lnTo>
                <a:lnTo>
                  <a:pt x="16692" y="20075"/>
                </a:lnTo>
                <a:cubicBezTo>
                  <a:pt x="16027" y="19637"/>
                  <a:pt x="15479" y="19086"/>
                  <a:pt x="15082" y="18458"/>
                </a:cubicBezTo>
                <a:cubicBezTo>
                  <a:pt x="14796" y="18005"/>
                  <a:pt x="14594" y="17518"/>
                  <a:pt x="14481" y="17014"/>
                </a:cubicBezTo>
                <a:lnTo>
                  <a:pt x="13271" y="15138"/>
                </a:lnTo>
                <a:lnTo>
                  <a:pt x="12262" y="13005"/>
                </a:lnTo>
                <a:lnTo>
                  <a:pt x="10884" y="11071"/>
                </a:lnTo>
                <a:lnTo>
                  <a:pt x="9077" y="9201"/>
                </a:lnTo>
                <a:lnTo>
                  <a:pt x="7270" y="7413"/>
                </a:lnTo>
                <a:lnTo>
                  <a:pt x="5169" y="6059"/>
                </a:lnTo>
                <a:lnTo>
                  <a:pt x="4097" y="4751"/>
                </a:lnTo>
                <a:lnTo>
                  <a:pt x="2685" y="3332"/>
                </a:lnTo>
                <a:lnTo>
                  <a:pt x="0" y="1690"/>
                </a:lnTo>
                <a:lnTo>
                  <a:pt x="918" y="30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00" name="íṥ1ídê">
            <a:extLst>
              <a:ext uri="{FF2B5EF4-FFF2-40B4-BE49-F238E27FC236}">
                <a16:creationId xmlns:a16="http://schemas.microsoft.com/office/drawing/2014/main" id="{7DD67A1C-16A9-4BF1-A71E-5F30763C127B}"/>
              </a:ext>
            </a:extLst>
          </p:cNvPr>
          <p:cNvSpPr/>
          <p:nvPr/>
        </p:nvSpPr>
        <p:spPr>
          <a:xfrm>
            <a:off x="9478298" y="2526037"/>
            <a:ext cx="138110" cy="1313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6" y="0"/>
                </a:moveTo>
                <a:lnTo>
                  <a:pt x="3327" y="2686"/>
                </a:lnTo>
                <a:lnTo>
                  <a:pt x="5129" y="3465"/>
                </a:lnTo>
                <a:lnTo>
                  <a:pt x="5987" y="5412"/>
                </a:lnTo>
                <a:lnTo>
                  <a:pt x="8960" y="8066"/>
                </a:lnTo>
                <a:lnTo>
                  <a:pt x="13176" y="8066"/>
                </a:lnTo>
                <a:lnTo>
                  <a:pt x="16240" y="8060"/>
                </a:lnTo>
                <a:lnTo>
                  <a:pt x="20071" y="9506"/>
                </a:lnTo>
                <a:lnTo>
                  <a:pt x="21600" y="11754"/>
                </a:lnTo>
                <a:lnTo>
                  <a:pt x="18242" y="13299"/>
                </a:lnTo>
                <a:lnTo>
                  <a:pt x="16138" y="13894"/>
                </a:lnTo>
                <a:lnTo>
                  <a:pt x="16857" y="17337"/>
                </a:lnTo>
                <a:lnTo>
                  <a:pt x="14039" y="17181"/>
                </a:lnTo>
                <a:lnTo>
                  <a:pt x="12762" y="16136"/>
                </a:lnTo>
                <a:cubicBezTo>
                  <a:pt x="11828" y="15985"/>
                  <a:pt x="10901" y="15786"/>
                  <a:pt x="9986" y="15541"/>
                </a:cubicBezTo>
                <a:cubicBezTo>
                  <a:pt x="9104" y="15304"/>
                  <a:pt x="8234" y="15024"/>
                  <a:pt x="7377" y="14702"/>
                </a:cubicBezTo>
                <a:lnTo>
                  <a:pt x="5842" y="15002"/>
                </a:lnTo>
                <a:lnTo>
                  <a:pt x="5992" y="19096"/>
                </a:lnTo>
                <a:lnTo>
                  <a:pt x="4895" y="21600"/>
                </a:lnTo>
                <a:lnTo>
                  <a:pt x="2646" y="18495"/>
                </a:lnTo>
                <a:lnTo>
                  <a:pt x="2215" y="16698"/>
                </a:lnTo>
                <a:lnTo>
                  <a:pt x="499" y="14902"/>
                </a:lnTo>
                <a:lnTo>
                  <a:pt x="34" y="12773"/>
                </a:lnTo>
                <a:cubicBezTo>
                  <a:pt x="789" y="12296"/>
                  <a:pt x="1459" y="11687"/>
                  <a:pt x="2015" y="10971"/>
                </a:cubicBezTo>
                <a:cubicBezTo>
                  <a:pt x="2581" y="10241"/>
                  <a:pt x="3020" y="9412"/>
                  <a:pt x="3310" y="8523"/>
                </a:cubicBezTo>
                <a:lnTo>
                  <a:pt x="1535" y="5374"/>
                </a:lnTo>
                <a:lnTo>
                  <a:pt x="0" y="3428"/>
                </a:lnTo>
                <a:lnTo>
                  <a:pt x="121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1" name="iṡļíde">
            <a:extLst>
              <a:ext uri="{FF2B5EF4-FFF2-40B4-BE49-F238E27FC236}">
                <a16:creationId xmlns:a16="http://schemas.microsoft.com/office/drawing/2014/main" id="{5008A10D-9F21-4363-B984-31E0BE7D26F5}"/>
              </a:ext>
            </a:extLst>
          </p:cNvPr>
          <p:cNvSpPr/>
          <p:nvPr/>
        </p:nvSpPr>
        <p:spPr>
          <a:xfrm>
            <a:off x="9371059" y="2666675"/>
            <a:ext cx="248452" cy="2404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31" y="0"/>
                </a:moveTo>
                <a:lnTo>
                  <a:pt x="16152" y="752"/>
                </a:lnTo>
                <a:lnTo>
                  <a:pt x="17169" y="1568"/>
                </a:lnTo>
                <a:lnTo>
                  <a:pt x="18839" y="1893"/>
                </a:lnTo>
                <a:lnTo>
                  <a:pt x="18839" y="3442"/>
                </a:lnTo>
                <a:lnTo>
                  <a:pt x="19262" y="4642"/>
                </a:lnTo>
                <a:lnTo>
                  <a:pt x="19979" y="5617"/>
                </a:lnTo>
                <a:lnTo>
                  <a:pt x="19182" y="6899"/>
                </a:lnTo>
                <a:lnTo>
                  <a:pt x="19182" y="8099"/>
                </a:lnTo>
                <a:lnTo>
                  <a:pt x="19662" y="9375"/>
                </a:lnTo>
                <a:lnTo>
                  <a:pt x="20216" y="10435"/>
                </a:lnTo>
                <a:lnTo>
                  <a:pt x="20594" y="11892"/>
                </a:lnTo>
                <a:lnTo>
                  <a:pt x="21520" y="13554"/>
                </a:lnTo>
                <a:lnTo>
                  <a:pt x="21600" y="15848"/>
                </a:lnTo>
                <a:lnTo>
                  <a:pt x="20167" y="17076"/>
                </a:lnTo>
                <a:lnTo>
                  <a:pt x="18837" y="17726"/>
                </a:lnTo>
                <a:lnTo>
                  <a:pt x="16684" y="18109"/>
                </a:lnTo>
                <a:lnTo>
                  <a:pt x="15274" y="18188"/>
                </a:lnTo>
                <a:lnTo>
                  <a:pt x="13867" y="18430"/>
                </a:lnTo>
                <a:lnTo>
                  <a:pt x="13462" y="19798"/>
                </a:lnTo>
                <a:lnTo>
                  <a:pt x="13164" y="20810"/>
                </a:lnTo>
                <a:lnTo>
                  <a:pt x="12474" y="21600"/>
                </a:lnTo>
                <a:lnTo>
                  <a:pt x="11162" y="19907"/>
                </a:lnTo>
                <a:lnTo>
                  <a:pt x="10416" y="19251"/>
                </a:lnTo>
                <a:lnTo>
                  <a:pt x="7383" y="19114"/>
                </a:lnTo>
                <a:lnTo>
                  <a:pt x="4329" y="19388"/>
                </a:lnTo>
                <a:lnTo>
                  <a:pt x="1907" y="20174"/>
                </a:lnTo>
                <a:lnTo>
                  <a:pt x="0" y="18923"/>
                </a:lnTo>
                <a:lnTo>
                  <a:pt x="1177" y="17804"/>
                </a:lnTo>
                <a:lnTo>
                  <a:pt x="2674" y="17668"/>
                </a:lnTo>
                <a:lnTo>
                  <a:pt x="3680" y="16334"/>
                </a:lnTo>
                <a:lnTo>
                  <a:pt x="4960" y="15541"/>
                </a:lnTo>
                <a:lnTo>
                  <a:pt x="6637" y="16033"/>
                </a:lnTo>
                <a:lnTo>
                  <a:pt x="8203" y="16279"/>
                </a:lnTo>
                <a:lnTo>
                  <a:pt x="9693" y="15161"/>
                </a:lnTo>
                <a:lnTo>
                  <a:pt x="10727" y="14180"/>
                </a:lnTo>
                <a:lnTo>
                  <a:pt x="13446" y="12244"/>
                </a:lnTo>
                <a:lnTo>
                  <a:pt x="14243" y="11348"/>
                </a:lnTo>
                <a:lnTo>
                  <a:pt x="16242" y="10719"/>
                </a:lnTo>
                <a:lnTo>
                  <a:pt x="16482" y="9003"/>
                </a:lnTo>
                <a:lnTo>
                  <a:pt x="16482" y="7470"/>
                </a:lnTo>
                <a:lnTo>
                  <a:pt x="14963" y="5446"/>
                </a:lnTo>
                <a:lnTo>
                  <a:pt x="14030" y="3313"/>
                </a:lnTo>
                <a:lnTo>
                  <a:pt x="13976" y="2082"/>
                </a:lnTo>
                <a:lnTo>
                  <a:pt x="13500" y="1100"/>
                </a:lnTo>
                <a:lnTo>
                  <a:pt x="1483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02" name="îś1íḍe">
            <a:extLst>
              <a:ext uri="{FF2B5EF4-FFF2-40B4-BE49-F238E27FC236}">
                <a16:creationId xmlns:a16="http://schemas.microsoft.com/office/drawing/2014/main" id="{688D2AAF-9E6D-418F-9D77-C68AAF5B47FC}"/>
              </a:ext>
            </a:extLst>
          </p:cNvPr>
          <p:cNvSpPr/>
          <p:nvPr/>
        </p:nvSpPr>
        <p:spPr>
          <a:xfrm>
            <a:off x="9423128" y="2900251"/>
            <a:ext cx="43093" cy="385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130" y="2820"/>
                </a:moveTo>
                <a:lnTo>
                  <a:pt x="3175" y="0"/>
                </a:lnTo>
                <a:lnTo>
                  <a:pt x="0" y="4621"/>
                </a:lnTo>
                <a:lnTo>
                  <a:pt x="4230" y="10217"/>
                </a:lnTo>
                <a:lnTo>
                  <a:pt x="4401" y="19722"/>
                </a:lnTo>
                <a:lnTo>
                  <a:pt x="14203" y="21600"/>
                </a:lnTo>
                <a:lnTo>
                  <a:pt x="18813" y="14767"/>
                </a:lnTo>
                <a:lnTo>
                  <a:pt x="21600" y="929"/>
                </a:lnTo>
                <a:lnTo>
                  <a:pt x="15130" y="282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3" name="íšļïḓè">
            <a:extLst>
              <a:ext uri="{FF2B5EF4-FFF2-40B4-BE49-F238E27FC236}">
                <a16:creationId xmlns:a16="http://schemas.microsoft.com/office/drawing/2014/main" id="{E94A571D-1AF7-436D-93A0-39F83D398788}"/>
              </a:ext>
            </a:extLst>
          </p:cNvPr>
          <p:cNvSpPr/>
          <p:nvPr/>
        </p:nvSpPr>
        <p:spPr>
          <a:xfrm>
            <a:off x="9359466" y="2908058"/>
            <a:ext cx="53058" cy="75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179" y="0"/>
                </a:moveTo>
                <a:lnTo>
                  <a:pt x="10237" y="2528"/>
                </a:lnTo>
                <a:lnTo>
                  <a:pt x="16136" y="4696"/>
                </a:lnTo>
                <a:lnTo>
                  <a:pt x="19977" y="6514"/>
                </a:lnTo>
                <a:lnTo>
                  <a:pt x="19602" y="11221"/>
                </a:lnTo>
                <a:lnTo>
                  <a:pt x="20976" y="14878"/>
                </a:lnTo>
                <a:lnTo>
                  <a:pt x="21600" y="19246"/>
                </a:lnTo>
                <a:lnTo>
                  <a:pt x="18618" y="21600"/>
                </a:lnTo>
                <a:lnTo>
                  <a:pt x="11299" y="20100"/>
                </a:lnTo>
                <a:lnTo>
                  <a:pt x="11672" y="15196"/>
                </a:lnTo>
                <a:lnTo>
                  <a:pt x="4821" y="10992"/>
                </a:lnTo>
                <a:lnTo>
                  <a:pt x="1366" y="8562"/>
                </a:lnTo>
                <a:lnTo>
                  <a:pt x="0" y="4533"/>
                </a:lnTo>
                <a:lnTo>
                  <a:pt x="517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4" name="isḻïḓe">
            <a:extLst>
              <a:ext uri="{FF2B5EF4-FFF2-40B4-BE49-F238E27FC236}">
                <a16:creationId xmlns:a16="http://schemas.microsoft.com/office/drawing/2014/main" id="{6DE82246-29F9-4542-8537-A7DACBA9CA74}"/>
              </a:ext>
            </a:extLst>
          </p:cNvPr>
          <p:cNvSpPr/>
          <p:nvPr/>
        </p:nvSpPr>
        <p:spPr>
          <a:xfrm>
            <a:off x="9155836" y="3183422"/>
            <a:ext cx="50482" cy="972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70" h="21600" extrusionOk="0">
                <a:moveTo>
                  <a:pt x="10688" y="0"/>
                </a:moveTo>
                <a:lnTo>
                  <a:pt x="7165" y="3027"/>
                </a:lnTo>
                <a:lnTo>
                  <a:pt x="5618" y="8797"/>
                </a:lnTo>
                <a:lnTo>
                  <a:pt x="0" y="12556"/>
                </a:lnTo>
                <a:lnTo>
                  <a:pt x="2313" y="15996"/>
                </a:lnTo>
                <a:lnTo>
                  <a:pt x="6119" y="18152"/>
                </a:lnTo>
                <a:lnTo>
                  <a:pt x="12017" y="21600"/>
                </a:lnTo>
                <a:lnTo>
                  <a:pt x="18421" y="20856"/>
                </a:lnTo>
                <a:lnTo>
                  <a:pt x="19994" y="15920"/>
                </a:lnTo>
                <a:lnTo>
                  <a:pt x="19601" y="12480"/>
                </a:lnTo>
                <a:cubicBezTo>
                  <a:pt x="20082" y="11316"/>
                  <a:pt x="20475" y="10143"/>
                  <a:pt x="20780" y="8963"/>
                </a:cubicBezTo>
                <a:cubicBezTo>
                  <a:pt x="21337" y="6812"/>
                  <a:pt x="21600" y="4643"/>
                  <a:pt x="21567" y="2472"/>
                </a:cubicBezTo>
                <a:lnTo>
                  <a:pt x="1068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5" name="îsļîḓé">
            <a:extLst>
              <a:ext uri="{FF2B5EF4-FFF2-40B4-BE49-F238E27FC236}">
                <a16:creationId xmlns:a16="http://schemas.microsoft.com/office/drawing/2014/main" id="{71AF3824-589E-431F-B417-67B3F0527A88}"/>
              </a:ext>
            </a:extLst>
          </p:cNvPr>
          <p:cNvSpPr/>
          <p:nvPr/>
        </p:nvSpPr>
        <p:spPr>
          <a:xfrm>
            <a:off x="8845423" y="3361294"/>
            <a:ext cx="55378" cy="580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37" y="806"/>
                </a:moveTo>
                <a:lnTo>
                  <a:pt x="13014" y="0"/>
                </a:lnTo>
                <a:lnTo>
                  <a:pt x="4311" y="2387"/>
                </a:lnTo>
                <a:lnTo>
                  <a:pt x="1595" y="5661"/>
                </a:lnTo>
                <a:lnTo>
                  <a:pt x="0" y="10054"/>
                </a:lnTo>
                <a:lnTo>
                  <a:pt x="1800" y="15494"/>
                </a:lnTo>
                <a:lnTo>
                  <a:pt x="5016" y="21600"/>
                </a:lnTo>
                <a:lnTo>
                  <a:pt x="11327" y="20806"/>
                </a:lnTo>
                <a:lnTo>
                  <a:pt x="13480" y="14360"/>
                </a:lnTo>
                <a:lnTo>
                  <a:pt x="21600" y="6554"/>
                </a:lnTo>
                <a:lnTo>
                  <a:pt x="20237" y="80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6" name="iṡļíḓê">
            <a:extLst>
              <a:ext uri="{FF2B5EF4-FFF2-40B4-BE49-F238E27FC236}">
                <a16:creationId xmlns:a16="http://schemas.microsoft.com/office/drawing/2014/main" id="{6A42BB70-863D-4876-8668-23D99333068E}"/>
              </a:ext>
            </a:extLst>
          </p:cNvPr>
          <p:cNvSpPr/>
          <p:nvPr/>
        </p:nvSpPr>
        <p:spPr>
          <a:xfrm>
            <a:off x="9190965" y="3401190"/>
            <a:ext cx="143716" cy="188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05" y="214"/>
                </a:moveTo>
                <a:lnTo>
                  <a:pt x="2995" y="0"/>
                </a:lnTo>
                <a:lnTo>
                  <a:pt x="2584" y="2552"/>
                </a:lnTo>
                <a:lnTo>
                  <a:pt x="3044" y="4581"/>
                </a:lnTo>
                <a:lnTo>
                  <a:pt x="2030" y="7340"/>
                </a:lnTo>
                <a:lnTo>
                  <a:pt x="0" y="9509"/>
                </a:lnTo>
                <a:cubicBezTo>
                  <a:pt x="160" y="10395"/>
                  <a:pt x="581" y="11243"/>
                  <a:pt x="1232" y="11988"/>
                </a:cubicBezTo>
                <a:cubicBezTo>
                  <a:pt x="2023" y="12895"/>
                  <a:pt x="3124" y="13621"/>
                  <a:pt x="4418" y="14087"/>
                </a:cubicBezTo>
                <a:lnTo>
                  <a:pt x="5236" y="15133"/>
                </a:lnTo>
                <a:lnTo>
                  <a:pt x="7310" y="17966"/>
                </a:lnTo>
                <a:lnTo>
                  <a:pt x="8555" y="18981"/>
                </a:lnTo>
                <a:lnTo>
                  <a:pt x="11367" y="20065"/>
                </a:lnTo>
                <a:lnTo>
                  <a:pt x="14409" y="20170"/>
                </a:lnTo>
                <a:lnTo>
                  <a:pt x="16201" y="20275"/>
                </a:lnTo>
                <a:lnTo>
                  <a:pt x="18690" y="21010"/>
                </a:lnTo>
                <a:lnTo>
                  <a:pt x="21410" y="21600"/>
                </a:lnTo>
                <a:lnTo>
                  <a:pt x="21600" y="19654"/>
                </a:lnTo>
                <a:lnTo>
                  <a:pt x="20730" y="18749"/>
                </a:lnTo>
                <a:lnTo>
                  <a:pt x="19543" y="17743"/>
                </a:lnTo>
                <a:lnTo>
                  <a:pt x="15953" y="18233"/>
                </a:lnTo>
                <a:cubicBezTo>
                  <a:pt x="15448" y="18445"/>
                  <a:pt x="14862" y="18519"/>
                  <a:pt x="14294" y="18443"/>
                </a:cubicBezTo>
                <a:cubicBezTo>
                  <a:pt x="13070" y="18278"/>
                  <a:pt x="12157" y="17495"/>
                  <a:pt x="12093" y="16553"/>
                </a:cubicBezTo>
                <a:lnTo>
                  <a:pt x="9471" y="15298"/>
                </a:lnTo>
                <a:lnTo>
                  <a:pt x="8693" y="14218"/>
                </a:lnTo>
                <a:lnTo>
                  <a:pt x="8601" y="12924"/>
                </a:lnTo>
                <a:cubicBezTo>
                  <a:pt x="9108" y="12238"/>
                  <a:pt x="9615" y="11551"/>
                  <a:pt x="10122" y="10864"/>
                </a:cubicBezTo>
                <a:cubicBezTo>
                  <a:pt x="10531" y="10309"/>
                  <a:pt x="10940" y="9754"/>
                  <a:pt x="11349" y="9198"/>
                </a:cubicBezTo>
                <a:lnTo>
                  <a:pt x="11759" y="7593"/>
                </a:lnTo>
                <a:lnTo>
                  <a:pt x="9915" y="5459"/>
                </a:lnTo>
                <a:lnTo>
                  <a:pt x="8117" y="3260"/>
                </a:lnTo>
                <a:lnTo>
                  <a:pt x="6205" y="214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07" name="ïṩľïdê">
            <a:extLst>
              <a:ext uri="{FF2B5EF4-FFF2-40B4-BE49-F238E27FC236}">
                <a16:creationId xmlns:a16="http://schemas.microsoft.com/office/drawing/2014/main" id="{613276A2-609B-4C05-8E86-63F6FA7483CF}"/>
              </a:ext>
            </a:extLst>
          </p:cNvPr>
          <p:cNvSpPr/>
          <p:nvPr/>
        </p:nvSpPr>
        <p:spPr>
          <a:xfrm>
            <a:off x="9133383" y="3656381"/>
            <a:ext cx="80790" cy="877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5" h="19908" extrusionOk="0">
                <a:moveTo>
                  <a:pt x="17580" y="0"/>
                </a:moveTo>
                <a:lnTo>
                  <a:pt x="14738" y="1728"/>
                </a:lnTo>
                <a:lnTo>
                  <a:pt x="10679" y="5098"/>
                </a:lnTo>
                <a:lnTo>
                  <a:pt x="8216" y="7569"/>
                </a:lnTo>
                <a:lnTo>
                  <a:pt x="8222" y="12060"/>
                </a:lnTo>
                <a:lnTo>
                  <a:pt x="5046" y="14125"/>
                </a:lnTo>
                <a:cubicBezTo>
                  <a:pt x="3326" y="12967"/>
                  <a:pt x="832" y="13677"/>
                  <a:pt x="191" y="15507"/>
                </a:cubicBezTo>
                <a:cubicBezTo>
                  <a:pt x="-1095" y="19179"/>
                  <a:pt x="4427" y="21600"/>
                  <a:pt x="6929" y="18462"/>
                </a:cubicBezTo>
                <a:lnTo>
                  <a:pt x="10638" y="16258"/>
                </a:lnTo>
                <a:lnTo>
                  <a:pt x="12739" y="13426"/>
                </a:lnTo>
                <a:lnTo>
                  <a:pt x="14530" y="11490"/>
                </a:lnTo>
                <a:lnTo>
                  <a:pt x="18733" y="6592"/>
                </a:lnTo>
                <a:lnTo>
                  <a:pt x="20505" y="1980"/>
                </a:lnTo>
                <a:lnTo>
                  <a:pt x="1758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8" name="işḷïḑè">
            <a:extLst>
              <a:ext uri="{FF2B5EF4-FFF2-40B4-BE49-F238E27FC236}">
                <a16:creationId xmlns:a16="http://schemas.microsoft.com/office/drawing/2014/main" id="{4E26E3C6-73E5-4F2F-8355-FB655F912F4C}"/>
              </a:ext>
            </a:extLst>
          </p:cNvPr>
          <p:cNvSpPr/>
          <p:nvPr/>
        </p:nvSpPr>
        <p:spPr>
          <a:xfrm>
            <a:off x="9224113" y="3582673"/>
            <a:ext cx="37965" cy="376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24" y="0"/>
                </a:moveTo>
                <a:lnTo>
                  <a:pt x="0" y="3997"/>
                </a:lnTo>
                <a:lnTo>
                  <a:pt x="7260" y="15507"/>
                </a:lnTo>
                <a:lnTo>
                  <a:pt x="11327" y="21600"/>
                </a:lnTo>
                <a:lnTo>
                  <a:pt x="21600" y="21076"/>
                </a:lnTo>
                <a:lnTo>
                  <a:pt x="15668" y="7101"/>
                </a:lnTo>
                <a:lnTo>
                  <a:pt x="582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9" name="íṩḷïḋe">
            <a:extLst>
              <a:ext uri="{FF2B5EF4-FFF2-40B4-BE49-F238E27FC236}">
                <a16:creationId xmlns:a16="http://schemas.microsoft.com/office/drawing/2014/main" id="{0F3E55E9-599D-458F-A9FA-DAD4419BAD9A}"/>
              </a:ext>
            </a:extLst>
          </p:cNvPr>
          <p:cNvSpPr/>
          <p:nvPr/>
        </p:nvSpPr>
        <p:spPr>
          <a:xfrm>
            <a:off x="9347327" y="3611119"/>
            <a:ext cx="63838" cy="443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2" y="90"/>
                </a:moveTo>
                <a:lnTo>
                  <a:pt x="0" y="1424"/>
                </a:lnTo>
                <a:lnTo>
                  <a:pt x="3236" y="8466"/>
                </a:lnTo>
                <a:lnTo>
                  <a:pt x="8121" y="17785"/>
                </a:lnTo>
                <a:lnTo>
                  <a:pt x="13518" y="21155"/>
                </a:lnTo>
                <a:lnTo>
                  <a:pt x="21600" y="21600"/>
                </a:lnTo>
                <a:lnTo>
                  <a:pt x="17669" y="11727"/>
                </a:lnTo>
                <a:lnTo>
                  <a:pt x="14063" y="7299"/>
                </a:lnTo>
                <a:lnTo>
                  <a:pt x="10768" y="6411"/>
                </a:lnTo>
                <a:lnTo>
                  <a:pt x="7589" y="0"/>
                </a:lnTo>
                <a:lnTo>
                  <a:pt x="3112" y="9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0" name="ï$ļîḓê">
            <a:extLst>
              <a:ext uri="{FF2B5EF4-FFF2-40B4-BE49-F238E27FC236}">
                <a16:creationId xmlns:a16="http://schemas.microsoft.com/office/drawing/2014/main" id="{B63435B8-66A8-4765-B47B-EEC36802A16A}"/>
              </a:ext>
            </a:extLst>
          </p:cNvPr>
          <p:cNvSpPr/>
          <p:nvPr/>
        </p:nvSpPr>
        <p:spPr>
          <a:xfrm>
            <a:off x="9307530" y="3547711"/>
            <a:ext cx="17610" cy="229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4" y="4234"/>
                </a:moveTo>
                <a:lnTo>
                  <a:pt x="5083" y="0"/>
                </a:lnTo>
                <a:lnTo>
                  <a:pt x="0" y="11342"/>
                </a:lnTo>
                <a:lnTo>
                  <a:pt x="21600" y="21600"/>
                </a:lnTo>
                <a:lnTo>
                  <a:pt x="20404" y="4234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1" name="íṧľíḋe">
            <a:extLst>
              <a:ext uri="{FF2B5EF4-FFF2-40B4-BE49-F238E27FC236}">
                <a16:creationId xmlns:a16="http://schemas.microsoft.com/office/drawing/2014/main" id="{DE1869AC-D0C5-4EDA-8C9A-E79E31610A44}"/>
              </a:ext>
            </a:extLst>
          </p:cNvPr>
          <p:cNvSpPr/>
          <p:nvPr/>
        </p:nvSpPr>
        <p:spPr>
          <a:xfrm>
            <a:off x="9261195" y="3628282"/>
            <a:ext cx="43143" cy="443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99" y="3302"/>
                </a:moveTo>
                <a:cubicBezTo>
                  <a:pt x="9224" y="3989"/>
                  <a:pt x="8549" y="4676"/>
                  <a:pt x="7875" y="5363"/>
                </a:cubicBezTo>
                <a:cubicBezTo>
                  <a:pt x="7200" y="6049"/>
                  <a:pt x="6525" y="6736"/>
                  <a:pt x="5850" y="7423"/>
                </a:cubicBezTo>
                <a:lnTo>
                  <a:pt x="0" y="13749"/>
                </a:lnTo>
                <a:lnTo>
                  <a:pt x="5955" y="20264"/>
                </a:lnTo>
                <a:lnTo>
                  <a:pt x="13153" y="21600"/>
                </a:lnTo>
                <a:lnTo>
                  <a:pt x="16685" y="18073"/>
                </a:lnTo>
                <a:lnTo>
                  <a:pt x="16244" y="11856"/>
                </a:lnTo>
                <a:lnTo>
                  <a:pt x="21600" y="2243"/>
                </a:lnTo>
                <a:lnTo>
                  <a:pt x="15783" y="0"/>
                </a:lnTo>
                <a:lnTo>
                  <a:pt x="9899" y="330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2" name="íş1îḋè">
            <a:extLst>
              <a:ext uri="{FF2B5EF4-FFF2-40B4-BE49-F238E27FC236}">
                <a16:creationId xmlns:a16="http://schemas.microsoft.com/office/drawing/2014/main" id="{56592121-A892-4E47-AD25-25A1CE7BBE70}"/>
              </a:ext>
            </a:extLst>
          </p:cNvPr>
          <p:cNvSpPr/>
          <p:nvPr/>
        </p:nvSpPr>
        <p:spPr>
          <a:xfrm>
            <a:off x="9295120" y="3675334"/>
            <a:ext cx="33728" cy="496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580" y="0"/>
                </a:moveTo>
                <a:lnTo>
                  <a:pt x="5492" y="4637"/>
                </a:lnTo>
                <a:lnTo>
                  <a:pt x="0" y="9562"/>
                </a:lnTo>
                <a:lnTo>
                  <a:pt x="532" y="14978"/>
                </a:lnTo>
                <a:lnTo>
                  <a:pt x="5198" y="17362"/>
                </a:lnTo>
                <a:lnTo>
                  <a:pt x="8142" y="21600"/>
                </a:lnTo>
                <a:lnTo>
                  <a:pt x="17499" y="19994"/>
                </a:lnTo>
                <a:lnTo>
                  <a:pt x="17499" y="13520"/>
                </a:lnTo>
                <a:lnTo>
                  <a:pt x="21600" y="9579"/>
                </a:lnTo>
                <a:lnTo>
                  <a:pt x="19856" y="4413"/>
                </a:lnTo>
                <a:lnTo>
                  <a:pt x="14429" y="2161"/>
                </a:lnTo>
                <a:lnTo>
                  <a:pt x="758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3" name="ïs1iḓê">
            <a:extLst>
              <a:ext uri="{FF2B5EF4-FFF2-40B4-BE49-F238E27FC236}">
                <a16:creationId xmlns:a16="http://schemas.microsoft.com/office/drawing/2014/main" id="{869FBF0B-B8B1-4BEE-B83F-D236F758F0C5}"/>
              </a:ext>
            </a:extLst>
          </p:cNvPr>
          <p:cNvSpPr/>
          <p:nvPr/>
        </p:nvSpPr>
        <p:spPr>
          <a:xfrm>
            <a:off x="9339693" y="3649295"/>
            <a:ext cx="27085" cy="461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74" y="2282"/>
                </a:moveTo>
                <a:lnTo>
                  <a:pt x="2301" y="0"/>
                </a:lnTo>
                <a:lnTo>
                  <a:pt x="0" y="4114"/>
                </a:lnTo>
                <a:lnTo>
                  <a:pt x="8942" y="8249"/>
                </a:lnTo>
                <a:lnTo>
                  <a:pt x="10410" y="16662"/>
                </a:lnTo>
                <a:lnTo>
                  <a:pt x="13285" y="21600"/>
                </a:lnTo>
                <a:lnTo>
                  <a:pt x="21600" y="19354"/>
                </a:lnTo>
                <a:lnTo>
                  <a:pt x="20132" y="10993"/>
                </a:lnTo>
                <a:lnTo>
                  <a:pt x="10374" y="228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4" name="íṣļíḍè">
            <a:extLst>
              <a:ext uri="{FF2B5EF4-FFF2-40B4-BE49-F238E27FC236}">
                <a16:creationId xmlns:a16="http://schemas.microsoft.com/office/drawing/2014/main" id="{5FE11FEF-1753-4BC5-8133-FD7A509C8EF2}"/>
              </a:ext>
            </a:extLst>
          </p:cNvPr>
          <p:cNvSpPr/>
          <p:nvPr/>
        </p:nvSpPr>
        <p:spPr>
          <a:xfrm>
            <a:off x="9291674" y="3693157"/>
            <a:ext cx="147162" cy="1436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46" h="21600" extrusionOk="0">
                <a:moveTo>
                  <a:pt x="15618" y="0"/>
                </a:moveTo>
                <a:lnTo>
                  <a:pt x="14068" y="137"/>
                </a:lnTo>
                <a:lnTo>
                  <a:pt x="13901" y="3471"/>
                </a:lnTo>
                <a:lnTo>
                  <a:pt x="11653" y="5499"/>
                </a:lnTo>
                <a:lnTo>
                  <a:pt x="9433" y="7154"/>
                </a:lnTo>
                <a:lnTo>
                  <a:pt x="8019" y="8935"/>
                </a:lnTo>
                <a:lnTo>
                  <a:pt x="6129" y="8803"/>
                </a:lnTo>
                <a:lnTo>
                  <a:pt x="4020" y="7291"/>
                </a:lnTo>
                <a:lnTo>
                  <a:pt x="1658" y="8253"/>
                </a:lnTo>
                <a:lnTo>
                  <a:pt x="1029" y="10864"/>
                </a:lnTo>
                <a:lnTo>
                  <a:pt x="0" y="12771"/>
                </a:lnTo>
                <a:lnTo>
                  <a:pt x="3621" y="12908"/>
                </a:lnTo>
                <a:lnTo>
                  <a:pt x="5425" y="10801"/>
                </a:lnTo>
                <a:lnTo>
                  <a:pt x="6970" y="11345"/>
                </a:lnTo>
                <a:lnTo>
                  <a:pt x="8696" y="13544"/>
                </a:lnTo>
                <a:lnTo>
                  <a:pt x="8696" y="16286"/>
                </a:lnTo>
                <a:lnTo>
                  <a:pt x="10584" y="19825"/>
                </a:lnTo>
                <a:lnTo>
                  <a:pt x="11691" y="21600"/>
                </a:lnTo>
                <a:lnTo>
                  <a:pt x="13329" y="20592"/>
                </a:lnTo>
                <a:lnTo>
                  <a:pt x="14785" y="19539"/>
                </a:lnTo>
                <a:lnTo>
                  <a:pt x="16955" y="20226"/>
                </a:lnTo>
                <a:lnTo>
                  <a:pt x="17088" y="18955"/>
                </a:lnTo>
                <a:lnTo>
                  <a:pt x="14658" y="17037"/>
                </a:lnTo>
                <a:lnTo>
                  <a:pt x="14525" y="14747"/>
                </a:lnTo>
                <a:lnTo>
                  <a:pt x="15986" y="13831"/>
                </a:lnTo>
                <a:lnTo>
                  <a:pt x="18372" y="14380"/>
                </a:lnTo>
                <a:lnTo>
                  <a:pt x="18632" y="17071"/>
                </a:lnTo>
                <a:cubicBezTo>
                  <a:pt x="19138" y="17458"/>
                  <a:pt x="19818" y="17494"/>
                  <a:pt x="20359" y="17163"/>
                </a:cubicBezTo>
                <a:cubicBezTo>
                  <a:pt x="21600" y="16403"/>
                  <a:pt x="21524" y="14520"/>
                  <a:pt x="20226" y="13871"/>
                </a:cubicBezTo>
                <a:cubicBezTo>
                  <a:pt x="19707" y="12622"/>
                  <a:pt x="19161" y="11385"/>
                  <a:pt x="18588" y="10161"/>
                </a:cubicBezTo>
                <a:cubicBezTo>
                  <a:pt x="18105" y="9128"/>
                  <a:pt x="17603" y="8105"/>
                  <a:pt x="17082" y="7092"/>
                </a:cubicBezTo>
                <a:lnTo>
                  <a:pt x="16551" y="3382"/>
                </a:lnTo>
                <a:lnTo>
                  <a:pt x="1561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5" name="i$1îḍé">
            <a:extLst>
              <a:ext uri="{FF2B5EF4-FFF2-40B4-BE49-F238E27FC236}">
                <a16:creationId xmlns:a16="http://schemas.microsoft.com/office/drawing/2014/main" id="{04A4CAB9-B7F1-46A3-9C10-A8C224A15052}"/>
              </a:ext>
            </a:extLst>
          </p:cNvPr>
          <p:cNvSpPr/>
          <p:nvPr/>
        </p:nvSpPr>
        <p:spPr>
          <a:xfrm>
            <a:off x="8892885" y="3798705"/>
            <a:ext cx="298311" cy="3448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93" y="182"/>
                </a:moveTo>
                <a:lnTo>
                  <a:pt x="19070" y="0"/>
                </a:lnTo>
                <a:lnTo>
                  <a:pt x="20340" y="1335"/>
                </a:lnTo>
                <a:lnTo>
                  <a:pt x="21003" y="2362"/>
                </a:lnTo>
                <a:lnTo>
                  <a:pt x="21600" y="2990"/>
                </a:lnTo>
                <a:lnTo>
                  <a:pt x="21001" y="3848"/>
                </a:lnTo>
                <a:lnTo>
                  <a:pt x="20512" y="4459"/>
                </a:lnTo>
                <a:lnTo>
                  <a:pt x="19915" y="5222"/>
                </a:lnTo>
                <a:lnTo>
                  <a:pt x="19382" y="6290"/>
                </a:lnTo>
                <a:lnTo>
                  <a:pt x="19382" y="7432"/>
                </a:lnTo>
                <a:lnTo>
                  <a:pt x="19626" y="8233"/>
                </a:lnTo>
                <a:lnTo>
                  <a:pt x="20490" y="9318"/>
                </a:lnTo>
                <a:lnTo>
                  <a:pt x="21464" y="10423"/>
                </a:lnTo>
                <a:lnTo>
                  <a:pt x="21531" y="12044"/>
                </a:lnTo>
                <a:lnTo>
                  <a:pt x="19671" y="12598"/>
                </a:lnTo>
                <a:lnTo>
                  <a:pt x="19271" y="13509"/>
                </a:lnTo>
                <a:lnTo>
                  <a:pt x="19427" y="14768"/>
                </a:lnTo>
                <a:lnTo>
                  <a:pt x="18783" y="15910"/>
                </a:lnTo>
                <a:lnTo>
                  <a:pt x="18030" y="16900"/>
                </a:lnTo>
                <a:lnTo>
                  <a:pt x="16831" y="17925"/>
                </a:lnTo>
                <a:lnTo>
                  <a:pt x="16378" y="19125"/>
                </a:lnTo>
                <a:lnTo>
                  <a:pt x="15584" y="20935"/>
                </a:lnTo>
                <a:lnTo>
                  <a:pt x="14482" y="21600"/>
                </a:lnTo>
                <a:lnTo>
                  <a:pt x="13585" y="21028"/>
                </a:lnTo>
                <a:lnTo>
                  <a:pt x="12212" y="20589"/>
                </a:lnTo>
                <a:lnTo>
                  <a:pt x="11498" y="20436"/>
                </a:lnTo>
                <a:lnTo>
                  <a:pt x="10252" y="20665"/>
                </a:lnTo>
                <a:lnTo>
                  <a:pt x="9540" y="20665"/>
                </a:lnTo>
                <a:lnTo>
                  <a:pt x="7603" y="20436"/>
                </a:lnTo>
                <a:lnTo>
                  <a:pt x="6274" y="20172"/>
                </a:lnTo>
                <a:lnTo>
                  <a:pt x="4280" y="19885"/>
                </a:lnTo>
                <a:lnTo>
                  <a:pt x="3374" y="19375"/>
                </a:lnTo>
                <a:lnTo>
                  <a:pt x="2783" y="17734"/>
                </a:lnTo>
                <a:lnTo>
                  <a:pt x="1530" y="16227"/>
                </a:lnTo>
                <a:cubicBezTo>
                  <a:pt x="1300" y="15735"/>
                  <a:pt x="1078" y="15241"/>
                  <a:pt x="863" y="14744"/>
                </a:cubicBezTo>
                <a:cubicBezTo>
                  <a:pt x="560" y="14044"/>
                  <a:pt x="273" y="13340"/>
                  <a:pt x="0" y="12631"/>
                </a:cubicBezTo>
                <a:lnTo>
                  <a:pt x="197" y="11603"/>
                </a:lnTo>
                <a:lnTo>
                  <a:pt x="1259" y="10406"/>
                </a:lnTo>
                <a:lnTo>
                  <a:pt x="2436" y="9948"/>
                </a:lnTo>
                <a:lnTo>
                  <a:pt x="2902" y="10864"/>
                </a:lnTo>
                <a:lnTo>
                  <a:pt x="3946" y="11529"/>
                </a:lnTo>
                <a:lnTo>
                  <a:pt x="4323" y="10976"/>
                </a:lnTo>
                <a:lnTo>
                  <a:pt x="4723" y="9946"/>
                </a:lnTo>
                <a:lnTo>
                  <a:pt x="5431" y="9223"/>
                </a:lnTo>
                <a:lnTo>
                  <a:pt x="6230" y="8765"/>
                </a:lnTo>
                <a:lnTo>
                  <a:pt x="7338" y="8307"/>
                </a:lnTo>
                <a:lnTo>
                  <a:pt x="8604" y="7735"/>
                </a:lnTo>
                <a:lnTo>
                  <a:pt x="9378" y="7184"/>
                </a:lnTo>
                <a:lnTo>
                  <a:pt x="10242" y="5586"/>
                </a:lnTo>
                <a:lnTo>
                  <a:pt x="10927" y="5033"/>
                </a:lnTo>
                <a:lnTo>
                  <a:pt x="11838" y="4480"/>
                </a:lnTo>
                <a:lnTo>
                  <a:pt x="12570" y="4251"/>
                </a:lnTo>
                <a:lnTo>
                  <a:pt x="13392" y="4041"/>
                </a:lnTo>
                <a:lnTo>
                  <a:pt x="14386" y="3302"/>
                </a:lnTo>
                <a:lnTo>
                  <a:pt x="15319" y="2405"/>
                </a:lnTo>
                <a:lnTo>
                  <a:pt x="16229" y="1451"/>
                </a:lnTo>
                <a:lnTo>
                  <a:pt x="17693" y="182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lnSpcReduction="10000"/>
          </a:bodyPr>
          <a:lstStyle/>
          <a:p>
            <a:pPr algn="ctr"/>
            <a:endParaRPr/>
          </a:p>
        </p:txBody>
      </p:sp>
      <p:sp>
        <p:nvSpPr>
          <p:cNvPr id="180" name="í$ḷíḍè">
            <a:extLst>
              <a:ext uri="{FF2B5EF4-FFF2-40B4-BE49-F238E27FC236}">
                <a16:creationId xmlns:a16="http://schemas.microsoft.com/office/drawing/2014/main" id="{5E045923-70EE-401F-B874-0CBECA74BEFA}"/>
              </a:ext>
            </a:extLst>
          </p:cNvPr>
          <p:cNvSpPr/>
          <p:nvPr/>
        </p:nvSpPr>
        <p:spPr>
          <a:xfrm>
            <a:off x="9172897" y="3989181"/>
            <a:ext cx="239194" cy="190469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17" name="íṧḷîḍé">
            <a:extLst>
              <a:ext uri="{FF2B5EF4-FFF2-40B4-BE49-F238E27FC236}">
                <a16:creationId xmlns:a16="http://schemas.microsoft.com/office/drawing/2014/main" id="{BB0F19F6-9A39-40C1-8DA6-0166C379F39E}"/>
              </a:ext>
            </a:extLst>
          </p:cNvPr>
          <p:cNvSpPr/>
          <p:nvPr/>
        </p:nvSpPr>
        <p:spPr>
          <a:xfrm>
            <a:off x="9461533" y="3934965"/>
            <a:ext cx="37091" cy="938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55" y="0"/>
                </a:moveTo>
                <a:lnTo>
                  <a:pt x="9754" y="981"/>
                </a:lnTo>
                <a:lnTo>
                  <a:pt x="6086" y="3566"/>
                </a:lnTo>
                <a:lnTo>
                  <a:pt x="1417" y="5861"/>
                </a:lnTo>
                <a:lnTo>
                  <a:pt x="4076" y="9434"/>
                </a:lnTo>
                <a:lnTo>
                  <a:pt x="6254" y="12097"/>
                </a:lnTo>
                <a:lnTo>
                  <a:pt x="3575" y="14050"/>
                </a:lnTo>
                <a:lnTo>
                  <a:pt x="383" y="15872"/>
                </a:lnTo>
                <a:lnTo>
                  <a:pt x="0" y="19016"/>
                </a:lnTo>
                <a:lnTo>
                  <a:pt x="9298" y="21600"/>
                </a:lnTo>
                <a:lnTo>
                  <a:pt x="16777" y="20549"/>
                </a:lnTo>
                <a:lnTo>
                  <a:pt x="17849" y="16774"/>
                </a:lnTo>
                <a:lnTo>
                  <a:pt x="17849" y="12999"/>
                </a:lnTo>
                <a:lnTo>
                  <a:pt x="14300" y="9426"/>
                </a:lnTo>
                <a:lnTo>
                  <a:pt x="11643" y="6290"/>
                </a:lnTo>
                <a:lnTo>
                  <a:pt x="13250" y="4118"/>
                </a:lnTo>
                <a:lnTo>
                  <a:pt x="21600" y="2454"/>
                </a:lnTo>
                <a:lnTo>
                  <a:pt x="17255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1" name="íṧlíďe">
            <a:extLst>
              <a:ext uri="{FF2B5EF4-FFF2-40B4-BE49-F238E27FC236}">
                <a16:creationId xmlns:a16="http://schemas.microsoft.com/office/drawing/2014/main" id="{C8CD6823-B7BE-4C19-A085-C159095C04DE}"/>
              </a:ext>
            </a:extLst>
          </p:cNvPr>
          <p:cNvSpPr/>
          <p:nvPr/>
        </p:nvSpPr>
        <p:spPr>
          <a:xfrm>
            <a:off x="9477895" y="4094465"/>
            <a:ext cx="74704" cy="5948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2" name="ïšľîde">
            <a:extLst>
              <a:ext uri="{FF2B5EF4-FFF2-40B4-BE49-F238E27FC236}">
                <a16:creationId xmlns:a16="http://schemas.microsoft.com/office/drawing/2014/main" id="{53E21E8B-3FBE-42F5-B2AA-9B88041D8155}"/>
              </a:ext>
            </a:extLst>
          </p:cNvPr>
          <p:cNvSpPr/>
          <p:nvPr/>
        </p:nvSpPr>
        <p:spPr>
          <a:xfrm>
            <a:off x="9323964" y="4279623"/>
            <a:ext cx="120790" cy="96184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3" name="í$ľiḍe">
            <a:extLst>
              <a:ext uri="{FF2B5EF4-FFF2-40B4-BE49-F238E27FC236}">
                <a16:creationId xmlns:a16="http://schemas.microsoft.com/office/drawing/2014/main" id="{857E4AC2-6A88-4F8F-A89D-78A8CE07B2C4}"/>
              </a:ext>
            </a:extLst>
          </p:cNvPr>
          <p:cNvSpPr/>
          <p:nvPr/>
        </p:nvSpPr>
        <p:spPr>
          <a:xfrm>
            <a:off x="9227175" y="4270550"/>
            <a:ext cx="81812" cy="6514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4" name="ïšļîḋe">
            <a:extLst>
              <a:ext uri="{FF2B5EF4-FFF2-40B4-BE49-F238E27FC236}">
                <a16:creationId xmlns:a16="http://schemas.microsoft.com/office/drawing/2014/main" id="{CD23C000-86C4-4B7E-AC59-0D6882C8BA6F}"/>
              </a:ext>
            </a:extLst>
          </p:cNvPr>
          <p:cNvSpPr/>
          <p:nvPr/>
        </p:nvSpPr>
        <p:spPr>
          <a:xfrm>
            <a:off x="9111564" y="4280652"/>
            <a:ext cx="67139" cy="5346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5" name="îṩļïḓe">
            <a:extLst>
              <a:ext uri="{FF2B5EF4-FFF2-40B4-BE49-F238E27FC236}">
                <a16:creationId xmlns:a16="http://schemas.microsoft.com/office/drawing/2014/main" id="{7F39289E-7943-4447-B9C6-1777F08A415E}"/>
              </a:ext>
            </a:extLst>
          </p:cNvPr>
          <p:cNvSpPr/>
          <p:nvPr/>
        </p:nvSpPr>
        <p:spPr>
          <a:xfrm>
            <a:off x="9193508" y="4322073"/>
            <a:ext cx="49840" cy="39687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6" name="iŝ1ïdé">
            <a:extLst>
              <a:ext uri="{FF2B5EF4-FFF2-40B4-BE49-F238E27FC236}">
                <a16:creationId xmlns:a16="http://schemas.microsoft.com/office/drawing/2014/main" id="{A2BB5A96-8295-4256-9387-67B786202305}"/>
              </a:ext>
            </a:extLst>
          </p:cNvPr>
          <p:cNvSpPr/>
          <p:nvPr/>
        </p:nvSpPr>
        <p:spPr>
          <a:xfrm>
            <a:off x="8784313" y="4139797"/>
            <a:ext cx="299735" cy="238677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24" name="iŝliḓé">
            <a:extLst>
              <a:ext uri="{FF2B5EF4-FFF2-40B4-BE49-F238E27FC236}">
                <a16:creationId xmlns:a16="http://schemas.microsoft.com/office/drawing/2014/main" id="{CEB3CC25-1B27-4FCA-BABA-80D8EA1F1E33}"/>
              </a:ext>
            </a:extLst>
          </p:cNvPr>
          <p:cNvSpPr/>
          <p:nvPr/>
        </p:nvSpPr>
        <p:spPr>
          <a:xfrm>
            <a:off x="8487668" y="3833470"/>
            <a:ext cx="319306" cy="3748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84"/>
                </a:moveTo>
                <a:lnTo>
                  <a:pt x="993" y="0"/>
                </a:lnTo>
                <a:lnTo>
                  <a:pt x="1986" y="598"/>
                </a:lnTo>
                <a:lnTo>
                  <a:pt x="2816" y="1157"/>
                </a:lnTo>
                <a:lnTo>
                  <a:pt x="4289" y="1420"/>
                </a:lnTo>
                <a:lnTo>
                  <a:pt x="5451" y="2210"/>
                </a:lnTo>
                <a:lnTo>
                  <a:pt x="5555" y="3015"/>
                </a:lnTo>
                <a:lnTo>
                  <a:pt x="6776" y="3171"/>
                </a:lnTo>
                <a:lnTo>
                  <a:pt x="7274" y="4172"/>
                </a:lnTo>
                <a:lnTo>
                  <a:pt x="7521" y="5067"/>
                </a:lnTo>
                <a:lnTo>
                  <a:pt x="8703" y="5646"/>
                </a:lnTo>
                <a:lnTo>
                  <a:pt x="10010" y="6313"/>
                </a:lnTo>
                <a:lnTo>
                  <a:pt x="11379" y="7204"/>
                </a:lnTo>
                <a:lnTo>
                  <a:pt x="13037" y="8026"/>
                </a:lnTo>
                <a:lnTo>
                  <a:pt x="14033" y="8799"/>
                </a:lnTo>
                <a:lnTo>
                  <a:pt x="14551" y="9185"/>
                </a:lnTo>
                <a:lnTo>
                  <a:pt x="15132" y="9746"/>
                </a:lnTo>
                <a:lnTo>
                  <a:pt x="15630" y="10424"/>
                </a:lnTo>
                <a:lnTo>
                  <a:pt x="15570" y="11405"/>
                </a:lnTo>
                <a:lnTo>
                  <a:pt x="15570" y="12087"/>
                </a:lnTo>
                <a:lnTo>
                  <a:pt x="16649" y="12471"/>
                </a:lnTo>
                <a:lnTo>
                  <a:pt x="17617" y="13079"/>
                </a:lnTo>
                <a:lnTo>
                  <a:pt x="17866" y="14746"/>
                </a:lnTo>
                <a:lnTo>
                  <a:pt x="19276" y="15306"/>
                </a:lnTo>
                <a:lnTo>
                  <a:pt x="20065" y="16197"/>
                </a:lnTo>
                <a:lnTo>
                  <a:pt x="20874" y="16512"/>
                </a:lnTo>
                <a:lnTo>
                  <a:pt x="21247" y="17881"/>
                </a:lnTo>
                <a:lnTo>
                  <a:pt x="21600" y="18880"/>
                </a:lnTo>
                <a:lnTo>
                  <a:pt x="20980" y="20073"/>
                </a:lnTo>
                <a:lnTo>
                  <a:pt x="19738" y="21284"/>
                </a:lnTo>
                <a:lnTo>
                  <a:pt x="18825" y="21600"/>
                </a:lnTo>
                <a:lnTo>
                  <a:pt x="17920" y="20918"/>
                </a:lnTo>
                <a:lnTo>
                  <a:pt x="16761" y="20657"/>
                </a:lnTo>
                <a:lnTo>
                  <a:pt x="16221" y="20130"/>
                </a:lnTo>
                <a:lnTo>
                  <a:pt x="15871" y="19375"/>
                </a:lnTo>
                <a:lnTo>
                  <a:pt x="14730" y="18518"/>
                </a:lnTo>
                <a:lnTo>
                  <a:pt x="12845" y="16958"/>
                </a:lnTo>
                <a:cubicBezTo>
                  <a:pt x="12017" y="16567"/>
                  <a:pt x="11468" y="15860"/>
                  <a:pt x="11372" y="15062"/>
                </a:cubicBezTo>
                <a:cubicBezTo>
                  <a:pt x="11299" y="14464"/>
                  <a:pt x="11495" y="13846"/>
                  <a:pt x="11270" y="13272"/>
                </a:cubicBezTo>
                <a:cubicBezTo>
                  <a:pt x="11040" y="12683"/>
                  <a:pt x="10437" y="12286"/>
                  <a:pt x="9880" y="11886"/>
                </a:cubicBezTo>
                <a:cubicBezTo>
                  <a:pt x="9302" y="11470"/>
                  <a:pt x="8755" y="11024"/>
                  <a:pt x="8241" y="10552"/>
                </a:cubicBezTo>
                <a:lnTo>
                  <a:pt x="7806" y="8674"/>
                </a:lnTo>
                <a:lnTo>
                  <a:pt x="6997" y="7096"/>
                </a:lnTo>
                <a:lnTo>
                  <a:pt x="5321" y="5752"/>
                </a:lnTo>
                <a:lnTo>
                  <a:pt x="3277" y="4023"/>
                </a:lnTo>
                <a:lnTo>
                  <a:pt x="2077" y="3410"/>
                </a:lnTo>
                <a:lnTo>
                  <a:pt x="505" y="1818"/>
                </a:lnTo>
                <a:lnTo>
                  <a:pt x="256" y="1168"/>
                </a:lnTo>
                <a:lnTo>
                  <a:pt x="0" y="184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5" name="iŝ1îdè">
            <a:extLst>
              <a:ext uri="{FF2B5EF4-FFF2-40B4-BE49-F238E27FC236}">
                <a16:creationId xmlns:a16="http://schemas.microsoft.com/office/drawing/2014/main" id="{27B90E6C-EDE6-45A4-A348-5DB44E4237A7}"/>
              </a:ext>
            </a:extLst>
          </p:cNvPr>
          <p:cNvSpPr/>
          <p:nvPr/>
        </p:nvSpPr>
        <p:spPr>
          <a:xfrm>
            <a:off x="7998640" y="3707793"/>
            <a:ext cx="68859" cy="1037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600" y="0"/>
                </a:moveTo>
                <a:lnTo>
                  <a:pt x="8713" y="182"/>
                </a:lnTo>
                <a:lnTo>
                  <a:pt x="10921" y="4429"/>
                </a:lnTo>
                <a:lnTo>
                  <a:pt x="14685" y="8044"/>
                </a:lnTo>
                <a:lnTo>
                  <a:pt x="18425" y="9946"/>
                </a:lnTo>
                <a:lnTo>
                  <a:pt x="21600" y="14767"/>
                </a:lnTo>
                <a:lnTo>
                  <a:pt x="19964" y="17676"/>
                </a:lnTo>
                <a:lnTo>
                  <a:pt x="13230" y="21600"/>
                </a:lnTo>
                <a:lnTo>
                  <a:pt x="5665" y="20649"/>
                </a:lnTo>
                <a:lnTo>
                  <a:pt x="3657" y="18389"/>
                </a:lnTo>
                <a:lnTo>
                  <a:pt x="2585" y="13196"/>
                </a:lnTo>
                <a:lnTo>
                  <a:pt x="0" y="7869"/>
                </a:lnTo>
                <a:lnTo>
                  <a:pt x="285" y="4698"/>
                </a:lnTo>
                <a:lnTo>
                  <a:pt x="460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6" name="ï$ľîḓé">
            <a:extLst>
              <a:ext uri="{FF2B5EF4-FFF2-40B4-BE49-F238E27FC236}">
                <a16:creationId xmlns:a16="http://schemas.microsoft.com/office/drawing/2014/main" id="{E34A83C5-8E51-4E99-8E83-C46251BC765A}"/>
              </a:ext>
            </a:extLst>
          </p:cNvPr>
          <p:cNvSpPr/>
          <p:nvPr/>
        </p:nvSpPr>
        <p:spPr>
          <a:xfrm>
            <a:off x="7779716" y="3821093"/>
            <a:ext cx="18276" cy="224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06" y="3000"/>
                </a:moveTo>
                <a:lnTo>
                  <a:pt x="21600" y="0"/>
                </a:lnTo>
                <a:lnTo>
                  <a:pt x="18445" y="10511"/>
                </a:lnTo>
                <a:lnTo>
                  <a:pt x="15227" y="21600"/>
                </a:lnTo>
                <a:lnTo>
                  <a:pt x="0" y="20686"/>
                </a:lnTo>
                <a:lnTo>
                  <a:pt x="8606" y="300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7" name="ïŝļiḓé">
            <a:extLst>
              <a:ext uri="{FF2B5EF4-FFF2-40B4-BE49-F238E27FC236}">
                <a16:creationId xmlns:a16="http://schemas.microsoft.com/office/drawing/2014/main" id="{7B43BAA6-7148-413C-AD9B-2D16451AAB4E}"/>
              </a:ext>
            </a:extLst>
          </p:cNvPr>
          <p:cNvSpPr/>
          <p:nvPr/>
        </p:nvSpPr>
        <p:spPr>
          <a:xfrm>
            <a:off x="7776677" y="3865789"/>
            <a:ext cx="19488" cy="182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494" y="0"/>
                </a:moveTo>
                <a:lnTo>
                  <a:pt x="0" y="8708"/>
                </a:lnTo>
                <a:lnTo>
                  <a:pt x="11400" y="21600"/>
                </a:lnTo>
                <a:lnTo>
                  <a:pt x="21600" y="9737"/>
                </a:lnTo>
                <a:lnTo>
                  <a:pt x="1049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8" name="ís1íḑè">
            <a:extLst>
              <a:ext uri="{FF2B5EF4-FFF2-40B4-BE49-F238E27FC236}">
                <a16:creationId xmlns:a16="http://schemas.microsoft.com/office/drawing/2014/main" id="{57A8751E-FE0F-4BFA-AF92-AE6006557810}"/>
              </a:ext>
            </a:extLst>
          </p:cNvPr>
          <p:cNvSpPr/>
          <p:nvPr/>
        </p:nvSpPr>
        <p:spPr>
          <a:xfrm>
            <a:off x="7756567" y="3793107"/>
            <a:ext cx="17038" cy="184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86" y="0"/>
                </a:moveTo>
                <a:lnTo>
                  <a:pt x="0" y="12052"/>
                </a:lnTo>
                <a:lnTo>
                  <a:pt x="10759" y="21600"/>
                </a:lnTo>
                <a:lnTo>
                  <a:pt x="21600" y="9540"/>
                </a:lnTo>
                <a:lnTo>
                  <a:pt x="1188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29" name="ïṩlïďé">
            <a:extLst>
              <a:ext uri="{FF2B5EF4-FFF2-40B4-BE49-F238E27FC236}">
                <a16:creationId xmlns:a16="http://schemas.microsoft.com/office/drawing/2014/main" id="{E819E500-7190-4C0E-9AD1-1AB4C20E0571}"/>
              </a:ext>
            </a:extLst>
          </p:cNvPr>
          <p:cNvSpPr/>
          <p:nvPr/>
        </p:nvSpPr>
        <p:spPr>
          <a:xfrm>
            <a:off x="7068669" y="3132800"/>
            <a:ext cx="20216" cy="282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226" y="0"/>
                </a:moveTo>
                <a:lnTo>
                  <a:pt x="0" y="6738"/>
                </a:lnTo>
                <a:lnTo>
                  <a:pt x="6059" y="21600"/>
                </a:lnTo>
                <a:lnTo>
                  <a:pt x="21600" y="18596"/>
                </a:lnTo>
                <a:lnTo>
                  <a:pt x="1822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0" name="ïšliḍé">
            <a:extLst>
              <a:ext uri="{FF2B5EF4-FFF2-40B4-BE49-F238E27FC236}">
                <a16:creationId xmlns:a16="http://schemas.microsoft.com/office/drawing/2014/main" id="{8DE606D8-3285-4F49-8A3A-640959CAEAD1}"/>
              </a:ext>
            </a:extLst>
          </p:cNvPr>
          <p:cNvSpPr/>
          <p:nvPr/>
        </p:nvSpPr>
        <p:spPr>
          <a:xfrm>
            <a:off x="6516910" y="2842000"/>
            <a:ext cx="60811" cy="402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119" y="0"/>
                </a:moveTo>
                <a:lnTo>
                  <a:pt x="12851" y="4376"/>
                </a:lnTo>
                <a:lnTo>
                  <a:pt x="8517" y="6430"/>
                </a:lnTo>
                <a:lnTo>
                  <a:pt x="671" y="5939"/>
                </a:lnTo>
                <a:lnTo>
                  <a:pt x="0" y="12809"/>
                </a:lnTo>
                <a:lnTo>
                  <a:pt x="3338" y="16202"/>
                </a:lnTo>
                <a:lnTo>
                  <a:pt x="10189" y="21600"/>
                </a:lnTo>
                <a:lnTo>
                  <a:pt x="13007" y="15425"/>
                </a:lnTo>
                <a:lnTo>
                  <a:pt x="16167" y="10356"/>
                </a:lnTo>
                <a:lnTo>
                  <a:pt x="19327" y="7105"/>
                </a:lnTo>
                <a:lnTo>
                  <a:pt x="21600" y="1381"/>
                </a:lnTo>
                <a:lnTo>
                  <a:pt x="1611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1" name="ïşľíďé">
            <a:extLst>
              <a:ext uri="{FF2B5EF4-FFF2-40B4-BE49-F238E27FC236}">
                <a16:creationId xmlns:a16="http://schemas.microsoft.com/office/drawing/2014/main" id="{C0A5B3B2-BF82-4C7D-9E1E-E2B102256D4E}"/>
              </a:ext>
            </a:extLst>
          </p:cNvPr>
          <p:cNvSpPr/>
          <p:nvPr/>
        </p:nvSpPr>
        <p:spPr>
          <a:xfrm>
            <a:off x="5335288" y="1756705"/>
            <a:ext cx="1847581" cy="1076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807" y="1150"/>
                </a:moveTo>
                <a:lnTo>
                  <a:pt x="20140" y="892"/>
                </a:lnTo>
                <a:lnTo>
                  <a:pt x="19827" y="747"/>
                </a:lnTo>
                <a:lnTo>
                  <a:pt x="19506" y="542"/>
                </a:lnTo>
                <a:lnTo>
                  <a:pt x="19194" y="459"/>
                </a:lnTo>
                <a:lnTo>
                  <a:pt x="18976" y="267"/>
                </a:lnTo>
                <a:lnTo>
                  <a:pt x="18803" y="212"/>
                </a:lnTo>
                <a:lnTo>
                  <a:pt x="18690" y="293"/>
                </a:lnTo>
                <a:lnTo>
                  <a:pt x="18482" y="457"/>
                </a:lnTo>
                <a:lnTo>
                  <a:pt x="18589" y="626"/>
                </a:lnTo>
                <a:lnTo>
                  <a:pt x="18799" y="626"/>
                </a:lnTo>
                <a:lnTo>
                  <a:pt x="18944" y="749"/>
                </a:lnTo>
                <a:lnTo>
                  <a:pt x="19057" y="799"/>
                </a:lnTo>
                <a:lnTo>
                  <a:pt x="19162" y="663"/>
                </a:lnTo>
                <a:lnTo>
                  <a:pt x="19282" y="649"/>
                </a:lnTo>
                <a:lnTo>
                  <a:pt x="19425" y="814"/>
                </a:lnTo>
                <a:lnTo>
                  <a:pt x="19336" y="1164"/>
                </a:lnTo>
                <a:lnTo>
                  <a:pt x="19232" y="1314"/>
                </a:lnTo>
                <a:lnTo>
                  <a:pt x="19042" y="1149"/>
                </a:lnTo>
                <a:lnTo>
                  <a:pt x="18875" y="1149"/>
                </a:lnTo>
                <a:lnTo>
                  <a:pt x="18733" y="1250"/>
                </a:lnTo>
                <a:lnTo>
                  <a:pt x="18426" y="1346"/>
                </a:lnTo>
                <a:lnTo>
                  <a:pt x="18234" y="1428"/>
                </a:lnTo>
                <a:lnTo>
                  <a:pt x="18001" y="1483"/>
                </a:lnTo>
                <a:lnTo>
                  <a:pt x="17885" y="1455"/>
                </a:lnTo>
                <a:lnTo>
                  <a:pt x="17764" y="1282"/>
                </a:lnTo>
                <a:lnTo>
                  <a:pt x="17591" y="1204"/>
                </a:lnTo>
                <a:lnTo>
                  <a:pt x="17472" y="1218"/>
                </a:lnTo>
                <a:lnTo>
                  <a:pt x="17205" y="1314"/>
                </a:lnTo>
                <a:lnTo>
                  <a:pt x="16942" y="1479"/>
                </a:lnTo>
                <a:lnTo>
                  <a:pt x="16671" y="1671"/>
                </a:lnTo>
                <a:lnTo>
                  <a:pt x="16451" y="1882"/>
                </a:lnTo>
                <a:lnTo>
                  <a:pt x="16191" y="2147"/>
                </a:lnTo>
                <a:lnTo>
                  <a:pt x="16038" y="2203"/>
                </a:lnTo>
                <a:lnTo>
                  <a:pt x="15932" y="2029"/>
                </a:lnTo>
                <a:lnTo>
                  <a:pt x="15829" y="1988"/>
                </a:lnTo>
                <a:lnTo>
                  <a:pt x="15732" y="1892"/>
                </a:lnTo>
                <a:lnTo>
                  <a:pt x="15762" y="1710"/>
                </a:lnTo>
                <a:lnTo>
                  <a:pt x="15657" y="1417"/>
                </a:lnTo>
                <a:lnTo>
                  <a:pt x="15517" y="1390"/>
                </a:lnTo>
                <a:lnTo>
                  <a:pt x="15378" y="1390"/>
                </a:lnTo>
                <a:lnTo>
                  <a:pt x="15253" y="1481"/>
                </a:lnTo>
                <a:lnTo>
                  <a:pt x="15278" y="1641"/>
                </a:lnTo>
                <a:lnTo>
                  <a:pt x="15392" y="1819"/>
                </a:lnTo>
                <a:lnTo>
                  <a:pt x="15384" y="1998"/>
                </a:lnTo>
                <a:lnTo>
                  <a:pt x="15457" y="2135"/>
                </a:lnTo>
                <a:lnTo>
                  <a:pt x="15449" y="2313"/>
                </a:lnTo>
                <a:lnTo>
                  <a:pt x="15372" y="2418"/>
                </a:lnTo>
                <a:lnTo>
                  <a:pt x="15165" y="2528"/>
                </a:lnTo>
                <a:lnTo>
                  <a:pt x="14864" y="2652"/>
                </a:lnTo>
                <a:lnTo>
                  <a:pt x="14558" y="2802"/>
                </a:lnTo>
                <a:lnTo>
                  <a:pt x="14501" y="2964"/>
                </a:lnTo>
                <a:lnTo>
                  <a:pt x="14580" y="3129"/>
                </a:lnTo>
                <a:lnTo>
                  <a:pt x="14535" y="3260"/>
                </a:lnTo>
                <a:lnTo>
                  <a:pt x="14301" y="3357"/>
                </a:lnTo>
                <a:lnTo>
                  <a:pt x="14167" y="3571"/>
                </a:lnTo>
                <a:lnTo>
                  <a:pt x="14002" y="3383"/>
                </a:lnTo>
                <a:lnTo>
                  <a:pt x="13882" y="3233"/>
                </a:lnTo>
                <a:lnTo>
                  <a:pt x="13736" y="3151"/>
                </a:lnTo>
                <a:lnTo>
                  <a:pt x="13601" y="3165"/>
                </a:lnTo>
                <a:lnTo>
                  <a:pt x="13544" y="3303"/>
                </a:lnTo>
                <a:lnTo>
                  <a:pt x="13684" y="3412"/>
                </a:lnTo>
                <a:lnTo>
                  <a:pt x="13810" y="3412"/>
                </a:lnTo>
                <a:lnTo>
                  <a:pt x="13898" y="3509"/>
                </a:lnTo>
                <a:lnTo>
                  <a:pt x="13968" y="3600"/>
                </a:lnTo>
                <a:lnTo>
                  <a:pt x="14044" y="3723"/>
                </a:lnTo>
                <a:lnTo>
                  <a:pt x="13921" y="3938"/>
                </a:lnTo>
                <a:lnTo>
                  <a:pt x="13743" y="3952"/>
                </a:lnTo>
                <a:lnTo>
                  <a:pt x="13682" y="4102"/>
                </a:lnTo>
                <a:lnTo>
                  <a:pt x="13545" y="4125"/>
                </a:lnTo>
                <a:lnTo>
                  <a:pt x="13425" y="3918"/>
                </a:lnTo>
                <a:lnTo>
                  <a:pt x="13296" y="3768"/>
                </a:lnTo>
                <a:lnTo>
                  <a:pt x="13175" y="3714"/>
                </a:lnTo>
                <a:lnTo>
                  <a:pt x="13055" y="3663"/>
                </a:lnTo>
                <a:lnTo>
                  <a:pt x="12975" y="3430"/>
                </a:lnTo>
                <a:lnTo>
                  <a:pt x="12892" y="3238"/>
                </a:lnTo>
                <a:lnTo>
                  <a:pt x="12851" y="3047"/>
                </a:lnTo>
                <a:lnTo>
                  <a:pt x="12766" y="2877"/>
                </a:lnTo>
                <a:lnTo>
                  <a:pt x="12599" y="2739"/>
                </a:lnTo>
                <a:lnTo>
                  <a:pt x="12494" y="2631"/>
                </a:lnTo>
                <a:lnTo>
                  <a:pt x="12368" y="2420"/>
                </a:lnTo>
                <a:lnTo>
                  <a:pt x="12304" y="2245"/>
                </a:lnTo>
                <a:lnTo>
                  <a:pt x="12377" y="2017"/>
                </a:lnTo>
                <a:lnTo>
                  <a:pt x="12699" y="2003"/>
                </a:lnTo>
                <a:cubicBezTo>
                  <a:pt x="12738" y="2035"/>
                  <a:pt x="12777" y="2063"/>
                  <a:pt x="12817" y="2090"/>
                </a:cubicBezTo>
                <a:cubicBezTo>
                  <a:pt x="12952" y="2178"/>
                  <a:pt x="13094" y="2236"/>
                  <a:pt x="13239" y="2259"/>
                </a:cubicBezTo>
                <a:lnTo>
                  <a:pt x="13399" y="2479"/>
                </a:lnTo>
                <a:lnTo>
                  <a:pt x="13603" y="2506"/>
                </a:lnTo>
                <a:lnTo>
                  <a:pt x="13797" y="2506"/>
                </a:lnTo>
                <a:cubicBezTo>
                  <a:pt x="13873" y="2506"/>
                  <a:pt x="13949" y="2506"/>
                  <a:pt x="14025" y="2506"/>
                </a:cubicBezTo>
                <a:cubicBezTo>
                  <a:pt x="14058" y="2506"/>
                  <a:pt x="14090" y="2506"/>
                  <a:pt x="14122" y="2506"/>
                </a:cubicBezTo>
                <a:lnTo>
                  <a:pt x="14251" y="2356"/>
                </a:lnTo>
                <a:lnTo>
                  <a:pt x="14347" y="2302"/>
                </a:lnTo>
                <a:lnTo>
                  <a:pt x="14484" y="2237"/>
                </a:lnTo>
                <a:lnTo>
                  <a:pt x="14616" y="2210"/>
                </a:lnTo>
                <a:lnTo>
                  <a:pt x="14613" y="2040"/>
                </a:lnTo>
                <a:lnTo>
                  <a:pt x="14460" y="1889"/>
                </a:lnTo>
                <a:lnTo>
                  <a:pt x="14355" y="1605"/>
                </a:lnTo>
                <a:cubicBezTo>
                  <a:pt x="14271" y="1573"/>
                  <a:pt x="14188" y="1533"/>
                  <a:pt x="14107" y="1486"/>
                </a:cubicBezTo>
                <a:cubicBezTo>
                  <a:pt x="14008" y="1428"/>
                  <a:pt x="13911" y="1359"/>
                  <a:pt x="13817" y="1279"/>
                </a:cubicBezTo>
                <a:lnTo>
                  <a:pt x="13451" y="1078"/>
                </a:lnTo>
                <a:lnTo>
                  <a:pt x="13212" y="945"/>
                </a:lnTo>
                <a:lnTo>
                  <a:pt x="12842" y="766"/>
                </a:lnTo>
                <a:lnTo>
                  <a:pt x="12603" y="849"/>
                </a:lnTo>
                <a:lnTo>
                  <a:pt x="12436" y="968"/>
                </a:lnTo>
                <a:lnTo>
                  <a:pt x="12291" y="899"/>
                </a:lnTo>
                <a:lnTo>
                  <a:pt x="12112" y="639"/>
                </a:lnTo>
                <a:lnTo>
                  <a:pt x="11879" y="402"/>
                </a:lnTo>
                <a:lnTo>
                  <a:pt x="11669" y="320"/>
                </a:lnTo>
                <a:lnTo>
                  <a:pt x="11486" y="252"/>
                </a:lnTo>
                <a:lnTo>
                  <a:pt x="11279" y="156"/>
                </a:lnTo>
                <a:lnTo>
                  <a:pt x="11086" y="73"/>
                </a:lnTo>
                <a:lnTo>
                  <a:pt x="10931" y="18"/>
                </a:lnTo>
                <a:lnTo>
                  <a:pt x="10715" y="114"/>
                </a:lnTo>
                <a:lnTo>
                  <a:pt x="10556" y="192"/>
                </a:lnTo>
                <a:lnTo>
                  <a:pt x="10395" y="137"/>
                </a:lnTo>
                <a:lnTo>
                  <a:pt x="10285" y="82"/>
                </a:lnTo>
                <a:lnTo>
                  <a:pt x="10146" y="27"/>
                </a:lnTo>
                <a:lnTo>
                  <a:pt x="10010" y="0"/>
                </a:lnTo>
                <a:lnTo>
                  <a:pt x="9706" y="83"/>
                </a:lnTo>
                <a:lnTo>
                  <a:pt x="9387" y="184"/>
                </a:lnTo>
                <a:lnTo>
                  <a:pt x="8981" y="564"/>
                </a:lnTo>
                <a:lnTo>
                  <a:pt x="8797" y="728"/>
                </a:lnTo>
                <a:lnTo>
                  <a:pt x="8584" y="783"/>
                </a:lnTo>
                <a:lnTo>
                  <a:pt x="8320" y="915"/>
                </a:lnTo>
                <a:lnTo>
                  <a:pt x="8160" y="996"/>
                </a:lnTo>
                <a:lnTo>
                  <a:pt x="7967" y="1147"/>
                </a:lnTo>
                <a:lnTo>
                  <a:pt x="7886" y="1297"/>
                </a:lnTo>
                <a:lnTo>
                  <a:pt x="7888" y="1470"/>
                </a:lnTo>
                <a:lnTo>
                  <a:pt x="7855" y="1675"/>
                </a:lnTo>
                <a:lnTo>
                  <a:pt x="7776" y="1784"/>
                </a:lnTo>
                <a:lnTo>
                  <a:pt x="7655" y="1839"/>
                </a:lnTo>
                <a:lnTo>
                  <a:pt x="7530" y="1894"/>
                </a:lnTo>
                <a:lnTo>
                  <a:pt x="7376" y="2183"/>
                </a:lnTo>
                <a:lnTo>
                  <a:pt x="7276" y="2430"/>
                </a:lnTo>
                <a:lnTo>
                  <a:pt x="7123" y="2673"/>
                </a:lnTo>
                <a:lnTo>
                  <a:pt x="7099" y="2824"/>
                </a:lnTo>
                <a:lnTo>
                  <a:pt x="7051" y="3056"/>
                </a:lnTo>
                <a:lnTo>
                  <a:pt x="6924" y="3316"/>
                </a:lnTo>
                <a:lnTo>
                  <a:pt x="6795" y="3550"/>
                </a:lnTo>
                <a:lnTo>
                  <a:pt x="6610" y="3688"/>
                </a:lnTo>
                <a:lnTo>
                  <a:pt x="6375" y="3930"/>
                </a:lnTo>
                <a:lnTo>
                  <a:pt x="6295" y="4053"/>
                </a:lnTo>
                <a:lnTo>
                  <a:pt x="6207" y="4241"/>
                </a:lnTo>
                <a:lnTo>
                  <a:pt x="6072" y="4323"/>
                </a:lnTo>
                <a:lnTo>
                  <a:pt x="5796" y="4429"/>
                </a:lnTo>
                <a:lnTo>
                  <a:pt x="5615" y="4524"/>
                </a:lnTo>
                <a:lnTo>
                  <a:pt x="5511" y="4647"/>
                </a:lnTo>
                <a:lnTo>
                  <a:pt x="5386" y="4780"/>
                </a:lnTo>
                <a:lnTo>
                  <a:pt x="5249" y="4999"/>
                </a:lnTo>
                <a:lnTo>
                  <a:pt x="5158" y="5155"/>
                </a:lnTo>
                <a:lnTo>
                  <a:pt x="5088" y="5329"/>
                </a:lnTo>
                <a:lnTo>
                  <a:pt x="5065" y="5480"/>
                </a:lnTo>
                <a:lnTo>
                  <a:pt x="5065" y="5754"/>
                </a:lnTo>
                <a:lnTo>
                  <a:pt x="5089" y="5900"/>
                </a:lnTo>
                <a:lnTo>
                  <a:pt x="5118" y="6123"/>
                </a:lnTo>
                <a:lnTo>
                  <a:pt x="5094" y="6315"/>
                </a:lnTo>
                <a:lnTo>
                  <a:pt x="5118" y="6590"/>
                </a:lnTo>
                <a:lnTo>
                  <a:pt x="5312" y="6948"/>
                </a:lnTo>
                <a:lnTo>
                  <a:pt x="5497" y="7278"/>
                </a:lnTo>
                <a:lnTo>
                  <a:pt x="5698" y="7360"/>
                </a:lnTo>
                <a:lnTo>
                  <a:pt x="6010" y="7347"/>
                </a:lnTo>
                <a:lnTo>
                  <a:pt x="6179" y="7123"/>
                </a:lnTo>
                <a:lnTo>
                  <a:pt x="6421" y="6806"/>
                </a:lnTo>
                <a:lnTo>
                  <a:pt x="6673" y="6770"/>
                </a:lnTo>
                <a:lnTo>
                  <a:pt x="6722" y="7029"/>
                </a:lnTo>
                <a:lnTo>
                  <a:pt x="6859" y="7341"/>
                </a:lnTo>
                <a:lnTo>
                  <a:pt x="6923" y="7657"/>
                </a:lnTo>
                <a:lnTo>
                  <a:pt x="7026" y="7817"/>
                </a:lnTo>
                <a:lnTo>
                  <a:pt x="7026" y="8065"/>
                </a:lnTo>
                <a:lnTo>
                  <a:pt x="7034" y="8312"/>
                </a:lnTo>
                <a:lnTo>
                  <a:pt x="7120" y="8458"/>
                </a:lnTo>
                <a:lnTo>
                  <a:pt x="7192" y="8650"/>
                </a:lnTo>
                <a:lnTo>
                  <a:pt x="7493" y="8925"/>
                </a:lnTo>
                <a:lnTo>
                  <a:pt x="7581" y="8833"/>
                </a:lnTo>
                <a:lnTo>
                  <a:pt x="7850" y="8512"/>
                </a:lnTo>
                <a:lnTo>
                  <a:pt x="7962" y="8471"/>
                </a:lnTo>
                <a:lnTo>
                  <a:pt x="8086" y="8224"/>
                </a:lnTo>
                <a:lnTo>
                  <a:pt x="8142" y="7954"/>
                </a:lnTo>
                <a:lnTo>
                  <a:pt x="8118" y="7546"/>
                </a:lnTo>
                <a:lnTo>
                  <a:pt x="8183" y="7331"/>
                </a:lnTo>
                <a:lnTo>
                  <a:pt x="8408" y="7069"/>
                </a:lnTo>
                <a:lnTo>
                  <a:pt x="8596" y="6868"/>
                </a:lnTo>
                <a:lnTo>
                  <a:pt x="8782" y="6652"/>
                </a:lnTo>
                <a:lnTo>
                  <a:pt x="8870" y="6378"/>
                </a:lnTo>
                <a:lnTo>
                  <a:pt x="8870" y="6199"/>
                </a:lnTo>
                <a:lnTo>
                  <a:pt x="8675" y="6099"/>
                </a:lnTo>
                <a:lnTo>
                  <a:pt x="8400" y="5782"/>
                </a:lnTo>
                <a:cubicBezTo>
                  <a:pt x="8345" y="5725"/>
                  <a:pt x="8303" y="5638"/>
                  <a:pt x="8280" y="5535"/>
                </a:cubicBezTo>
                <a:cubicBezTo>
                  <a:pt x="8253" y="5415"/>
                  <a:pt x="8255" y="5284"/>
                  <a:pt x="8280" y="5163"/>
                </a:cubicBezTo>
                <a:cubicBezTo>
                  <a:pt x="8308" y="5024"/>
                  <a:pt x="8366" y="4907"/>
                  <a:pt x="8441" y="4834"/>
                </a:cubicBezTo>
                <a:cubicBezTo>
                  <a:pt x="8456" y="4723"/>
                  <a:pt x="8474" y="4613"/>
                  <a:pt x="8494" y="4505"/>
                </a:cubicBezTo>
                <a:cubicBezTo>
                  <a:pt x="8510" y="4424"/>
                  <a:pt x="8527" y="4342"/>
                  <a:pt x="8558" y="4276"/>
                </a:cubicBezTo>
                <a:cubicBezTo>
                  <a:pt x="8643" y="4100"/>
                  <a:pt x="8795" y="4075"/>
                  <a:pt x="8897" y="4221"/>
                </a:cubicBezTo>
                <a:cubicBezTo>
                  <a:pt x="8958" y="4155"/>
                  <a:pt x="9013" y="4077"/>
                  <a:pt x="9061" y="3987"/>
                </a:cubicBezTo>
                <a:cubicBezTo>
                  <a:pt x="9136" y="3848"/>
                  <a:pt x="9193" y="3684"/>
                  <a:pt x="9260" y="3534"/>
                </a:cubicBezTo>
                <a:cubicBezTo>
                  <a:pt x="9306" y="3430"/>
                  <a:pt x="9356" y="3332"/>
                  <a:pt x="9405" y="3232"/>
                </a:cubicBezTo>
                <a:cubicBezTo>
                  <a:pt x="9452" y="3137"/>
                  <a:pt x="9497" y="3041"/>
                  <a:pt x="9542" y="2943"/>
                </a:cubicBezTo>
                <a:lnTo>
                  <a:pt x="9832" y="2723"/>
                </a:lnTo>
                <a:lnTo>
                  <a:pt x="9993" y="2545"/>
                </a:lnTo>
                <a:lnTo>
                  <a:pt x="10111" y="2705"/>
                </a:lnTo>
                <a:lnTo>
                  <a:pt x="10183" y="2884"/>
                </a:lnTo>
                <a:lnTo>
                  <a:pt x="10183" y="3144"/>
                </a:lnTo>
                <a:lnTo>
                  <a:pt x="10098" y="3332"/>
                </a:lnTo>
                <a:lnTo>
                  <a:pt x="10098" y="3689"/>
                </a:lnTo>
                <a:lnTo>
                  <a:pt x="10082" y="3859"/>
                </a:lnTo>
                <a:lnTo>
                  <a:pt x="9930" y="3957"/>
                </a:lnTo>
                <a:lnTo>
                  <a:pt x="9906" y="4204"/>
                </a:lnTo>
                <a:lnTo>
                  <a:pt x="9849" y="4492"/>
                </a:lnTo>
                <a:lnTo>
                  <a:pt x="9683" y="4633"/>
                </a:lnTo>
                <a:lnTo>
                  <a:pt x="9586" y="4780"/>
                </a:lnTo>
                <a:lnTo>
                  <a:pt x="9482" y="5082"/>
                </a:lnTo>
                <a:lnTo>
                  <a:pt x="9514" y="5403"/>
                </a:lnTo>
                <a:lnTo>
                  <a:pt x="9716" y="5586"/>
                </a:lnTo>
                <a:cubicBezTo>
                  <a:pt x="9796" y="5549"/>
                  <a:pt x="9881" y="5586"/>
                  <a:pt x="9941" y="5682"/>
                </a:cubicBezTo>
                <a:cubicBezTo>
                  <a:pt x="9990" y="5760"/>
                  <a:pt x="10017" y="5871"/>
                  <a:pt x="10065" y="5951"/>
                </a:cubicBezTo>
                <a:cubicBezTo>
                  <a:pt x="10132" y="6062"/>
                  <a:pt x="10229" y="6103"/>
                  <a:pt x="10318" y="6056"/>
                </a:cubicBezTo>
                <a:lnTo>
                  <a:pt x="10508" y="6070"/>
                </a:lnTo>
                <a:lnTo>
                  <a:pt x="10731" y="6002"/>
                </a:lnTo>
                <a:lnTo>
                  <a:pt x="10946" y="5851"/>
                </a:lnTo>
                <a:lnTo>
                  <a:pt x="11105" y="5786"/>
                </a:lnTo>
                <a:lnTo>
                  <a:pt x="11391" y="5848"/>
                </a:lnTo>
                <a:lnTo>
                  <a:pt x="11503" y="6039"/>
                </a:lnTo>
                <a:lnTo>
                  <a:pt x="11785" y="6094"/>
                </a:lnTo>
                <a:lnTo>
                  <a:pt x="11854" y="6226"/>
                </a:lnTo>
                <a:lnTo>
                  <a:pt x="11801" y="6390"/>
                </a:lnTo>
                <a:lnTo>
                  <a:pt x="11600" y="6542"/>
                </a:lnTo>
                <a:lnTo>
                  <a:pt x="11427" y="6730"/>
                </a:lnTo>
                <a:lnTo>
                  <a:pt x="11242" y="6739"/>
                </a:lnTo>
                <a:lnTo>
                  <a:pt x="11084" y="6698"/>
                </a:lnTo>
                <a:lnTo>
                  <a:pt x="10942" y="6629"/>
                </a:lnTo>
                <a:lnTo>
                  <a:pt x="10752" y="6588"/>
                </a:lnTo>
                <a:lnTo>
                  <a:pt x="10578" y="6629"/>
                </a:lnTo>
                <a:lnTo>
                  <a:pt x="10435" y="6670"/>
                </a:lnTo>
                <a:lnTo>
                  <a:pt x="10291" y="6748"/>
                </a:lnTo>
                <a:lnTo>
                  <a:pt x="10218" y="6936"/>
                </a:lnTo>
                <a:lnTo>
                  <a:pt x="10315" y="7045"/>
                </a:lnTo>
                <a:lnTo>
                  <a:pt x="10580" y="7535"/>
                </a:lnTo>
                <a:lnTo>
                  <a:pt x="10580" y="7737"/>
                </a:lnTo>
                <a:lnTo>
                  <a:pt x="10500" y="7925"/>
                </a:lnTo>
                <a:lnTo>
                  <a:pt x="10333" y="8021"/>
                </a:lnTo>
                <a:lnTo>
                  <a:pt x="10285" y="8145"/>
                </a:lnTo>
                <a:lnTo>
                  <a:pt x="10181" y="8076"/>
                </a:lnTo>
                <a:lnTo>
                  <a:pt x="10133" y="7815"/>
                </a:lnTo>
                <a:lnTo>
                  <a:pt x="10012" y="7706"/>
                </a:lnTo>
                <a:lnTo>
                  <a:pt x="9771" y="7733"/>
                </a:lnTo>
                <a:lnTo>
                  <a:pt x="9701" y="7811"/>
                </a:lnTo>
                <a:lnTo>
                  <a:pt x="9701" y="8017"/>
                </a:lnTo>
                <a:lnTo>
                  <a:pt x="9581" y="8163"/>
                </a:lnTo>
                <a:lnTo>
                  <a:pt x="9597" y="8488"/>
                </a:lnTo>
                <a:lnTo>
                  <a:pt x="9637" y="8686"/>
                </a:lnTo>
                <a:lnTo>
                  <a:pt x="9693" y="8944"/>
                </a:lnTo>
                <a:lnTo>
                  <a:pt x="9588" y="9131"/>
                </a:lnTo>
                <a:lnTo>
                  <a:pt x="9435" y="9310"/>
                </a:lnTo>
                <a:lnTo>
                  <a:pt x="9298" y="9530"/>
                </a:lnTo>
                <a:lnTo>
                  <a:pt x="9180" y="9627"/>
                </a:lnTo>
                <a:lnTo>
                  <a:pt x="9092" y="9735"/>
                </a:lnTo>
                <a:lnTo>
                  <a:pt x="8983" y="9736"/>
                </a:lnTo>
                <a:cubicBezTo>
                  <a:pt x="8962" y="9703"/>
                  <a:pt x="8942" y="9671"/>
                  <a:pt x="8921" y="9640"/>
                </a:cubicBezTo>
                <a:cubicBezTo>
                  <a:pt x="8891" y="9595"/>
                  <a:pt x="8861" y="9551"/>
                  <a:pt x="8830" y="9508"/>
                </a:cubicBezTo>
                <a:lnTo>
                  <a:pt x="8564" y="9467"/>
                </a:lnTo>
                <a:lnTo>
                  <a:pt x="8300" y="9659"/>
                </a:lnTo>
                <a:lnTo>
                  <a:pt x="7986" y="9865"/>
                </a:lnTo>
                <a:lnTo>
                  <a:pt x="7905" y="9974"/>
                </a:lnTo>
                <a:lnTo>
                  <a:pt x="7739" y="10070"/>
                </a:lnTo>
                <a:lnTo>
                  <a:pt x="7634" y="10001"/>
                </a:lnTo>
                <a:lnTo>
                  <a:pt x="7465" y="9864"/>
                </a:lnTo>
                <a:lnTo>
                  <a:pt x="7314" y="9781"/>
                </a:lnTo>
                <a:lnTo>
                  <a:pt x="7226" y="9644"/>
                </a:lnTo>
                <a:lnTo>
                  <a:pt x="7149" y="9740"/>
                </a:lnTo>
                <a:lnTo>
                  <a:pt x="6975" y="9746"/>
                </a:lnTo>
                <a:lnTo>
                  <a:pt x="6769" y="9966"/>
                </a:lnTo>
                <a:lnTo>
                  <a:pt x="6586" y="9828"/>
                </a:lnTo>
                <a:lnTo>
                  <a:pt x="6498" y="9655"/>
                </a:lnTo>
                <a:lnTo>
                  <a:pt x="6359" y="9499"/>
                </a:lnTo>
                <a:lnTo>
                  <a:pt x="6246" y="9210"/>
                </a:lnTo>
                <a:lnTo>
                  <a:pt x="6332" y="9059"/>
                </a:lnTo>
                <a:lnTo>
                  <a:pt x="6468" y="9059"/>
                </a:lnTo>
                <a:lnTo>
                  <a:pt x="6436" y="9269"/>
                </a:lnTo>
                <a:lnTo>
                  <a:pt x="6594" y="9356"/>
                </a:lnTo>
                <a:lnTo>
                  <a:pt x="6642" y="9122"/>
                </a:lnTo>
                <a:lnTo>
                  <a:pt x="6779" y="9264"/>
                </a:lnTo>
                <a:lnTo>
                  <a:pt x="6939" y="9386"/>
                </a:lnTo>
                <a:lnTo>
                  <a:pt x="7020" y="9181"/>
                </a:lnTo>
                <a:lnTo>
                  <a:pt x="7095" y="8939"/>
                </a:lnTo>
                <a:lnTo>
                  <a:pt x="7009" y="8646"/>
                </a:lnTo>
                <a:lnTo>
                  <a:pt x="6883" y="8491"/>
                </a:lnTo>
                <a:lnTo>
                  <a:pt x="6741" y="8555"/>
                </a:lnTo>
                <a:lnTo>
                  <a:pt x="6645" y="8802"/>
                </a:lnTo>
                <a:lnTo>
                  <a:pt x="6668" y="8966"/>
                </a:lnTo>
                <a:lnTo>
                  <a:pt x="6572" y="8980"/>
                </a:lnTo>
                <a:lnTo>
                  <a:pt x="6524" y="8733"/>
                </a:lnTo>
                <a:lnTo>
                  <a:pt x="6425" y="8870"/>
                </a:lnTo>
                <a:lnTo>
                  <a:pt x="6282" y="8896"/>
                </a:lnTo>
                <a:lnTo>
                  <a:pt x="6298" y="8622"/>
                </a:lnTo>
                <a:lnTo>
                  <a:pt x="6338" y="8473"/>
                </a:lnTo>
                <a:lnTo>
                  <a:pt x="6394" y="8309"/>
                </a:lnTo>
                <a:lnTo>
                  <a:pt x="6394" y="7953"/>
                </a:lnTo>
                <a:lnTo>
                  <a:pt x="6380" y="7651"/>
                </a:lnTo>
                <a:lnTo>
                  <a:pt x="6254" y="7719"/>
                </a:lnTo>
                <a:lnTo>
                  <a:pt x="6189" y="7989"/>
                </a:lnTo>
                <a:lnTo>
                  <a:pt x="6096" y="8126"/>
                </a:lnTo>
                <a:lnTo>
                  <a:pt x="5932" y="8300"/>
                </a:lnTo>
                <a:lnTo>
                  <a:pt x="5836" y="8520"/>
                </a:lnTo>
                <a:lnTo>
                  <a:pt x="5819" y="8717"/>
                </a:lnTo>
                <a:lnTo>
                  <a:pt x="5921" y="8917"/>
                </a:lnTo>
                <a:lnTo>
                  <a:pt x="5974" y="9081"/>
                </a:lnTo>
                <a:lnTo>
                  <a:pt x="5934" y="9324"/>
                </a:lnTo>
                <a:lnTo>
                  <a:pt x="6004" y="9512"/>
                </a:lnTo>
                <a:lnTo>
                  <a:pt x="6235" y="9416"/>
                </a:lnTo>
                <a:lnTo>
                  <a:pt x="6253" y="9581"/>
                </a:lnTo>
                <a:lnTo>
                  <a:pt x="6088" y="9704"/>
                </a:lnTo>
                <a:lnTo>
                  <a:pt x="6016" y="9787"/>
                </a:lnTo>
                <a:lnTo>
                  <a:pt x="5983" y="10057"/>
                </a:lnTo>
                <a:lnTo>
                  <a:pt x="5865" y="10144"/>
                </a:lnTo>
                <a:lnTo>
                  <a:pt x="5664" y="10172"/>
                </a:lnTo>
                <a:lnTo>
                  <a:pt x="5506" y="10172"/>
                </a:lnTo>
                <a:lnTo>
                  <a:pt x="5370" y="10240"/>
                </a:lnTo>
                <a:lnTo>
                  <a:pt x="5273" y="10337"/>
                </a:lnTo>
                <a:lnTo>
                  <a:pt x="5101" y="10364"/>
                </a:lnTo>
                <a:lnTo>
                  <a:pt x="5002" y="10364"/>
                </a:lnTo>
                <a:lnTo>
                  <a:pt x="4982" y="10538"/>
                </a:lnTo>
                <a:lnTo>
                  <a:pt x="4867" y="10739"/>
                </a:lnTo>
                <a:lnTo>
                  <a:pt x="4738" y="10945"/>
                </a:lnTo>
                <a:lnTo>
                  <a:pt x="4563" y="11169"/>
                </a:lnTo>
                <a:lnTo>
                  <a:pt x="4385" y="11316"/>
                </a:lnTo>
                <a:lnTo>
                  <a:pt x="4328" y="11463"/>
                </a:lnTo>
                <a:lnTo>
                  <a:pt x="4152" y="11706"/>
                </a:lnTo>
                <a:lnTo>
                  <a:pt x="4065" y="11719"/>
                </a:lnTo>
                <a:lnTo>
                  <a:pt x="3934" y="11751"/>
                </a:lnTo>
                <a:lnTo>
                  <a:pt x="3849" y="11911"/>
                </a:lnTo>
                <a:lnTo>
                  <a:pt x="3781" y="12158"/>
                </a:lnTo>
                <a:lnTo>
                  <a:pt x="3725" y="12255"/>
                </a:lnTo>
                <a:lnTo>
                  <a:pt x="3603" y="12585"/>
                </a:lnTo>
                <a:lnTo>
                  <a:pt x="3316" y="12676"/>
                </a:lnTo>
                <a:lnTo>
                  <a:pt x="3265" y="12951"/>
                </a:lnTo>
                <a:lnTo>
                  <a:pt x="3134" y="12987"/>
                </a:lnTo>
                <a:lnTo>
                  <a:pt x="3035" y="12919"/>
                </a:lnTo>
                <a:lnTo>
                  <a:pt x="2939" y="12754"/>
                </a:lnTo>
                <a:cubicBezTo>
                  <a:pt x="2886" y="12812"/>
                  <a:pt x="2837" y="12876"/>
                  <a:pt x="2790" y="12947"/>
                </a:cubicBezTo>
                <a:cubicBezTo>
                  <a:pt x="2744" y="13015"/>
                  <a:pt x="2702" y="13088"/>
                  <a:pt x="2663" y="13166"/>
                </a:cubicBezTo>
                <a:lnTo>
                  <a:pt x="2511" y="13235"/>
                </a:lnTo>
                <a:lnTo>
                  <a:pt x="2334" y="13327"/>
                </a:lnTo>
                <a:lnTo>
                  <a:pt x="2256" y="13258"/>
                </a:lnTo>
                <a:lnTo>
                  <a:pt x="2079" y="13176"/>
                </a:lnTo>
                <a:lnTo>
                  <a:pt x="1886" y="13313"/>
                </a:lnTo>
                <a:lnTo>
                  <a:pt x="1701" y="13451"/>
                </a:lnTo>
                <a:lnTo>
                  <a:pt x="1776" y="13589"/>
                </a:lnTo>
                <a:lnTo>
                  <a:pt x="1890" y="13693"/>
                </a:lnTo>
                <a:lnTo>
                  <a:pt x="2105" y="13776"/>
                </a:lnTo>
                <a:lnTo>
                  <a:pt x="2379" y="13955"/>
                </a:lnTo>
                <a:lnTo>
                  <a:pt x="2554" y="14129"/>
                </a:lnTo>
                <a:lnTo>
                  <a:pt x="2659" y="14413"/>
                </a:lnTo>
                <a:lnTo>
                  <a:pt x="2704" y="14587"/>
                </a:lnTo>
                <a:lnTo>
                  <a:pt x="2768" y="14861"/>
                </a:lnTo>
                <a:lnTo>
                  <a:pt x="2792" y="15475"/>
                </a:lnTo>
                <a:lnTo>
                  <a:pt x="2771" y="15814"/>
                </a:lnTo>
                <a:cubicBezTo>
                  <a:pt x="2745" y="15996"/>
                  <a:pt x="2708" y="16172"/>
                  <a:pt x="2661" y="16341"/>
                </a:cubicBezTo>
                <a:cubicBezTo>
                  <a:pt x="2629" y="16460"/>
                  <a:pt x="2591" y="16574"/>
                  <a:pt x="2549" y="16684"/>
                </a:cubicBezTo>
                <a:lnTo>
                  <a:pt x="2342" y="16817"/>
                </a:lnTo>
                <a:lnTo>
                  <a:pt x="2030" y="16830"/>
                </a:lnTo>
                <a:lnTo>
                  <a:pt x="1856" y="16830"/>
                </a:lnTo>
                <a:lnTo>
                  <a:pt x="1549" y="16804"/>
                </a:lnTo>
                <a:lnTo>
                  <a:pt x="1329" y="16707"/>
                </a:lnTo>
                <a:lnTo>
                  <a:pt x="970" y="16537"/>
                </a:lnTo>
                <a:lnTo>
                  <a:pt x="739" y="16469"/>
                </a:lnTo>
                <a:lnTo>
                  <a:pt x="478" y="16547"/>
                </a:lnTo>
                <a:lnTo>
                  <a:pt x="293" y="16647"/>
                </a:lnTo>
                <a:lnTo>
                  <a:pt x="164" y="17042"/>
                </a:lnTo>
                <a:lnTo>
                  <a:pt x="199" y="17371"/>
                </a:lnTo>
                <a:lnTo>
                  <a:pt x="231" y="17765"/>
                </a:lnTo>
                <a:lnTo>
                  <a:pt x="199" y="18217"/>
                </a:lnTo>
                <a:lnTo>
                  <a:pt x="86" y="18602"/>
                </a:lnTo>
                <a:lnTo>
                  <a:pt x="24" y="19028"/>
                </a:lnTo>
                <a:lnTo>
                  <a:pt x="0" y="19390"/>
                </a:lnTo>
                <a:lnTo>
                  <a:pt x="32" y="19623"/>
                </a:lnTo>
                <a:lnTo>
                  <a:pt x="105" y="19880"/>
                </a:lnTo>
                <a:lnTo>
                  <a:pt x="97" y="20137"/>
                </a:lnTo>
                <a:lnTo>
                  <a:pt x="40" y="20343"/>
                </a:lnTo>
                <a:lnTo>
                  <a:pt x="81" y="20612"/>
                </a:lnTo>
                <a:lnTo>
                  <a:pt x="245" y="20708"/>
                </a:lnTo>
                <a:lnTo>
                  <a:pt x="417" y="20644"/>
                </a:lnTo>
                <a:lnTo>
                  <a:pt x="624" y="20794"/>
                </a:lnTo>
                <a:lnTo>
                  <a:pt x="693" y="20881"/>
                </a:lnTo>
                <a:lnTo>
                  <a:pt x="1007" y="21211"/>
                </a:lnTo>
                <a:lnTo>
                  <a:pt x="1064" y="21408"/>
                </a:lnTo>
                <a:lnTo>
                  <a:pt x="1160" y="21436"/>
                </a:lnTo>
                <a:lnTo>
                  <a:pt x="1241" y="21600"/>
                </a:lnTo>
                <a:lnTo>
                  <a:pt x="1286" y="21437"/>
                </a:lnTo>
                <a:lnTo>
                  <a:pt x="1286" y="21236"/>
                </a:lnTo>
                <a:lnTo>
                  <a:pt x="1358" y="21119"/>
                </a:lnTo>
                <a:lnTo>
                  <a:pt x="1562" y="21092"/>
                </a:lnTo>
                <a:lnTo>
                  <a:pt x="1667" y="21105"/>
                </a:lnTo>
                <a:cubicBezTo>
                  <a:pt x="1731" y="21119"/>
                  <a:pt x="1796" y="21128"/>
                  <a:pt x="1860" y="21133"/>
                </a:cubicBezTo>
                <a:cubicBezTo>
                  <a:pt x="1936" y="21139"/>
                  <a:pt x="2011" y="21139"/>
                  <a:pt x="2086" y="21133"/>
                </a:cubicBezTo>
                <a:lnTo>
                  <a:pt x="2247" y="21051"/>
                </a:lnTo>
                <a:lnTo>
                  <a:pt x="2333" y="20941"/>
                </a:lnTo>
                <a:lnTo>
                  <a:pt x="2422" y="20693"/>
                </a:lnTo>
                <a:lnTo>
                  <a:pt x="2519" y="20556"/>
                </a:lnTo>
                <a:lnTo>
                  <a:pt x="2655" y="20387"/>
                </a:lnTo>
                <a:lnTo>
                  <a:pt x="2784" y="20214"/>
                </a:lnTo>
                <a:lnTo>
                  <a:pt x="2897" y="20063"/>
                </a:lnTo>
                <a:lnTo>
                  <a:pt x="2921" y="19885"/>
                </a:lnTo>
                <a:lnTo>
                  <a:pt x="2921" y="19541"/>
                </a:lnTo>
                <a:lnTo>
                  <a:pt x="2969" y="19349"/>
                </a:lnTo>
                <a:lnTo>
                  <a:pt x="3039" y="19161"/>
                </a:lnTo>
                <a:lnTo>
                  <a:pt x="3241" y="18748"/>
                </a:lnTo>
                <a:lnTo>
                  <a:pt x="3257" y="18515"/>
                </a:lnTo>
                <a:cubicBezTo>
                  <a:pt x="3267" y="18464"/>
                  <a:pt x="3283" y="18417"/>
                  <a:pt x="3305" y="18379"/>
                </a:cubicBezTo>
                <a:cubicBezTo>
                  <a:pt x="3367" y="18269"/>
                  <a:pt x="3459" y="18240"/>
                  <a:pt x="3541" y="18187"/>
                </a:cubicBezTo>
                <a:cubicBezTo>
                  <a:pt x="3616" y="18139"/>
                  <a:pt x="3685" y="18071"/>
                  <a:pt x="3745" y="17985"/>
                </a:cubicBezTo>
                <a:lnTo>
                  <a:pt x="3923" y="17728"/>
                </a:lnTo>
                <a:lnTo>
                  <a:pt x="4081" y="17581"/>
                </a:lnTo>
                <a:lnTo>
                  <a:pt x="4167" y="17554"/>
                </a:lnTo>
                <a:lnTo>
                  <a:pt x="4059" y="17247"/>
                </a:lnTo>
                <a:lnTo>
                  <a:pt x="3955" y="17261"/>
                </a:lnTo>
                <a:lnTo>
                  <a:pt x="3938" y="16973"/>
                </a:lnTo>
                <a:lnTo>
                  <a:pt x="4118" y="16859"/>
                </a:lnTo>
                <a:lnTo>
                  <a:pt x="4354" y="16726"/>
                </a:lnTo>
                <a:lnTo>
                  <a:pt x="4432" y="16658"/>
                </a:lnTo>
                <a:lnTo>
                  <a:pt x="4620" y="16554"/>
                </a:lnTo>
                <a:lnTo>
                  <a:pt x="4738" y="16663"/>
                </a:lnTo>
                <a:lnTo>
                  <a:pt x="4945" y="16842"/>
                </a:lnTo>
                <a:lnTo>
                  <a:pt x="5057" y="16801"/>
                </a:lnTo>
                <a:lnTo>
                  <a:pt x="5270" y="16614"/>
                </a:lnTo>
                <a:cubicBezTo>
                  <a:pt x="5348" y="16588"/>
                  <a:pt x="5424" y="16547"/>
                  <a:pt x="5495" y="16490"/>
                </a:cubicBezTo>
                <a:cubicBezTo>
                  <a:pt x="5582" y="16422"/>
                  <a:pt x="5661" y="16332"/>
                  <a:pt x="5732" y="16224"/>
                </a:cubicBezTo>
                <a:lnTo>
                  <a:pt x="5896" y="16096"/>
                </a:lnTo>
                <a:lnTo>
                  <a:pt x="6009" y="16027"/>
                </a:lnTo>
                <a:lnTo>
                  <a:pt x="6185" y="15959"/>
                </a:lnTo>
                <a:lnTo>
                  <a:pt x="6336" y="16187"/>
                </a:lnTo>
                <a:lnTo>
                  <a:pt x="6513" y="16558"/>
                </a:lnTo>
                <a:lnTo>
                  <a:pt x="6478" y="16957"/>
                </a:lnTo>
                <a:lnTo>
                  <a:pt x="6566" y="17191"/>
                </a:lnTo>
                <a:cubicBezTo>
                  <a:pt x="6627" y="17266"/>
                  <a:pt x="6693" y="17327"/>
                  <a:pt x="6762" y="17374"/>
                </a:cubicBezTo>
                <a:cubicBezTo>
                  <a:pt x="6828" y="17418"/>
                  <a:pt x="6896" y="17449"/>
                  <a:pt x="6961" y="17493"/>
                </a:cubicBezTo>
                <a:cubicBezTo>
                  <a:pt x="7076" y="17571"/>
                  <a:pt x="7181" y="17688"/>
                  <a:pt x="7268" y="17837"/>
                </a:cubicBezTo>
                <a:lnTo>
                  <a:pt x="7381" y="17960"/>
                </a:lnTo>
                <a:lnTo>
                  <a:pt x="7502" y="18097"/>
                </a:lnTo>
                <a:lnTo>
                  <a:pt x="7652" y="18230"/>
                </a:lnTo>
                <a:lnTo>
                  <a:pt x="7765" y="18312"/>
                </a:lnTo>
                <a:lnTo>
                  <a:pt x="7950" y="18500"/>
                </a:lnTo>
                <a:lnTo>
                  <a:pt x="8004" y="18619"/>
                </a:lnTo>
                <a:lnTo>
                  <a:pt x="8122" y="18894"/>
                </a:lnTo>
                <a:lnTo>
                  <a:pt x="8273" y="19251"/>
                </a:lnTo>
                <a:lnTo>
                  <a:pt x="8399" y="19535"/>
                </a:lnTo>
                <a:lnTo>
                  <a:pt x="8203" y="19705"/>
                </a:lnTo>
                <a:lnTo>
                  <a:pt x="8232" y="19896"/>
                </a:lnTo>
                <a:lnTo>
                  <a:pt x="8184" y="20192"/>
                </a:lnTo>
                <a:lnTo>
                  <a:pt x="8313" y="20256"/>
                </a:lnTo>
                <a:lnTo>
                  <a:pt x="8369" y="20092"/>
                </a:lnTo>
                <a:lnTo>
                  <a:pt x="8471" y="19927"/>
                </a:lnTo>
                <a:lnTo>
                  <a:pt x="8584" y="19703"/>
                </a:lnTo>
                <a:lnTo>
                  <a:pt x="8621" y="19542"/>
                </a:lnTo>
                <a:lnTo>
                  <a:pt x="8570" y="19314"/>
                </a:lnTo>
                <a:lnTo>
                  <a:pt x="8522" y="19090"/>
                </a:lnTo>
                <a:lnTo>
                  <a:pt x="8493" y="18927"/>
                </a:lnTo>
                <a:lnTo>
                  <a:pt x="8573" y="18716"/>
                </a:lnTo>
                <a:lnTo>
                  <a:pt x="8735" y="18702"/>
                </a:lnTo>
                <a:lnTo>
                  <a:pt x="8831" y="18752"/>
                </a:lnTo>
                <a:lnTo>
                  <a:pt x="8888" y="18876"/>
                </a:lnTo>
                <a:lnTo>
                  <a:pt x="9070" y="18944"/>
                </a:lnTo>
                <a:lnTo>
                  <a:pt x="9159" y="18880"/>
                </a:lnTo>
                <a:lnTo>
                  <a:pt x="9054" y="18697"/>
                </a:lnTo>
                <a:lnTo>
                  <a:pt x="8898" y="18523"/>
                </a:lnTo>
                <a:lnTo>
                  <a:pt x="8594" y="18261"/>
                </a:lnTo>
                <a:lnTo>
                  <a:pt x="8368" y="18041"/>
                </a:lnTo>
                <a:lnTo>
                  <a:pt x="8097" y="17835"/>
                </a:lnTo>
                <a:lnTo>
                  <a:pt x="7917" y="17422"/>
                </a:lnTo>
                <a:lnTo>
                  <a:pt x="7716" y="17353"/>
                </a:lnTo>
                <a:lnTo>
                  <a:pt x="7485" y="16964"/>
                </a:lnTo>
                <a:lnTo>
                  <a:pt x="7541" y="16565"/>
                </a:lnTo>
                <a:lnTo>
                  <a:pt x="7398" y="16378"/>
                </a:lnTo>
                <a:lnTo>
                  <a:pt x="7222" y="16240"/>
                </a:lnTo>
                <a:lnTo>
                  <a:pt x="6975" y="15938"/>
                </a:lnTo>
                <a:lnTo>
                  <a:pt x="6974" y="15498"/>
                </a:lnTo>
                <a:lnTo>
                  <a:pt x="7213" y="15265"/>
                </a:lnTo>
                <a:lnTo>
                  <a:pt x="7388" y="15320"/>
                </a:lnTo>
                <a:lnTo>
                  <a:pt x="7527" y="15712"/>
                </a:lnTo>
                <a:lnTo>
                  <a:pt x="7790" y="15919"/>
                </a:lnTo>
                <a:cubicBezTo>
                  <a:pt x="7896" y="15936"/>
                  <a:pt x="7997" y="15992"/>
                  <a:pt x="8089" y="16084"/>
                </a:cubicBezTo>
                <a:cubicBezTo>
                  <a:pt x="8148" y="16143"/>
                  <a:pt x="8203" y="16217"/>
                  <a:pt x="8250" y="16304"/>
                </a:cubicBezTo>
                <a:lnTo>
                  <a:pt x="8390" y="16623"/>
                </a:lnTo>
                <a:lnTo>
                  <a:pt x="8497" y="16783"/>
                </a:lnTo>
                <a:lnTo>
                  <a:pt x="8659" y="16893"/>
                </a:lnTo>
                <a:cubicBezTo>
                  <a:pt x="8718" y="16911"/>
                  <a:pt x="8777" y="16939"/>
                  <a:pt x="8833" y="16975"/>
                </a:cubicBezTo>
                <a:cubicBezTo>
                  <a:pt x="8886" y="17009"/>
                  <a:pt x="8937" y="17050"/>
                  <a:pt x="8986" y="17098"/>
                </a:cubicBezTo>
                <a:lnTo>
                  <a:pt x="9201" y="17368"/>
                </a:lnTo>
                <a:lnTo>
                  <a:pt x="9367" y="17642"/>
                </a:lnTo>
                <a:lnTo>
                  <a:pt x="9448" y="18069"/>
                </a:lnTo>
                <a:lnTo>
                  <a:pt x="9472" y="18476"/>
                </a:lnTo>
                <a:lnTo>
                  <a:pt x="9480" y="18860"/>
                </a:lnTo>
                <a:lnTo>
                  <a:pt x="9606" y="19231"/>
                </a:lnTo>
                <a:lnTo>
                  <a:pt x="9708" y="19433"/>
                </a:lnTo>
                <a:lnTo>
                  <a:pt x="9931" y="19550"/>
                </a:lnTo>
                <a:lnTo>
                  <a:pt x="10097" y="19631"/>
                </a:lnTo>
                <a:lnTo>
                  <a:pt x="10223" y="19645"/>
                </a:lnTo>
                <a:lnTo>
                  <a:pt x="10379" y="19791"/>
                </a:lnTo>
                <a:lnTo>
                  <a:pt x="10473" y="19924"/>
                </a:lnTo>
                <a:lnTo>
                  <a:pt x="10384" y="20183"/>
                </a:lnTo>
                <a:lnTo>
                  <a:pt x="10159" y="20128"/>
                </a:lnTo>
                <a:lnTo>
                  <a:pt x="10073" y="20243"/>
                </a:lnTo>
                <a:lnTo>
                  <a:pt x="10193" y="20472"/>
                </a:lnTo>
                <a:lnTo>
                  <a:pt x="10266" y="20815"/>
                </a:lnTo>
                <a:cubicBezTo>
                  <a:pt x="10273" y="20912"/>
                  <a:pt x="10304" y="20999"/>
                  <a:pt x="10352" y="21053"/>
                </a:cubicBezTo>
                <a:cubicBezTo>
                  <a:pt x="10384" y="21090"/>
                  <a:pt x="10423" y="21109"/>
                  <a:pt x="10462" y="21108"/>
                </a:cubicBezTo>
                <a:lnTo>
                  <a:pt x="10696" y="20998"/>
                </a:lnTo>
                <a:lnTo>
                  <a:pt x="10712" y="20701"/>
                </a:lnTo>
                <a:cubicBezTo>
                  <a:pt x="10707" y="20596"/>
                  <a:pt x="10707" y="20491"/>
                  <a:pt x="10712" y="20387"/>
                </a:cubicBezTo>
                <a:cubicBezTo>
                  <a:pt x="10716" y="20296"/>
                  <a:pt x="10724" y="20206"/>
                  <a:pt x="10736" y="20117"/>
                </a:cubicBezTo>
                <a:cubicBezTo>
                  <a:pt x="10735" y="20034"/>
                  <a:pt x="10727" y="19953"/>
                  <a:pt x="10712" y="19874"/>
                </a:cubicBezTo>
                <a:cubicBezTo>
                  <a:pt x="10684" y="19724"/>
                  <a:pt x="10633" y="19589"/>
                  <a:pt x="10564" y="19484"/>
                </a:cubicBezTo>
                <a:lnTo>
                  <a:pt x="10443" y="19117"/>
                </a:lnTo>
                <a:cubicBezTo>
                  <a:pt x="10405" y="19035"/>
                  <a:pt x="10398" y="18922"/>
                  <a:pt x="10427" y="18829"/>
                </a:cubicBezTo>
                <a:cubicBezTo>
                  <a:pt x="10451" y="18751"/>
                  <a:pt x="10497" y="18700"/>
                  <a:pt x="10548" y="18692"/>
                </a:cubicBezTo>
                <a:lnTo>
                  <a:pt x="10680" y="18705"/>
                </a:lnTo>
                <a:lnTo>
                  <a:pt x="10811" y="18765"/>
                </a:lnTo>
                <a:lnTo>
                  <a:pt x="10929" y="18911"/>
                </a:lnTo>
                <a:lnTo>
                  <a:pt x="10953" y="18597"/>
                </a:lnTo>
                <a:lnTo>
                  <a:pt x="11025" y="18391"/>
                </a:lnTo>
                <a:lnTo>
                  <a:pt x="11310" y="18336"/>
                </a:lnTo>
                <a:lnTo>
                  <a:pt x="11533" y="18336"/>
                </a:lnTo>
                <a:lnTo>
                  <a:pt x="11766" y="18570"/>
                </a:lnTo>
                <a:lnTo>
                  <a:pt x="11991" y="18469"/>
                </a:lnTo>
                <a:lnTo>
                  <a:pt x="12104" y="18400"/>
                </a:lnTo>
                <a:lnTo>
                  <a:pt x="12392" y="18317"/>
                </a:lnTo>
                <a:lnTo>
                  <a:pt x="12469" y="18171"/>
                </a:lnTo>
                <a:cubicBezTo>
                  <a:pt x="12441" y="18118"/>
                  <a:pt x="12413" y="18066"/>
                  <a:pt x="12383" y="18015"/>
                </a:cubicBezTo>
                <a:cubicBezTo>
                  <a:pt x="12320" y="17907"/>
                  <a:pt x="12252" y="17806"/>
                  <a:pt x="12181" y="17713"/>
                </a:cubicBezTo>
                <a:cubicBezTo>
                  <a:pt x="12169" y="17590"/>
                  <a:pt x="12166" y="17465"/>
                  <a:pt x="12173" y="17342"/>
                </a:cubicBezTo>
                <a:cubicBezTo>
                  <a:pt x="12182" y="17201"/>
                  <a:pt x="12204" y="17063"/>
                  <a:pt x="12238" y="16934"/>
                </a:cubicBezTo>
                <a:lnTo>
                  <a:pt x="12262" y="16700"/>
                </a:lnTo>
                <a:lnTo>
                  <a:pt x="12383" y="16233"/>
                </a:lnTo>
                <a:lnTo>
                  <a:pt x="12447" y="15904"/>
                </a:lnTo>
                <a:lnTo>
                  <a:pt x="12552" y="15455"/>
                </a:lnTo>
                <a:lnTo>
                  <a:pt x="12671" y="15194"/>
                </a:lnTo>
                <a:lnTo>
                  <a:pt x="12888" y="14822"/>
                </a:lnTo>
                <a:lnTo>
                  <a:pt x="13179" y="14607"/>
                </a:lnTo>
                <a:lnTo>
                  <a:pt x="13407" y="14414"/>
                </a:lnTo>
                <a:lnTo>
                  <a:pt x="13485" y="14588"/>
                </a:lnTo>
                <a:lnTo>
                  <a:pt x="13485" y="14898"/>
                </a:lnTo>
                <a:lnTo>
                  <a:pt x="13692" y="14926"/>
                </a:lnTo>
                <a:lnTo>
                  <a:pt x="13794" y="15008"/>
                </a:lnTo>
                <a:lnTo>
                  <a:pt x="13842" y="15254"/>
                </a:lnTo>
                <a:lnTo>
                  <a:pt x="13659" y="15264"/>
                </a:lnTo>
                <a:lnTo>
                  <a:pt x="13643" y="15414"/>
                </a:lnTo>
                <a:lnTo>
                  <a:pt x="13845" y="15703"/>
                </a:lnTo>
                <a:lnTo>
                  <a:pt x="13960" y="15946"/>
                </a:lnTo>
                <a:lnTo>
                  <a:pt x="14162" y="15979"/>
                </a:lnTo>
                <a:lnTo>
                  <a:pt x="14250" y="15857"/>
                </a:lnTo>
                <a:lnTo>
                  <a:pt x="14403" y="15678"/>
                </a:lnTo>
                <a:lnTo>
                  <a:pt x="14752" y="15546"/>
                </a:lnTo>
                <a:lnTo>
                  <a:pt x="14728" y="15315"/>
                </a:lnTo>
                <a:lnTo>
                  <a:pt x="14639" y="15250"/>
                </a:lnTo>
                <a:lnTo>
                  <a:pt x="14489" y="15305"/>
                </a:lnTo>
                <a:cubicBezTo>
                  <a:pt x="14437" y="15251"/>
                  <a:pt x="14386" y="15193"/>
                  <a:pt x="14336" y="15132"/>
                </a:cubicBezTo>
                <a:cubicBezTo>
                  <a:pt x="14301" y="15088"/>
                  <a:pt x="14266" y="15042"/>
                  <a:pt x="14232" y="14994"/>
                </a:cubicBezTo>
                <a:lnTo>
                  <a:pt x="14288" y="14817"/>
                </a:lnTo>
                <a:lnTo>
                  <a:pt x="14447" y="14721"/>
                </a:lnTo>
                <a:lnTo>
                  <a:pt x="14613" y="14569"/>
                </a:lnTo>
                <a:lnTo>
                  <a:pt x="14824" y="14382"/>
                </a:lnTo>
                <a:lnTo>
                  <a:pt x="14966" y="14231"/>
                </a:lnTo>
                <a:lnTo>
                  <a:pt x="15155" y="14089"/>
                </a:lnTo>
                <a:lnTo>
                  <a:pt x="15299" y="14048"/>
                </a:lnTo>
                <a:lnTo>
                  <a:pt x="15474" y="14204"/>
                </a:lnTo>
                <a:lnTo>
                  <a:pt x="15391" y="14386"/>
                </a:lnTo>
                <a:lnTo>
                  <a:pt x="15273" y="14666"/>
                </a:lnTo>
                <a:lnTo>
                  <a:pt x="15265" y="14990"/>
                </a:lnTo>
                <a:lnTo>
                  <a:pt x="15230" y="15325"/>
                </a:lnTo>
                <a:lnTo>
                  <a:pt x="15118" y="15517"/>
                </a:lnTo>
                <a:lnTo>
                  <a:pt x="15096" y="15705"/>
                </a:lnTo>
                <a:lnTo>
                  <a:pt x="15233" y="15800"/>
                </a:lnTo>
                <a:cubicBezTo>
                  <a:pt x="15284" y="15813"/>
                  <a:pt x="15335" y="15836"/>
                  <a:pt x="15383" y="15869"/>
                </a:cubicBezTo>
                <a:cubicBezTo>
                  <a:pt x="15456" y="15919"/>
                  <a:pt x="15524" y="15992"/>
                  <a:pt x="15582" y="16084"/>
                </a:cubicBezTo>
                <a:lnTo>
                  <a:pt x="15792" y="16341"/>
                </a:lnTo>
                <a:lnTo>
                  <a:pt x="16009" y="16409"/>
                </a:lnTo>
                <a:lnTo>
                  <a:pt x="16163" y="16684"/>
                </a:lnTo>
                <a:lnTo>
                  <a:pt x="16364" y="16863"/>
                </a:lnTo>
                <a:lnTo>
                  <a:pt x="16519" y="17063"/>
                </a:lnTo>
                <a:lnTo>
                  <a:pt x="16602" y="17384"/>
                </a:lnTo>
                <a:lnTo>
                  <a:pt x="16900" y="17421"/>
                </a:lnTo>
                <a:lnTo>
                  <a:pt x="17231" y="17499"/>
                </a:lnTo>
                <a:lnTo>
                  <a:pt x="17545" y="17705"/>
                </a:lnTo>
                <a:lnTo>
                  <a:pt x="17840" y="17980"/>
                </a:lnTo>
                <a:lnTo>
                  <a:pt x="18090" y="18259"/>
                </a:lnTo>
                <a:lnTo>
                  <a:pt x="18475" y="18575"/>
                </a:lnTo>
                <a:lnTo>
                  <a:pt x="18792" y="18777"/>
                </a:lnTo>
                <a:lnTo>
                  <a:pt x="19129" y="19050"/>
                </a:lnTo>
                <a:lnTo>
                  <a:pt x="19351" y="19182"/>
                </a:lnTo>
                <a:lnTo>
                  <a:pt x="19359" y="18839"/>
                </a:lnTo>
                <a:lnTo>
                  <a:pt x="19201" y="18353"/>
                </a:lnTo>
                <a:lnTo>
                  <a:pt x="19056" y="17804"/>
                </a:lnTo>
                <a:lnTo>
                  <a:pt x="18836" y="17575"/>
                </a:lnTo>
                <a:lnTo>
                  <a:pt x="18691" y="17287"/>
                </a:lnTo>
                <a:lnTo>
                  <a:pt x="18580" y="17027"/>
                </a:lnTo>
                <a:lnTo>
                  <a:pt x="18437" y="16793"/>
                </a:lnTo>
                <a:lnTo>
                  <a:pt x="18437" y="16531"/>
                </a:lnTo>
                <a:lnTo>
                  <a:pt x="18220" y="16330"/>
                </a:lnTo>
                <a:lnTo>
                  <a:pt x="18064" y="15973"/>
                </a:lnTo>
                <a:lnTo>
                  <a:pt x="18247" y="15607"/>
                </a:lnTo>
                <a:lnTo>
                  <a:pt x="18424" y="15318"/>
                </a:lnTo>
                <a:lnTo>
                  <a:pt x="18655" y="15304"/>
                </a:lnTo>
                <a:lnTo>
                  <a:pt x="18759" y="15057"/>
                </a:lnTo>
                <a:cubicBezTo>
                  <a:pt x="18777" y="14995"/>
                  <a:pt x="18799" y="14935"/>
                  <a:pt x="18824" y="14880"/>
                </a:cubicBezTo>
                <a:cubicBezTo>
                  <a:pt x="18871" y="14776"/>
                  <a:pt x="18929" y="14689"/>
                  <a:pt x="18996" y="14623"/>
                </a:cubicBezTo>
                <a:lnTo>
                  <a:pt x="19321" y="14418"/>
                </a:lnTo>
                <a:lnTo>
                  <a:pt x="19622" y="14295"/>
                </a:lnTo>
                <a:lnTo>
                  <a:pt x="19459" y="13998"/>
                </a:lnTo>
                <a:lnTo>
                  <a:pt x="19352" y="13728"/>
                </a:lnTo>
                <a:lnTo>
                  <a:pt x="19263" y="13311"/>
                </a:lnTo>
                <a:lnTo>
                  <a:pt x="19263" y="12674"/>
                </a:lnTo>
                <a:lnTo>
                  <a:pt x="19094" y="12413"/>
                </a:lnTo>
                <a:lnTo>
                  <a:pt x="18905" y="12303"/>
                </a:lnTo>
                <a:lnTo>
                  <a:pt x="18825" y="11587"/>
                </a:lnTo>
                <a:lnTo>
                  <a:pt x="18825" y="11300"/>
                </a:lnTo>
                <a:lnTo>
                  <a:pt x="19026" y="11176"/>
                </a:lnTo>
                <a:lnTo>
                  <a:pt x="19153" y="11204"/>
                </a:lnTo>
                <a:lnTo>
                  <a:pt x="19685" y="11492"/>
                </a:lnTo>
                <a:lnTo>
                  <a:pt x="19916" y="11286"/>
                </a:lnTo>
                <a:lnTo>
                  <a:pt x="20085" y="11176"/>
                </a:lnTo>
                <a:lnTo>
                  <a:pt x="20330" y="11204"/>
                </a:lnTo>
                <a:lnTo>
                  <a:pt x="20504" y="11392"/>
                </a:lnTo>
                <a:lnTo>
                  <a:pt x="20892" y="11571"/>
                </a:lnTo>
                <a:lnTo>
                  <a:pt x="21279" y="11763"/>
                </a:lnTo>
                <a:lnTo>
                  <a:pt x="21416" y="11557"/>
                </a:lnTo>
                <a:lnTo>
                  <a:pt x="21488" y="11250"/>
                </a:lnTo>
                <a:lnTo>
                  <a:pt x="21480" y="10939"/>
                </a:lnTo>
                <a:lnTo>
                  <a:pt x="21585" y="10788"/>
                </a:lnTo>
                <a:lnTo>
                  <a:pt x="21472" y="10615"/>
                </a:lnTo>
                <a:lnTo>
                  <a:pt x="21445" y="10409"/>
                </a:lnTo>
                <a:lnTo>
                  <a:pt x="21539" y="10161"/>
                </a:lnTo>
                <a:lnTo>
                  <a:pt x="21600" y="9773"/>
                </a:lnTo>
                <a:lnTo>
                  <a:pt x="21449" y="9398"/>
                </a:lnTo>
                <a:lnTo>
                  <a:pt x="21248" y="9192"/>
                </a:lnTo>
                <a:lnTo>
                  <a:pt x="21117" y="9270"/>
                </a:lnTo>
                <a:lnTo>
                  <a:pt x="21077" y="9513"/>
                </a:lnTo>
                <a:lnTo>
                  <a:pt x="21021" y="9718"/>
                </a:lnTo>
                <a:lnTo>
                  <a:pt x="20909" y="9814"/>
                </a:lnTo>
                <a:lnTo>
                  <a:pt x="20756" y="9882"/>
                </a:lnTo>
                <a:lnTo>
                  <a:pt x="20592" y="9662"/>
                </a:lnTo>
                <a:lnTo>
                  <a:pt x="20385" y="9355"/>
                </a:lnTo>
                <a:lnTo>
                  <a:pt x="20422" y="9122"/>
                </a:lnTo>
                <a:lnTo>
                  <a:pt x="20264" y="8894"/>
                </a:lnTo>
                <a:lnTo>
                  <a:pt x="20434" y="8637"/>
                </a:lnTo>
                <a:lnTo>
                  <a:pt x="20710" y="8587"/>
                </a:lnTo>
                <a:lnTo>
                  <a:pt x="20858" y="8416"/>
                </a:lnTo>
                <a:lnTo>
                  <a:pt x="20898" y="8128"/>
                </a:lnTo>
                <a:lnTo>
                  <a:pt x="20858" y="7798"/>
                </a:lnTo>
                <a:lnTo>
                  <a:pt x="20732" y="7675"/>
                </a:lnTo>
                <a:lnTo>
                  <a:pt x="20644" y="7355"/>
                </a:lnTo>
                <a:lnTo>
                  <a:pt x="20491" y="7121"/>
                </a:lnTo>
                <a:lnTo>
                  <a:pt x="20507" y="6709"/>
                </a:lnTo>
                <a:lnTo>
                  <a:pt x="20499" y="6365"/>
                </a:lnTo>
                <a:lnTo>
                  <a:pt x="20459" y="5985"/>
                </a:lnTo>
                <a:lnTo>
                  <a:pt x="20451" y="5531"/>
                </a:lnTo>
                <a:lnTo>
                  <a:pt x="20370" y="5106"/>
                </a:lnTo>
                <a:lnTo>
                  <a:pt x="20231" y="4810"/>
                </a:lnTo>
                <a:lnTo>
                  <a:pt x="20145" y="4182"/>
                </a:lnTo>
                <a:lnTo>
                  <a:pt x="20065" y="3716"/>
                </a:lnTo>
                <a:lnTo>
                  <a:pt x="19979" y="3404"/>
                </a:lnTo>
                <a:lnTo>
                  <a:pt x="19963" y="3062"/>
                </a:lnTo>
                <a:lnTo>
                  <a:pt x="20091" y="2842"/>
                </a:lnTo>
                <a:lnTo>
                  <a:pt x="20317" y="2737"/>
                </a:lnTo>
                <a:lnTo>
                  <a:pt x="20570" y="2546"/>
                </a:lnTo>
                <a:lnTo>
                  <a:pt x="20683" y="2340"/>
                </a:lnTo>
                <a:lnTo>
                  <a:pt x="20965" y="2162"/>
                </a:lnTo>
                <a:lnTo>
                  <a:pt x="21059" y="2043"/>
                </a:lnTo>
                <a:lnTo>
                  <a:pt x="21076" y="1814"/>
                </a:lnTo>
                <a:lnTo>
                  <a:pt x="21092" y="1581"/>
                </a:lnTo>
                <a:lnTo>
                  <a:pt x="20928" y="1371"/>
                </a:lnTo>
                <a:lnTo>
                  <a:pt x="20807" y="115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2" name="îṩḻíďè">
            <a:extLst>
              <a:ext uri="{FF2B5EF4-FFF2-40B4-BE49-F238E27FC236}">
                <a16:creationId xmlns:a16="http://schemas.microsoft.com/office/drawing/2014/main" id="{5C0DA5C1-5B7D-48F5-A225-54F3F660D9C5}"/>
              </a:ext>
            </a:extLst>
          </p:cNvPr>
          <p:cNvSpPr/>
          <p:nvPr/>
        </p:nvSpPr>
        <p:spPr>
          <a:xfrm>
            <a:off x="6798837" y="1612629"/>
            <a:ext cx="279132" cy="1625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45" y="7866"/>
                </a:moveTo>
                <a:lnTo>
                  <a:pt x="3880" y="8515"/>
                </a:lnTo>
                <a:lnTo>
                  <a:pt x="2778" y="8369"/>
                </a:lnTo>
                <a:lnTo>
                  <a:pt x="2178" y="9461"/>
                </a:lnTo>
                <a:lnTo>
                  <a:pt x="3120" y="10277"/>
                </a:lnTo>
                <a:lnTo>
                  <a:pt x="3156" y="12185"/>
                </a:lnTo>
                <a:lnTo>
                  <a:pt x="2430" y="12337"/>
                </a:lnTo>
                <a:lnTo>
                  <a:pt x="1278" y="11885"/>
                </a:lnTo>
                <a:lnTo>
                  <a:pt x="769" y="12613"/>
                </a:lnTo>
                <a:lnTo>
                  <a:pt x="566" y="13516"/>
                </a:lnTo>
                <a:lnTo>
                  <a:pt x="1354" y="13873"/>
                </a:lnTo>
                <a:lnTo>
                  <a:pt x="1463" y="14966"/>
                </a:lnTo>
                <a:lnTo>
                  <a:pt x="698" y="15754"/>
                </a:lnTo>
                <a:lnTo>
                  <a:pt x="273" y="16479"/>
                </a:lnTo>
                <a:lnTo>
                  <a:pt x="0" y="18023"/>
                </a:lnTo>
                <a:lnTo>
                  <a:pt x="841" y="18266"/>
                </a:lnTo>
                <a:lnTo>
                  <a:pt x="2336" y="18448"/>
                </a:lnTo>
                <a:lnTo>
                  <a:pt x="3297" y="19783"/>
                </a:lnTo>
                <a:lnTo>
                  <a:pt x="3987" y="20416"/>
                </a:lnTo>
                <a:lnTo>
                  <a:pt x="5126" y="21509"/>
                </a:lnTo>
                <a:lnTo>
                  <a:pt x="6761" y="21418"/>
                </a:lnTo>
                <a:lnTo>
                  <a:pt x="8539" y="21600"/>
                </a:lnTo>
                <a:lnTo>
                  <a:pt x="8021" y="19297"/>
                </a:lnTo>
                <a:lnTo>
                  <a:pt x="6548" y="18235"/>
                </a:lnTo>
                <a:lnTo>
                  <a:pt x="6499" y="15428"/>
                </a:lnTo>
                <a:lnTo>
                  <a:pt x="6997" y="13668"/>
                </a:lnTo>
                <a:lnTo>
                  <a:pt x="8012" y="10664"/>
                </a:lnTo>
                <a:lnTo>
                  <a:pt x="8386" y="8570"/>
                </a:lnTo>
                <a:lnTo>
                  <a:pt x="9594" y="6965"/>
                </a:lnTo>
                <a:lnTo>
                  <a:pt x="10818" y="7328"/>
                </a:lnTo>
                <a:lnTo>
                  <a:pt x="12132" y="6430"/>
                </a:lnTo>
                <a:lnTo>
                  <a:pt x="13272" y="5308"/>
                </a:lnTo>
                <a:lnTo>
                  <a:pt x="14533" y="4941"/>
                </a:lnTo>
                <a:lnTo>
                  <a:pt x="16291" y="4582"/>
                </a:lnTo>
                <a:cubicBezTo>
                  <a:pt x="16608" y="4821"/>
                  <a:pt x="16969" y="4821"/>
                  <a:pt x="17286" y="4583"/>
                </a:cubicBezTo>
                <a:cubicBezTo>
                  <a:pt x="17607" y="4341"/>
                  <a:pt x="17852" y="3877"/>
                  <a:pt x="17960" y="3308"/>
                </a:cubicBezTo>
                <a:lnTo>
                  <a:pt x="19113" y="3551"/>
                </a:lnTo>
                <a:lnTo>
                  <a:pt x="19985" y="3581"/>
                </a:lnTo>
                <a:lnTo>
                  <a:pt x="20338" y="2523"/>
                </a:lnTo>
                <a:lnTo>
                  <a:pt x="21351" y="2592"/>
                </a:lnTo>
                <a:lnTo>
                  <a:pt x="21600" y="1704"/>
                </a:lnTo>
                <a:lnTo>
                  <a:pt x="20641" y="1406"/>
                </a:lnTo>
                <a:lnTo>
                  <a:pt x="20071" y="705"/>
                </a:lnTo>
                <a:lnTo>
                  <a:pt x="18972" y="0"/>
                </a:lnTo>
                <a:lnTo>
                  <a:pt x="18514" y="430"/>
                </a:lnTo>
                <a:lnTo>
                  <a:pt x="18354" y="1523"/>
                </a:lnTo>
                <a:lnTo>
                  <a:pt x="17731" y="802"/>
                </a:lnTo>
                <a:lnTo>
                  <a:pt x="16469" y="984"/>
                </a:lnTo>
                <a:lnTo>
                  <a:pt x="15528" y="1617"/>
                </a:lnTo>
                <a:lnTo>
                  <a:pt x="14947" y="2494"/>
                </a:lnTo>
                <a:lnTo>
                  <a:pt x="13721" y="2312"/>
                </a:lnTo>
                <a:lnTo>
                  <a:pt x="11020" y="2130"/>
                </a:lnTo>
                <a:lnTo>
                  <a:pt x="9792" y="2039"/>
                </a:lnTo>
                <a:lnTo>
                  <a:pt x="8352" y="2392"/>
                </a:lnTo>
                <a:lnTo>
                  <a:pt x="7818" y="3025"/>
                </a:lnTo>
                <a:lnTo>
                  <a:pt x="6699" y="4565"/>
                </a:lnTo>
                <a:lnTo>
                  <a:pt x="5633" y="4656"/>
                </a:lnTo>
                <a:lnTo>
                  <a:pt x="4834" y="5829"/>
                </a:lnTo>
                <a:lnTo>
                  <a:pt x="4445" y="786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3" name="iSḻîḑé">
            <a:extLst>
              <a:ext uri="{FF2B5EF4-FFF2-40B4-BE49-F238E27FC236}">
                <a16:creationId xmlns:a16="http://schemas.microsoft.com/office/drawing/2014/main" id="{ABA2860A-A53A-4030-8655-73E4056F6041}"/>
              </a:ext>
            </a:extLst>
          </p:cNvPr>
          <p:cNvSpPr/>
          <p:nvPr/>
        </p:nvSpPr>
        <p:spPr>
          <a:xfrm>
            <a:off x="5890992" y="1521674"/>
            <a:ext cx="324001" cy="123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036" y="2810"/>
                </a:moveTo>
                <a:lnTo>
                  <a:pt x="18126" y="2696"/>
                </a:lnTo>
                <a:lnTo>
                  <a:pt x="15876" y="2514"/>
                </a:lnTo>
                <a:lnTo>
                  <a:pt x="14560" y="2399"/>
                </a:lnTo>
                <a:lnTo>
                  <a:pt x="13964" y="607"/>
                </a:lnTo>
                <a:lnTo>
                  <a:pt x="13265" y="0"/>
                </a:lnTo>
                <a:lnTo>
                  <a:pt x="13209" y="2844"/>
                </a:lnTo>
                <a:lnTo>
                  <a:pt x="12490" y="2839"/>
                </a:lnTo>
                <a:lnTo>
                  <a:pt x="12105" y="3909"/>
                </a:lnTo>
                <a:lnTo>
                  <a:pt x="12121" y="6612"/>
                </a:lnTo>
                <a:lnTo>
                  <a:pt x="11757" y="7673"/>
                </a:lnTo>
                <a:lnTo>
                  <a:pt x="11102" y="6284"/>
                </a:lnTo>
                <a:lnTo>
                  <a:pt x="11237" y="3700"/>
                </a:lnTo>
                <a:lnTo>
                  <a:pt x="10419" y="2546"/>
                </a:lnTo>
                <a:lnTo>
                  <a:pt x="9953" y="4134"/>
                </a:lnTo>
                <a:lnTo>
                  <a:pt x="9148" y="5886"/>
                </a:lnTo>
                <a:lnTo>
                  <a:pt x="7705" y="5408"/>
                </a:lnTo>
                <a:lnTo>
                  <a:pt x="6697" y="5288"/>
                </a:lnTo>
                <a:lnTo>
                  <a:pt x="6009" y="4218"/>
                </a:lnTo>
                <a:lnTo>
                  <a:pt x="5379" y="3745"/>
                </a:lnTo>
                <a:lnTo>
                  <a:pt x="2617" y="4347"/>
                </a:lnTo>
                <a:lnTo>
                  <a:pt x="1144" y="3636"/>
                </a:lnTo>
                <a:lnTo>
                  <a:pt x="135" y="4591"/>
                </a:lnTo>
                <a:lnTo>
                  <a:pt x="0" y="6851"/>
                </a:lnTo>
                <a:lnTo>
                  <a:pt x="1109" y="8265"/>
                </a:lnTo>
                <a:lnTo>
                  <a:pt x="1858" y="9728"/>
                </a:lnTo>
                <a:lnTo>
                  <a:pt x="2773" y="10918"/>
                </a:lnTo>
                <a:lnTo>
                  <a:pt x="3798" y="10560"/>
                </a:lnTo>
                <a:lnTo>
                  <a:pt x="4488" y="11864"/>
                </a:lnTo>
                <a:lnTo>
                  <a:pt x="5238" y="12297"/>
                </a:lnTo>
                <a:lnTo>
                  <a:pt x="5238" y="9037"/>
                </a:lnTo>
                <a:lnTo>
                  <a:pt x="6816" y="8599"/>
                </a:lnTo>
                <a:lnTo>
                  <a:pt x="6769" y="11506"/>
                </a:lnTo>
                <a:lnTo>
                  <a:pt x="6906" y="13288"/>
                </a:lnTo>
                <a:lnTo>
                  <a:pt x="4182" y="13367"/>
                </a:lnTo>
                <a:lnTo>
                  <a:pt x="4105" y="14562"/>
                </a:lnTo>
                <a:lnTo>
                  <a:pt x="4611" y="15358"/>
                </a:lnTo>
                <a:lnTo>
                  <a:pt x="5606" y="16747"/>
                </a:lnTo>
                <a:lnTo>
                  <a:pt x="7302" y="19415"/>
                </a:lnTo>
                <a:lnTo>
                  <a:pt x="8040" y="21600"/>
                </a:lnTo>
                <a:lnTo>
                  <a:pt x="8822" y="21485"/>
                </a:lnTo>
                <a:lnTo>
                  <a:pt x="9465" y="18116"/>
                </a:lnTo>
                <a:lnTo>
                  <a:pt x="9649" y="15258"/>
                </a:lnTo>
                <a:lnTo>
                  <a:pt x="10369" y="13745"/>
                </a:lnTo>
                <a:lnTo>
                  <a:pt x="11287" y="14343"/>
                </a:lnTo>
                <a:lnTo>
                  <a:pt x="11640" y="11993"/>
                </a:lnTo>
                <a:lnTo>
                  <a:pt x="11640" y="9136"/>
                </a:lnTo>
                <a:lnTo>
                  <a:pt x="13126" y="8703"/>
                </a:lnTo>
                <a:lnTo>
                  <a:pt x="14029" y="10490"/>
                </a:lnTo>
                <a:lnTo>
                  <a:pt x="14715" y="12003"/>
                </a:lnTo>
                <a:lnTo>
                  <a:pt x="14303" y="13193"/>
                </a:lnTo>
                <a:lnTo>
                  <a:pt x="13891" y="14507"/>
                </a:lnTo>
                <a:lnTo>
                  <a:pt x="14441" y="16856"/>
                </a:lnTo>
                <a:lnTo>
                  <a:pt x="15346" y="16264"/>
                </a:lnTo>
                <a:lnTo>
                  <a:pt x="15759" y="14472"/>
                </a:lnTo>
                <a:lnTo>
                  <a:pt x="16864" y="14472"/>
                </a:lnTo>
                <a:lnTo>
                  <a:pt x="17370" y="15303"/>
                </a:lnTo>
                <a:lnTo>
                  <a:pt x="17732" y="17409"/>
                </a:lnTo>
                <a:lnTo>
                  <a:pt x="18407" y="16692"/>
                </a:lnTo>
                <a:lnTo>
                  <a:pt x="19503" y="15398"/>
                </a:lnTo>
                <a:lnTo>
                  <a:pt x="18539" y="14208"/>
                </a:lnTo>
                <a:lnTo>
                  <a:pt x="18004" y="13969"/>
                </a:lnTo>
                <a:lnTo>
                  <a:pt x="17870" y="12460"/>
                </a:lnTo>
                <a:lnTo>
                  <a:pt x="17136" y="11630"/>
                </a:lnTo>
                <a:lnTo>
                  <a:pt x="15759" y="11037"/>
                </a:lnTo>
                <a:lnTo>
                  <a:pt x="14891" y="9608"/>
                </a:lnTo>
                <a:lnTo>
                  <a:pt x="14017" y="8334"/>
                </a:lnTo>
                <a:lnTo>
                  <a:pt x="13655" y="7742"/>
                </a:lnTo>
                <a:lnTo>
                  <a:pt x="13563" y="5253"/>
                </a:lnTo>
                <a:lnTo>
                  <a:pt x="14253" y="4895"/>
                </a:lnTo>
                <a:lnTo>
                  <a:pt x="14864" y="7105"/>
                </a:lnTo>
                <a:lnTo>
                  <a:pt x="16948" y="7941"/>
                </a:lnTo>
                <a:lnTo>
                  <a:pt x="18002" y="8891"/>
                </a:lnTo>
                <a:lnTo>
                  <a:pt x="19472" y="7458"/>
                </a:lnTo>
                <a:lnTo>
                  <a:pt x="20699" y="6542"/>
                </a:lnTo>
                <a:lnTo>
                  <a:pt x="21374" y="4805"/>
                </a:lnTo>
                <a:lnTo>
                  <a:pt x="21600" y="3028"/>
                </a:lnTo>
                <a:lnTo>
                  <a:pt x="21036" y="281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4" name="íŝ1îḑé">
            <a:extLst>
              <a:ext uri="{FF2B5EF4-FFF2-40B4-BE49-F238E27FC236}">
                <a16:creationId xmlns:a16="http://schemas.microsoft.com/office/drawing/2014/main" id="{E229D3EF-2A6F-4A3A-986C-42D7780128AC}"/>
              </a:ext>
            </a:extLst>
          </p:cNvPr>
          <p:cNvSpPr/>
          <p:nvPr/>
        </p:nvSpPr>
        <p:spPr>
          <a:xfrm>
            <a:off x="5119148" y="1886512"/>
            <a:ext cx="206894" cy="847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41" y="270"/>
                </a:moveTo>
                <a:lnTo>
                  <a:pt x="15742" y="0"/>
                </a:lnTo>
                <a:lnTo>
                  <a:pt x="14405" y="1481"/>
                </a:lnTo>
                <a:lnTo>
                  <a:pt x="12187" y="4101"/>
                </a:lnTo>
                <a:lnTo>
                  <a:pt x="10897" y="4101"/>
                </a:lnTo>
                <a:lnTo>
                  <a:pt x="8628" y="1546"/>
                </a:lnTo>
                <a:lnTo>
                  <a:pt x="6724" y="2070"/>
                </a:lnTo>
                <a:lnTo>
                  <a:pt x="5296" y="4167"/>
                </a:lnTo>
                <a:lnTo>
                  <a:pt x="1948" y="7428"/>
                </a:lnTo>
                <a:lnTo>
                  <a:pt x="1232" y="7428"/>
                </a:lnTo>
                <a:lnTo>
                  <a:pt x="0" y="9510"/>
                </a:lnTo>
                <a:lnTo>
                  <a:pt x="92" y="13288"/>
                </a:lnTo>
                <a:lnTo>
                  <a:pt x="773" y="15544"/>
                </a:lnTo>
                <a:lnTo>
                  <a:pt x="2067" y="12989"/>
                </a:lnTo>
                <a:lnTo>
                  <a:pt x="3646" y="15959"/>
                </a:lnTo>
                <a:cubicBezTo>
                  <a:pt x="4278" y="16734"/>
                  <a:pt x="4893" y="17587"/>
                  <a:pt x="5489" y="18514"/>
                </a:cubicBezTo>
                <a:cubicBezTo>
                  <a:pt x="6102" y="19467"/>
                  <a:pt x="6694" y="20497"/>
                  <a:pt x="7263" y="21600"/>
                </a:cubicBezTo>
                <a:lnTo>
                  <a:pt x="8821" y="21600"/>
                </a:lnTo>
                <a:lnTo>
                  <a:pt x="10787" y="16890"/>
                </a:lnTo>
                <a:lnTo>
                  <a:pt x="12583" y="16890"/>
                </a:lnTo>
                <a:lnTo>
                  <a:pt x="15533" y="16716"/>
                </a:lnTo>
                <a:lnTo>
                  <a:pt x="17142" y="13513"/>
                </a:lnTo>
                <a:lnTo>
                  <a:pt x="18721" y="10914"/>
                </a:lnTo>
                <a:lnTo>
                  <a:pt x="20955" y="10041"/>
                </a:lnTo>
                <a:lnTo>
                  <a:pt x="21600" y="8323"/>
                </a:lnTo>
                <a:lnTo>
                  <a:pt x="20688" y="4902"/>
                </a:lnTo>
                <a:lnTo>
                  <a:pt x="19658" y="3045"/>
                </a:lnTo>
                <a:lnTo>
                  <a:pt x="18823" y="1655"/>
                </a:lnTo>
                <a:lnTo>
                  <a:pt x="17441" y="27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5" name="işlîďê">
            <a:extLst>
              <a:ext uri="{FF2B5EF4-FFF2-40B4-BE49-F238E27FC236}">
                <a16:creationId xmlns:a16="http://schemas.microsoft.com/office/drawing/2014/main" id="{952CDEFF-69F7-4807-91EB-37AABD6DE94D}"/>
              </a:ext>
            </a:extLst>
          </p:cNvPr>
          <p:cNvSpPr/>
          <p:nvPr/>
        </p:nvSpPr>
        <p:spPr>
          <a:xfrm>
            <a:off x="5479861" y="1770610"/>
            <a:ext cx="37350" cy="181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176" y="0"/>
                </a:moveTo>
                <a:lnTo>
                  <a:pt x="10983" y="4657"/>
                </a:lnTo>
                <a:lnTo>
                  <a:pt x="5919" y="4185"/>
                </a:lnTo>
                <a:lnTo>
                  <a:pt x="0" y="5818"/>
                </a:lnTo>
                <a:lnTo>
                  <a:pt x="17" y="18606"/>
                </a:lnTo>
                <a:lnTo>
                  <a:pt x="11091" y="21600"/>
                </a:lnTo>
                <a:lnTo>
                  <a:pt x="21600" y="16735"/>
                </a:lnTo>
                <a:lnTo>
                  <a:pt x="21483" y="2347"/>
                </a:lnTo>
                <a:lnTo>
                  <a:pt x="15176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6" name="íşlïḋé">
            <a:extLst>
              <a:ext uri="{FF2B5EF4-FFF2-40B4-BE49-F238E27FC236}">
                <a16:creationId xmlns:a16="http://schemas.microsoft.com/office/drawing/2014/main" id="{D5F862FF-5139-4040-84FC-35792BF702DD}"/>
              </a:ext>
            </a:extLst>
          </p:cNvPr>
          <p:cNvSpPr/>
          <p:nvPr/>
        </p:nvSpPr>
        <p:spPr>
          <a:xfrm>
            <a:off x="5490315" y="1984645"/>
            <a:ext cx="31816" cy="20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779" y="0"/>
                </a:moveTo>
                <a:lnTo>
                  <a:pt x="0" y="1898"/>
                </a:lnTo>
                <a:lnTo>
                  <a:pt x="497" y="14515"/>
                </a:lnTo>
                <a:lnTo>
                  <a:pt x="10043" y="15938"/>
                </a:lnTo>
                <a:lnTo>
                  <a:pt x="21600" y="21600"/>
                </a:lnTo>
                <a:lnTo>
                  <a:pt x="18457" y="5083"/>
                </a:lnTo>
                <a:lnTo>
                  <a:pt x="9779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7" name="islíḓe">
            <a:extLst>
              <a:ext uri="{FF2B5EF4-FFF2-40B4-BE49-F238E27FC236}">
                <a16:creationId xmlns:a16="http://schemas.microsoft.com/office/drawing/2014/main" id="{342A8D94-1E46-4DB1-AAA9-E1699D37212C}"/>
              </a:ext>
            </a:extLst>
          </p:cNvPr>
          <p:cNvSpPr/>
          <p:nvPr/>
        </p:nvSpPr>
        <p:spPr>
          <a:xfrm>
            <a:off x="5493900" y="2007693"/>
            <a:ext cx="1931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70" y="2345"/>
                </a:moveTo>
                <a:lnTo>
                  <a:pt x="2749" y="0"/>
                </a:lnTo>
                <a:lnTo>
                  <a:pt x="0" y="17437"/>
                </a:lnTo>
                <a:lnTo>
                  <a:pt x="16227" y="21600"/>
                </a:lnTo>
                <a:lnTo>
                  <a:pt x="21600" y="10871"/>
                </a:lnTo>
                <a:lnTo>
                  <a:pt x="12170" y="234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8" name="íṥľïḓê">
            <a:extLst>
              <a:ext uri="{FF2B5EF4-FFF2-40B4-BE49-F238E27FC236}">
                <a16:creationId xmlns:a16="http://schemas.microsoft.com/office/drawing/2014/main" id="{3A43DB02-41B9-45EB-B485-DA00FCA192F2}"/>
              </a:ext>
            </a:extLst>
          </p:cNvPr>
          <p:cNvSpPr/>
          <p:nvPr/>
        </p:nvSpPr>
        <p:spPr>
          <a:xfrm>
            <a:off x="5354718" y="2212922"/>
            <a:ext cx="128000" cy="1238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382" y="115"/>
                </a:moveTo>
                <a:lnTo>
                  <a:pt x="11359" y="0"/>
                </a:lnTo>
                <a:lnTo>
                  <a:pt x="9153" y="2568"/>
                </a:lnTo>
                <a:lnTo>
                  <a:pt x="6986" y="4361"/>
                </a:lnTo>
                <a:lnTo>
                  <a:pt x="4456" y="4002"/>
                </a:lnTo>
                <a:lnTo>
                  <a:pt x="1440" y="5073"/>
                </a:lnTo>
                <a:lnTo>
                  <a:pt x="1800" y="7574"/>
                </a:lnTo>
                <a:lnTo>
                  <a:pt x="3652" y="8406"/>
                </a:lnTo>
                <a:lnTo>
                  <a:pt x="4457" y="9915"/>
                </a:lnTo>
                <a:lnTo>
                  <a:pt x="3642" y="11583"/>
                </a:lnTo>
                <a:lnTo>
                  <a:pt x="2953" y="12535"/>
                </a:lnTo>
                <a:lnTo>
                  <a:pt x="2371" y="14995"/>
                </a:lnTo>
                <a:lnTo>
                  <a:pt x="42" y="15588"/>
                </a:lnTo>
                <a:lnTo>
                  <a:pt x="0" y="17102"/>
                </a:lnTo>
                <a:lnTo>
                  <a:pt x="974" y="18138"/>
                </a:lnTo>
                <a:lnTo>
                  <a:pt x="1672" y="20768"/>
                </a:lnTo>
                <a:lnTo>
                  <a:pt x="3483" y="21600"/>
                </a:lnTo>
                <a:lnTo>
                  <a:pt x="5773" y="20165"/>
                </a:lnTo>
                <a:lnTo>
                  <a:pt x="8334" y="18253"/>
                </a:lnTo>
                <a:lnTo>
                  <a:pt x="10697" y="17097"/>
                </a:lnTo>
                <a:cubicBezTo>
                  <a:pt x="11878" y="17476"/>
                  <a:pt x="13148" y="17434"/>
                  <a:pt x="14302" y="16978"/>
                </a:cubicBezTo>
                <a:cubicBezTo>
                  <a:pt x="14998" y="16703"/>
                  <a:pt x="15630" y="16284"/>
                  <a:pt x="16161" y="15748"/>
                </a:cubicBezTo>
                <a:cubicBezTo>
                  <a:pt x="16616" y="15267"/>
                  <a:pt x="16972" y="14698"/>
                  <a:pt x="17209" y="14074"/>
                </a:cubicBezTo>
                <a:cubicBezTo>
                  <a:pt x="17751" y="12641"/>
                  <a:pt x="17639" y="11035"/>
                  <a:pt x="16903" y="9696"/>
                </a:cubicBezTo>
                <a:lnTo>
                  <a:pt x="17252" y="7434"/>
                </a:lnTo>
                <a:lnTo>
                  <a:pt x="18650" y="5686"/>
                </a:lnTo>
                <a:lnTo>
                  <a:pt x="20358" y="4730"/>
                </a:lnTo>
                <a:lnTo>
                  <a:pt x="21600" y="2658"/>
                </a:lnTo>
                <a:lnTo>
                  <a:pt x="19703" y="870"/>
                </a:lnTo>
                <a:lnTo>
                  <a:pt x="16922" y="162"/>
                </a:lnTo>
                <a:lnTo>
                  <a:pt x="15382" y="115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9" name="îSlîḑé">
            <a:extLst>
              <a:ext uri="{FF2B5EF4-FFF2-40B4-BE49-F238E27FC236}">
                <a16:creationId xmlns:a16="http://schemas.microsoft.com/office/drawing/2014/main" id="{41A8E7D0-A678-48B1-A159-F810A1AE0F6D}"/>
              </a:ext>
            </a:extLst>
          </p:cNvPr>
          <p:cNvSpPr/>
          <p:nvPr/>
        </p:nvSpPr>
        <p:spPr>
          <a:xfrm>
            <a:off x="5472854" y="2125240"/>
            <a:ext cx="187167" cy="2457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288" y="0"/>
                </a:moveTo>
                <a:lnTo>
                  <a:pt x="5027" y="806"/>
                </a:lnTo>
                <a:lnTo>
                  <a:pt x="3705" y="828"/>
                </a:lnTo>
                <a:lnTo>
                  <a:pt x="3047" y="1789"/>
                </a:lnTo>
                <a:lnTo>
                  <a:pt x="3106" y="2665"/>
                </a:lnTo>
                <a:lnTo>
                  <a:pt x="2104" y="3622"/>
                </a:lnTo>
                <a:lnTo>
                  <a:pt x="2256" y="4561"/>
                </a:lnTo>
                <a:lnTo>
                  <a:pt x="3288" y="5341"/>
                </a:lnTo>
                <a:lnTo>
                  <a:pt x="4241" y="6303"/>
                </a:lnTo>
                <a:lnTo>
                  <a:pt x="3288" y="6900"/>
                </a:lnTo>
                <a:lnTo>
                  <a:pt x="3129" y="7663"/>
                </a:lnTo>
                <a:cubicBezTo>
                  <a:pt x="3378" y="7883"/>
                  <a:pt x="3663" y="8077"/>
                  <a:pt x="3979" y="8241"/>
                </a:cubicBezTo>
                <a:cubicBezTo>
                  <a:pt x="4404" y="8461"/>
                  <a:pt x="4878" y="8624"/>
                  <a:pt x="5379" y="8720"/>
                </a:cubicBezTo>
                <a:lnTo>
                  <a:pt x="6013" y="7816"/>
                </a:lnTo>
                <a:lnTo>
                  <a:pt x="7340" y="7877"/>
                </a:lnTo>
                <a:lnTo>
                  <a:pt x="8475" y="8655"/>
                </a:lnTo>
                <a:lnTo>
                  <a:pt x="8475" y="9799"/>
                </a:lnTo>
                <a:cubicBezTo>
                  <a:pt x="8649" y="10161"/>
                  <a:pt x="8756" y="10540"/>
                  <a:pt x="8794" y="10924"/>
                </a:cubicBezTo>
                <a:cubicBezTo>
                  <a:pt x="8852" y="11516"/>
                  <a:pt x="8744" y="12110"/>
                  <a:pt x="8478" y="12668"/>
                </a:cubicBezTo>
                <a:lnTo>
                  <a:pt x="6756" y="12970"/>
                </a:lnTo>
                <a:lnTo>
                  <a:pt x="5830" y="13030"/>
                </a:lnTo>
                <a:lnTo>
                  <a:pt x="3796" y="13504"/>
                </a:lnTo>
                <a:lnTo>
                  <a:pt x="3975" y="14368"/>
                </a:lnTo>
                <a:lnTo>
                  <a:pt x="4901" y="14529"/>
                </a:lnTo>
                <a:lnTo>
                  <a:pt x="4662" y="15465"/>
                </a:lnTo>
                <a:lnTo>
                  <a:pt x="3020" y="15884"/>
                </a:lnTo>
                <a:lnTo>
                  <a:pt x="2091" y="16123"/>
                </a:lnTo>
                <a:lnTo>
                  <a:pt x="3022" y="16841"/>
                </a:lnTo>
                <a:lnTo>
                  <a:pt x="4564" y="17538"/>
                </a:lnTo>
                <a:lnTo>
                  <a:pt x="5725" y="17538"/>
                </a:lnTo>
                <a:lnTo>
                  <a:pt x="8134" y="17880"/>
                </a:lnTo>
                <a:lnTo>
                  <a:pt x="8426" y="18623"/>
                </a:lnTo>
                <a:lnTo>
                  <a:pt x="7232" y="19258"/>
                </a:lnTo>
                <a:lnTo>
                  <a:pt x="4232" y="19559"/>
                </a:lnTo>
                <a:lnTo>
                  <a:pt x="2642" y="20099"/>
                </a:lnTo>
                <a:lnTo>
                  <a:pt x="735" y="20340"/>
                </a:lnTo>
                <a:lnTo>
                  <a:pt x="0" y="21060"/>
                </a:lnTo>
                <a:lnTo>
                  <a:pt x="502" y="21600"/>
                </a:lnTo>
                <a:lnTo>
                  <a:pt x="2782" y="21359"/>
                </a:lnTo>
                <a:cubicBezTo>
                  <a:pt x="3310" y="21133"/>
                  <a:pt x="3861" y="20938"/>
                  <a:pt x="4428" y="20777"/>
                </a:cubicBezTo>
                <a:cubicBezTo>
                  <a:pt x="5234" y="20547"/>
                  <a:pt x="6071" y="20386"/>
                  <a:pt x="6924" y="20295"/>
                </a:cubicBezTo>
                <a:lnTo>
                  <a:pt x="8622" y="20174"/>
                </a:lnTo>
                <a:lnTo>
                  <a:pt x="11277" y="19873"/>
                </a:lnTo>
                <a:lnTo>
                  <a:pt x="12657" y="19753"/>
                </a:lnTo>
                <a:lnTo>
                  <a:pt x="14884" y="19050"/>
                </a:lnTo>
                <a:lnTo>
                  <a:pt x="16583" y="19391"/>
                </a:lnTo>
                <a:lnTo>
                  <a:pt x="19689" y="19030"/>
                </a:lnTo>
                <a:lnTo>
                  <a:pt x="18335" y="18548"/>
                </a:lnTo>
                <a:lnTo>
                  <a:pt x="16662" y="17767"/>
                </a:lnTo>
                <a:lnTo>
                  <a:pt x="21520" y="16502"/>
                </a:lnTo>
                <a:lnTo>
                  <a:pt x="21600" y="15842"/>
                </a:lnTo>
                <a:lnTo>
                  <a:pt x="21042" y="14238"/>
                </a:lnTo>
                <a:lnTo>
                  <a:pt x="19695" y="14120"/>
                </a:lnTo>
                <a:lnTo>
                  <a:pt x="18773" y="15157"/>
                </a:lnTo>
                <a:lnTo>
                  <a:pt x="16954" y="14916"/>
                </a:lnTo>
                <a:cubicBezTo>
                  <a:pt x="16658" y="14546"/>
                  <a:pt x="16446" y="14141"/>
                  <a:pt x="16327" y="13718"/>
                </a:cubicBezTo>
                <a:cubicBezTo>
                  <a:pt x="16175" y="13182"/>
                  <a:pt x="16175" y="12628"/>
                  <a:pt x="16327" y="12092"/>
                </a:cubicBezTo>
                <a:cubicBezTo>
                  <a:pt x="16208" y="11609"/>
                  <a:pt x="15994" y="11142"/>
                  <a:pt x="15690" y="10709"/>
                </a:cubicBezTo>
                <a:cubicBezTo>
                  <a:pt x="15360" y="10238"/>
                  <a:pt x="14929" y="9811"/>
                  <a:pt x="14416" y="9446"/>
                </a:cubicBezTo>
                <a:lnTo>
                  <a:pt x="13327" y="7779"/>
                </a:lnTo>
                <a:lnTo>
                  <a:pt x="10543" y="6097"/>
                </a:lnTo>
                <a:lnTo>
                  <a:pt x="8818" y="6097"/>
                </a:lnTo>
                <a:lnTo>
                  <a:pt x="7603" y="5799"/>
                </a:lnTo>
                <a:cubicBezTo>
                  <a:pt x="7249" y="5554"/>
                  <a:pt x="7071" y="5196"/>
                  <a:pt x="7125" y="4835"/>
                </a:cubicBezTo>
                <a:cubicBezTo>
                  <a:pt x="7216" y="4226"/>
                  <a:pt x="7901" y="3767"/>
                  <a:pt x="8711" y="3773"/>
                </a:cubicBezTo>
                <a:lnTo>
                  <a:pt x="10301" y="2689"/>
                </a:lnTo>
                <a:lnTo>
                  <a:pt x="8469" y="2151"/>
                </a:lnTo>
                <a:lnTo>
                  <a:pt x="6346" y="1730"/>
                </a:lnTo>
                <a:lnTo>
                  <a:pt x="6979" y="1072"/>
                </a:lnTo>
                <a:lnTo>
                  <a:pt x="7431" y="111"/>
                </a:lnTo>
                <a:lnTo>
                  <a:pt x="6288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40" name="í$ľïḋe">
            <a:extLst>
              <a:ext uri="{FF2B5EF4-FFF2-40B4-BE49-F238E27FC236}">
                <a16:creationId xmlns:a16="http://schemas.microsoft.com/office/drawing/2014/main" id="{9E0D45BE-3FBE-4FFF-9AC9-9769FE3A54B0}"/>
              </a:ext>
            </a:extLst>
          </p:cNvPr>
          <p:cNvSpPr/>
          <p:nvPr/>
        </p:nvSpPr>
        <p:spPr>
          <a:xfrm>
            <a:off x="5502211" y="2233618"/>
            <a:ext cx="14800" cy="191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05" y="858"/>
                </a:moveTo>
                <a:lnTo>
                  <a:pt x="0" y="8854"/>
                </a:lnTo>
                <a:lnTo>
                  <a:pt x="5633" y="18505"/>
                </a:lnTo>
                <a:lnTo>
                  <a:pt x="16548" y="21600"/>
                </a:lnTo>
                <a:lnTo>
                  <a:pt x="21600" y="10060"/>
                </a:lnTo>
                <a:lnTo>
                  <a:pt x="18861" y="0"/>
                </a:lnTo>
                <a:lnTo>
                  <a:pt x="4405" y="85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1" name="íSļide">
            <a:extLst>
              <a:ext uri="{FF2B5EF4-FFF2-40B4-BE49-F238E27FC236}">
                <a16:creationId xmlns:a16="http://schemas.microsoft.com/office/drawing/2014/main" id="{F80015AE-B330-4BF9-B2B5-3A7C20B8E3B2}"/>
              </a:ext>
            </a:extLst>
          </p:cNvPr>
          <p:cNvSpPr/>
          <p:nvPr/>
        </p:nvSpPr>
        <p:spPr>
          <a:xfrm>
            <a:off x="5521770" y="2385689"/>
            <a:ext cx="1607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214" y="0"/>
                </a:moveTo>
                <a:lnTo>
                  <a:pt x="0" y="6137"/>
                </a:lnTo>
                <a:lnTo>
                  <a:pt x="4727" y="21600"/>
                </a:lnTo>
                <a:lnTo>
                  <a:pt x="21600" y="12940"/>
                </a:lnTo>
                <a:lnTo>
                  <a:pt x="1321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2" name="ïsḷiḑè">
            <a:extLst>
              <a:ext uri="{FF2B5EF4-FFF2-40B4-BE49-F238E27FC236}">
                <a16:creationId xmlns:a16="http://schemas.microsoft.com/office/drawing/2014/main" id="{E88C461A-63CE-4AC4-A09E-55208612E672}"/>
              </a:ext>
            </a:extLst>
          </p:cNvPr>
          <p:cNvSpPr/>
          <p:nvPr/>
        </p:nvSpPr>
        <p:spPr>
          <a:xfrm>
            <a:off x="5544747" y="2390712"/>
            <a:ext cx="14800" cy="1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4630" y="1789"/>
                </a:lnTo>
                <a:lnTo>
                  <a:pt x="0" y="17575"/>
                </a:lnTo>
                <a:lnTo>
                  <a:pt x="16425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3" name="íS1ïḋe">
            <a:extLst>
              <a:ext uri="{FF2B5EF4-FFF2-40B4-BE49-F238E27FC236}">
                <a16:creationId xmlns:a16="http://schemas.microsoft.com/office/drawing/2014/main" id="{30299A28-C499-4C4B-8E59-2A9E5054F261}"/>
              </a:ext>
            </a:extLst>
          </p:cNvPr>
          <p:cNvSpPr/>
          <p:nvPr/>
        </p:nvSpPr>
        <p:spPr>
          <a:xfrm>
            <a:off x="5651831" y="2689841"/>
            <a:ext cx="35713" cy="415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245" h="21188" extrusionOk="0">
                <a:moveTo>
                  <a:pt x="11664" y="4816"/>
                </a:moveTo>
                <a:lnTo>
                  <a:pt x="9025" y="9331"/>
                </a:lnTo>
                <a:lnTo>
                  <a:pt x="6223" y="14637"/>
                </a:lnTo>
                <a:lnTo>
                  <a:pt x="0" y="13938"/>
                </a:lnTo>
                <a:lnTo>
                  <a:pt x="635" y="18481"/>
                </a:lnTo>
                <a:lnTo>
                  <a:pt x="7824" y="19865"/>
                </a:lnTo>
                <a:cubicBezTo>
                  <a:pt x="10049" y="21332"/>
                  <a:pt x="12992" y="21600"/>
                  <a:pt x="15502" y="20564"/>
                </a:cubicBezTo>
                <a:cubicBezTo>
                  <a:pt x="19950" y="18729"/>
                  <a:pt x="21600" y="13831"/>
                  <a:pt x="19023" y="10107"/>
                </a:cubicBezTo>
                <a:lnTo>
                  <a:pt x="19415" y="0"/>
                </a:lnTo>
                <a:lnTo>
                  <a:pt x="11664" y="481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4" name="i$1íďê">
            <a:extLst>
              <a:ext uri="{FF2B5EF4-FFF2-40B4-BE49-F238E27FC236}">
                <a16:creationId xmlns:a16="http://schemas.microsoft.com/office/drawing/2014/main" id="{860686D5-3FF7-447E-823E-30DA3F40A786}"/>
              </a:ext>
            </a:extLst>
          </p:cNvPr>
          <p:cNvSpPr/>
          <p:nvPr/>
        </p:nvSpPr>
        <p:spPr>
          <a:xfrm>
            <a:off x="5840133" y="2600943"/>
            <a:ext cx="29559" cy="474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661" y="1731"/>
                </a:moveTo>
                <a:lnTo>
                  <a:pt x="11853" y="5894"/>
                </a:lnTo>
                <a:lnTo>
                  <a:pt x="4206" y="5101"/>
                </a:lnTo>
                <a:lnTo>
                  <a:pt x="0" y="9460"/>
                </a:lnTo>
                <a:lnTo>
                  <a:pt x="168" y="14442"/>
                </a:lnTo>
                <a:cubicBezTo>
                  <a:pt x="2798" y="15061"/>
                  <a:pt x="5194" y="16010"/>
                  <a:pt x="7206" y="17228"/>
                </a:cubicBezTo>
                <a:cubicBezTo>
                  <a:pt x="9251" y="18466"/>
                  <a:pt x="10854" y="19955"/>
                  <a:pt x="11913" y="21600"/>
                </a:cubicBezTo>
                <a:lnTo>
                  <a:pt x="21600" y="20338"/>
                </a:lnTo>
                <a:lnTo>
                  <a:pt x="21600" y="12245"/>
                </a:lnTo>
                <a:lnTo>
                  <a:pt x="20591" y="5088"/>
                </a:lnTo>
                <a:lnTo>
                  <a:pt x="18069" y="0"/>
                </a:lnTo>
                <a:lnTo>
                  <a:pt x="13661" y="1731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5" name="îṧľîḑe">
            <a:extLst>
              <a:ext uri="{FF2B5EF4-FFF2-40B4-BE49-F238E27FC236}">
                <a16:creationId xmlns:a16="http://schemas.microsoft.com/office/drawing/2014/main" id="{611A1BB3-9581-4E1E-9AA9-06A74CF9B154}"/>
              </a:ext>
            </a:extLst>
          </p:cNvPr>
          <p:cNvSpPr/>
          <p:nvPr/>
        </p:nvSpPr>
        <p:spPr>
          <a:xfrm>
            <a:off x="5828588" y="2665732"/>
            <a:ext cx="40100" cy="700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55" h="21324" extrusionOk="0">
                <a:moveTo>
                  <a:pt x="8993" y="0"/>
                </a:moveTo>
                <a:lnTo>
                  <a:pt x="4720" y="2328"/>
                </a:lnTo>
                <a:lnTo>
                  <a:pt x="264" y="4061"/>
                </a:lnTo>
                <a:lnTo>
                  <a:pt x="0" y="7596"/>
                </a:lnTo>
                <a:lnTo>
                  <a:pt x="4908" y="9951"/>
                </a:lnTo>
                <a:lnTo>
                  <a:pt x="4908" y="14304"/>
                </a:lnTo>
                <a:lnTo>
                  <a:pt x="7308" y="16172"/>
                </a:lnTo>
                <a:lnTo>
                  <a:pt x="8380" y="19699"/>
                </a:lnTo>
                <a:cubicBezTo>
                  <a:pt x="8501" y="20496"/>
                  <a:pt x="9534" y="21148"/>
                  <a:pt x="10902" y="21289"/>
                </a:cubicBezTo>
                <a:cubicBezTo>
                  <a:pt x="13902" y="21600"/>
                  <a:pt x="16165" y="19752"/>
                  <a:pt x="14647" y="18231"/>
                </a:cubicBezTo>
                <a:lnTo>
                  <a:pt x="18270" y="17605"/>
                </a:lnTo>
                <a:cubicBezTo>
                  <a:pt x="19422" y="16417"/>
                  <a:pt x="20233" y="15129"/>
                  <a:pt x="20671" y="13792"/>
                </a:cubicBezTo>
                <a:cubicBezTo>
                  <a:pt x="21600" y="10953"/>
                  <a:pt x="20834" y="8017"/>
                  <a:pt x="18496" y="5460"/>
                </a:cubicBezTo>
                <a:lnTo>
                  <a:pt x="18149" y="907"/>
                </a:lnTo>
                <a:lnTo>
                  <a:pt x="8993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6" name="íṡḻidé">
            <a:extLst>
              <a:ext uri="{FF2B5EF4-FFF2-40B4-BE49-F238E27FC236}">
                <a16:creationId xmlns:a16="http://schemas.microsoft.com/office/drawing/2014/main" id="{FF0435D0-3A06-4492-8B4A-3837E91FA69F}"/>
              </a:ext>
            </a:extLst>
          </p:cNvPr>
          <p:cNvSpPr/>
          <p:nvPr/>
        </p:nvSpPr>
        <p:spPr>
          <a:xfrm>
            <a:off x="5950918" y="2760128"/>
            <a:ext cx="79122" cy="424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34" extrusionOk="0">
                <a:moveTo>
                  <a:pt x="7882" y="0"/>
                </a:moveTo>
                <a:lnTo>
                  <a:pt x="5685" y="3441"/>
                </a:lnTo>
                <a:lnTo>
                  <a:pt x="1488" y="2877"/>
                </a:lnTo>
                <a:lnTo>
                  <a:pt x="0" y="5287"/>
                </a:lnTo>
                <a:lnTo>
                  <a:pt x="2117" y="8371"/>
                </a:lnTo>
                <a:lnTo>
                  <a:pt x="8892" y="11123"/>
                </a:lnTo>
                <a:lnTo>
                  <a:pt x="13224" y="15942"/>
                </a:lnTo>
                <a:lnTo>
                  <a:pt x="17549" y="21334"/>
                </a:lnTo>
                <a:lnTo>
                  <a:pt x="19418" y="15125"/>
                </a:lnTo>
                <a:lnTo>
                  <a:pt x="19418" y="11123"/>
                </a:lnTo>
                <a:lnTo>
                  <a:pt x="21600" y="5502"/>
                </a:lnTo>
                <a:cubicBezTo>
                  <a:pt x="21188" y="3626"/>
                  <a:pt x="20374" y="2139"/>
                  <a:pt x="19348" y="1386"/>
                </a:cubicBezTo>
                <a:cubicBezTo>
                  <a:pt x="17095" y="-266"/>
                  <a:pt x="14537" y="1740"/>
                  <a:pt x="13641" y="5861"/>
                </a:cubicBezTo>
                <a:lnTo>
                  <a:pt x="11263" y="1414"/>
                </a:lnTo>
                <a:lnTo>
                  <a:pt x="7882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7" name="îśľíďé">
            <a:extLst>
              <a:ext uri="{FF2B5EF4-FFF2-40B4-BE49-F238E27FC236}">
                <a16:creationId xmlns:a16="http://schemas.microsoft.com/office/drawing/2014/main" id="{381A5FB4-08A2-4C8C-B222-FAE815D684F8}"/>
              </a:ext>
            </a:extLst>
          </p:cNvPr>
          <p:cNvSpPr/>
          <p:nvPr/>
        </p:nvSpPr>
        <p:spPr>
          <a:xfrm>
            <a:off x="5988491" y="2826485"/>
            <a:ext cx="17534" cy="153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74" y="1048"/>
                </a:moveTo>
                <a:lnTo>
                  <a:pt x="1426" y="0"/>
                </a:lnTo>
                <a:lnTo>
                  <a:pt x="0" y="17702"/>
                </a:lnTo>
                <a:lnTo>
                  <a:pt x="21600" y="21600"/>
                </a:lnTo>
                <a:lnTo>
                  <a:pt x="15774" y="104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8" name="iṥľïḍé">
            <a:extLst>
              <a:ext uri="{FF2B5EF4-FFF2-40B4-BE49-F238E27FC236}">
                <a16:creationId xmlns:a16="http://schemas.microsoft.com/office/drawing/2014/main" id="{DE187C83-F0FA-4571-A5FD-A93D8FFEFCB0}"/>
              </a:ext>
            </a:extLst>
          </p:cNvPr>
          <p:cNvSpPr/>
          <p:nvPr/>
        </p:nvSpPr>
        <p:spPr>
          <a:xfrm>
            <a:off x="6260510" y="2841400"/>
            <a:ext cx="88049" cy="304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5" h="19779" extrusionOk="0">
                <a:moveTo>
                  <a:pt x="12434" y="4397"/>
                </a:moveTo>
                <a:lnTo>
                  <a:pt x="7006" y="2044"/>
                </a:lnTo>
                <a:lnTo>
                  <a:pt x="3364" y="1828"/>
                </a:lnTo>
                <a:cubicBezTo>
                  <a:pt x="2241" y="-1757"/>
                  <a:pt x="29" y="279"/>
                  <a:pt x="0" y="4926"/>
                </a:cubicBezTo>
                <a:cubicBezTo>
                  <a:pt x="-35" y="10379"/>
                  <a:pt x="2718" y="12346"/>
                  <a:pt x="3736" y="7595"/>
                </a:cubicBezTo>
                <a:lnTo>
                  <a:pt x="6269" y="12491"/>
                </a:lnTo>
                <a:lnTo>
                  <a:pt x="8797" y="17829"/>
                </a:lnTo>
                <a:cubicBezTo>
                  <a:pt x="10237" y="18722"/>
                  <a:pt x="11702" y="19311"/>
                  <a:pt x="13178" y="19590"/>
                </a:cubicBezTo>
                <a:cubicBezTo>
                  <a:pt x="14509" y="19843"/>
                  <a:pt x="15846" y="19843"/>
                  <a:pt x="17178" y="19590"/>
                </a:cubicBezTo>
                <a:lnTo>
                  <a:pt x="21565" y="16031"/>
                </a:lnTo>
                <a:lnTo>
                  <a:pt x="21234" y="9358"/>
                </a:lnTo>
                <a:cubicBezTo>
                  <a:pt x="20150" y="10055"/>
                  <a:pt x="19031" y="10305"/>
                  <a:pt x="17917" y="10099"/>
                </a:cubicBezTo>
                <a:cubicBezTo>
                  <a:pt x="16919" y="9915"/>
                  <a:pt x="15935" y="9366"/>
                  <a:pt x="14995" y="8468"/>
                </a:cubicBezTo>
                <a:lnTo>
                  <a:pt x="12434" y="4397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9" name="îṥḻiḑê">
            <a:extLst>
              <a:ext uri="{FF2B5EF4-FFF2-40B4-BE49-F238E27FC236}">
                <a16:creationId xmlns:a16="http://schemas.microsoft.com/office/drawing/2014/main" id="{8A34C80E-6C99-4571-8542-B81BF7503967}"/>
              </a:ext>
            </a:extLst>
          </p:cNvPr>
          <p:cNvSpPr/>
          <p:nvPr/>
        </p:nvSpPr>
        <p:spPr>
          <a:xfrm>
            <a:off x="6104715" y="2051031"/>
            <a:ext cx="29307" cy="24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95" h="21600" extrusionOk="0">
                <a:moveTo>
                  <a:pt x="13981" y="0"/>
                </a:moveTo>
                <a:lnTo>
                  <a:pt x="5719" y="857"/>
                </a:lnTo>
                <a:lnTo>
                  <a:pt x="0" y="11369"/>
                </a:lnTo>
                <a:lnTo>
                  <a:pt x="5962" y="17640"/>
                </a:lnTo>
                <a:lnTo>
                  <a:pt x="14301" y="21600"/>
                </a:lnTo>
                <a:cubicBezTo>
                  <a:pt x="17054" y="20527"/>
                  <a:pt x="19207" y="17865"/>
                  <a:pt x="20066" y="14472"/>
                </a:cubicBezTo>
                <a:cubicBezTo>
                  <a:pt x="21600" y="8411"/>
                  <a:pt x="18887" y="1959"/>
                  <a:pt x="13981" y="0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0" name="ïş1ïḑe">
            <a:extLst>
              <a:ext uri="{FF2B5EF4-FFF2-40B4-BE49-F238E27FC236}">
                <a16:creationId xmlns:a16="http://schemas.microsoft.com/office/drawing/2014/main" id="{253D261F-4281-4FAE-A092-24069E2C9C4A}"/>
              </a:ext>
            </a:extLst>
          </p:cNvPr>
          <p:cNvSpPr/>
          <p:nvPr/>
        </p:nvSpPr>
        <p:spPr>
          <a:xfrm>
            <a:off x="8918889" y="4393451"/>
            <a:ext cx="1196212" cy="9139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7" extrusionOk="0">
                <a:moveTo>
                  <a:pt x="5954" y="5356"/>
                </a:moveTo>
                <a:lnTo>
                  <a:pt x="5796" y="5869"/>
                </a:lnTo>
                <a:lnTo>
                  <a:pt x="5503" y="6311"/>
                </a:lnTo>
                <a:lnTo>
                  <a:pt x="5365" y="6483"/>
                </a:lnTo>
                <a:lnTo>
                  <a:pt x="5082" y="6656"/>
                </a:lnTo>
                <a:lnTo>
                  <a:pt x="4719" y="6834"/>
                </a:lnTo>
                <a:lnTo>
                  <a:pt x="4278" y="6893"/>
                </a:lnTo>
                <a:lnTo>
                  <a:pt x="3867" y="6963"/>
                </a:lnTo>
                <a:lnTo>
                  <a:pt x="3605" y="7152"/>
                </a:lnTo>
                <a:lnTo>
                  <a:pt x="3201" y="7421"/>
                </a:lnTo>
                <a:lnTo>
                  <a:pt x="2840" y="7616"/>
                </a:lnTo>
                <a:lnTo>
                  <a:pt x="2159" y="7891"/>
                </a:lnTo>
                <a:lnTo>
                  <a:pt x="1627" y="8085"/>
                </a:lnTo>
                <a:lnTo>
                  <a:pt x="1116" y="8295"/>
                </a:lnTo>
                <a:lnTo>
                  <a:pt x="1025" y="8677"/>
                </a:lnTo>
                <a:lnTo>
                  <a:pt x="980" y="8983"/>
                </a:lnTo>
                <a:lnTo>
                  <a:pt x="880" y="9313"/>
                </a:lnTo>
                <a:lnTo>
                  <a:pt x="718" y="9572"/>
                </a:lnTo>
                <a:lnTo>
                  <a:pt x="742" y="9911"/>
                </a:lnTo>
                <a:lnTo>
                  <a:pt x="766" y="10200"/>
                </a:lnTo>
                <a:lnTo>
                  <a:pt x="887" y="10459"/>
                </a:lnTo>
                <a:lnTo>
                  <a:pt x="982" y="10658"/>
                </a:lnTo>
                <a:lnTo>
                  <a:pt x="945" y="10981"/>
                </a:lnTo>
                <a:lnTo>
                  <a:pt x="804" y="11271"/>
                </a:lnTo>
                <a:lnTo>
                  <a:pt x="643" y="11837"/>
                </a:lnTo>
                <a:lnTo>
                  <a:pt x="607" y="12409"/>
                </a:lnTo>
                <a:lnTo>
                  <a:pt x="619" y="12825"/>
                </a:lnTo>
                <a:lnTo>
                  <a:pt x="619" y="14159"/>
                </a:lnTo>
                <a:lnTo>
                  <a:pt x="657" y="14449"/>
                </a:lnTo>
                <a:lnTo>
                  <a:pt x="756" y="14821"/>
                </a:lnTo>
                <a:lnTo>
                  <a:pt x="756" y="15123"/>
                </a:lnTo>
                <a:lnTo>
                  <a:pt x="806" y="15510"/>
                </a:lnTo>
                <a:lnTo>
                  <a:pt x="856" y="15799"/>
                </a:lnTo>
                <a:lnTo>
                  <a:pt x="756" y="16171"/>
                </a:lnTo>
                <a:lnTo>
                  <a:pt x="620" y="16478"/>
                </a:lnTo>
                <a:lnTo>
                  <a:pt x="546" y="16734"/>
                </a:lnTo>
                <a:lnTo>
                  <a:pt x="484" y="17052"/>
                </a:lnTo>
                <a:lnTo>
                  <a:pt x="393" y="17251"/>
                </a:lnTo>
                <a:lnTo>
                  <a:pt x="218" y="17348"/>
                </a:lnTo>
                <a:lnTo>
                  <a:pt x="0" y="17440"/>
                </a:lnTo>
                <a:lnTo>
                  <a:pt x="75" y="17639"/>
                </a:lnTo>
                <a:lnTo>
                  <a:pt x="148" y="17822"/>
                </a:lnTo>
                <a:lnTo>
                  <a:pt x="409" y="18166"/>
                </a:lnTo>
                <a:lnTo>
                  <a:pt x="717" y="18165"/>
                </a:lnTo>
                <a:lnTo>
                  <a:pt x="954" y="18364"/>
                </a:lnTo>
                <a:lnTo>
                  <a:pt x="1202" y="18316"/>
                </a:lnTo>
                <a:lnTo>
                  <a:pt x="1439" y="18047"/>
                </a:lnTo>
                <a:lnTo>
                  <a:pt x="1767" y="17901"/>
                </a:lnTo>
                <a:lnTo>
                  <a:pt x="2169" y="17804"/>
                </a:lnTo>
                <a:lnTo>
                  <a:pt x="2597" y="17535"/>
                </a:lnTo>
                <a:lnTo>
                  <a:pt x="2792" y="17454"/>
                </a:lnTo>
                <a:lnTo>
                  <a:pt x="3078" y="17389"/>
                </a:lnTo>
                <a:lnTo>
                  <a:pt x="3572" y="17373"/>
                </a:lnTo>
                <a:lnTo>
                  <a:pt x="3783" y="17308"/>
                </a:lnTo>
                <a:lnTo>
                  <a:pt x="4016" y="17260"/>
                </a:lnTo>
                <a:lnTo>
                  <a:pt x="4277" y="17211"/>
                </a:lnTo>
                <a:cubicBezTo>
                  <a:pt x="4368" y="17227"/>
                  <a:pt x="4461" y="17227"/>
                  <a:pt x="4552" y="17211"/>
                </a:cubicBezTo>
                <a:cubicBezTo>
                  <a:pt x="4646" y="17194"/>
                  <a:pt x="4738" y="17159"/>
                  <a:pt x="4825" y="17108"/>
                </a:cubicBezTo>
                <a:lnTo>
                  <a:pt x="5149" y="16802"/>
                </a:lnTo>
                <a:lnTo>
                  <a:pt x="5410" y="16608"/>
                </a:lnTo>
                <a:lnTo>
                  <a:pt x="5793" y="16451"/>
                </a:lnTo>
                <a:lnTo>
                  <a:pt x="6066" y="16339"/>
                </a:lnTo>
                <a:lnTo>
                  <a:pt x="6419" y="16236"/>
                </a:lnTo>
                <a:lnTo>
                  <a:pt x="7073" y="16033"/>
                </a:lnTo>
                <a:lnTo>
                  <a:pt x="7555" y="15812"/>
                </a:lnTo>
                <a:lnTo>
                  <a:pt x="7812" y="15893"/>
                </a:lnTo>
                <a:lnTo>
                  <a:pt x="8156" y="15925"/>
                </a:lnTo>
                <a:lnTo>
                  <a:pt x="8413" y="15764"/>
                </a:lnTo>
                <a:cubicBezTo>
                  <a:pt x="8514" y="15721"/>
                  <a:pt x="8618" y="15693"/>
                  <a:pt x="8724" y="15683"/>
                </a:cubicBezTo>
                <a:cubicBezTo>
                  <a:pt x="8850" y="15670"/>
                  <a:pt x="8977" y="15680"/>
                  <a:pt x="9101" y="15714"/>
                </a:cubicBezTo>
                <a:lnTo>
                  <a:pt x="9309" y="15811"/>
                </a:lnTo>
                <a:lnTo>
                  <a:pt x="9665" y="16129"/>
                </a:lnTo>
                <a:lnTo>
                  <a:pt x="9802" y="16323"/>
                </a:lnTo>
                <a:lnTo>
                  <a:pt x="10014" y="16431"/>
                </a:lnTo>
                <a:cubicBezTo>
                  <a:pt x="10054" y="16535"/>
                  <a:pt x="10087" y="16643"/>
                  <a:pt x="10112" y="16754"/>
                </a:cubicBezTo>
                <a:cubicBezTo>
                  <a:pt x="10146" y="16901"/>
                  <a:pt x="10167" y="17052"/>
                  <a:pt x="10174" y="17205"/>
                </a:cubicBezTo>
                <a:lnTo>
                  <a:pt x="10302" y="17344"/>
                </a:lnTo>
                <a:lnTo>
                  <a:pt x="10401" y="17554"/>
                </a:lnTo>
                <a:lnTo>
                  <a:pt x="10451" y="17811"/>
                </a:lnTo>
                <a:lnTo>
                  <a:pt x="10476" y="18064"/>
                </a:lnTo>
                <a:lnTo>
                  <a:pt x="10688" y="18145"/>
                </a:lnTo>
                <a:lnTo>
                  <a:pt x="10787" y="17837"/>
                </a:lnTo>
                <a:lnTo>
                  <a:pt x="10899" y="17643"/>
                </a:lnTo>
                <a:lnTo>
                  <a:pt x="11281" y="17568"/>
                </a:lnTo>
                <a:lnTo>
                  <a:pt x="11514" y="17330"/>
                </a:lnTo>
                <a:lnTo>
                  <a:pt x="11659" y="16996"/>
                </a:lnTo>
                <a:lnTo>
                  <a:pt x="11759" y="16727"/>
                </a:lnTo>
                <a:lnTo>
                  <a:pt x="11983" y="16727"/>
                </a:lnTo>
                <a:lnTo>
                  <a:pt x="12102" y="16986"/>
                </a:lnTo>
                <a:lnTo>
                  <a:pt x="12069" y="17282"/>
                </a:lnTo>
                <a:lnTo>
                  <a:pt x="11874" y="17524"/>
                </a:lnTo>
                <a:lnTo>
                  <a:pt x="11654" y="17767"/>
                </a:lnTo>
                <a:lnTo>
                  <a:pt x="11510" y="17972"/>
                </a:lnTo>
                <a:lnTo>
                  <a:pt x="11473" y="18225"/>
                </a:lnTo>
                <a:lnTo>
                  <a:pt x="11274" y="18418"/>
                </a:lnTo>
                <a:lnTo>
                  <a:pt x="11125" y="18467"/>
                </a:lnTo>
                <a:lnTo>
                  <a:pt x="11188" y="18634"/>
                </a:lnTo>
                <a:lnTo>
                  <a:pt x="11336" y="18634"/>
                </a:lnTo>
                <a:lnTo>
                  <a:pt x="11507" y="18537"/>
                </a:lnTo>
                <a:lnTo>
                  <a:pt x="11648" y="18208"/>
                </a:lnTo>
                <a:lnTo>
                  <a:pt x="11859" y="17966"/>
                </a:lnTo>
                <a:lnTo>
                  <a:pt x="11982" y="17997"/>
                </a:lnTo>
                <a:lnTo>
                  <a:pt x="12028" y="18234"/>
                </a:lnTo>
                <a:lnTo>
                  <a:pt x="12003" y="18557"/>
                </a:lnTo>
                <a:lnTo>
                  <a:pt x="11990" y="18719"/>
                </a:lnTo>
                <a:lnTo>
                  <a:pt x="12143" y="18913"/>
                </a:lnTo>
                <a:lnTo>
                  <a:pt x="12243" y="19251"/>
                </a:lnTo>
                <a:lnTo>
                  <a:pt x="12130" y="19639"/>
                </a:lnTo>
                <a:lnTo>
                  <a:pt x="12031" y="19855"/>
                </a:lnTo>
                <a:lnTo>
                  <a:pt x="11944" y="20096"/>
                </a:lnTo>
                <a:lnTo>
                  <a:pt x="12193" y="20469"/>
                </a:lnTo>
                <a:lnTo>
                  <a:pt x="12600" y="20760"/>
                </a:lnTo>
                <a:lnTo>
                  <a:pt x="12912" y="21094"/>
                </a:lnTo>
                <a:lnTo>
                  <a:pt x="13119" y="21142"/>
                </a:lnTo>
                <a:lnTo>
                  <a:pt x="13372" y="21202"/>
                </a:lnTo>
                <a:cubicBezTo>
                  <a:pt x="13427" y="21195"/>
                  <a:pt x="13481" y="21173"/>
                  <a:pt x="13529" y="21138"/>
                </a:cubicBezTo>
                <a:cubicBezTo>
                  <a:pt x="13608" y="21080"/>
                  <a:pt x="13669" y="20988"/>
                  <a:pt x="13703" y="20879"/>
                </a:cubicBezTo>
                <a:lnTo>
                  <a:pt x="13911" y="20820"/>
                </a:lnTo>
                <a:lnTo>
                  <a:pt x="14131" y="20831"/>
                </a:lnTo>
                <a:lnTo>
                  <a:pt x="14366" y="21000"/>
                </a:lnTo>
                <a:lnTo>
                  <a:pt x="14503" y="21323"/>
                </a:lnTo>
                <a:cubicBezTo>
                  <a:pt x="14516" y="21451"/>
                  <a:pt x="14589" y="21554"/>
                  <a:pt x="14686" y="21581"/>
                </a:cubicBezTo>
                <a:cubicBezTo>
                  <a:pt x="14755" y="21600"/>
                  <a:pt x="14827" y="21576"/>
                  <a:pt x="14881" y="21516"/>
                </a:cubicBezTo>
                <a:lnTo>
                  <a:pt x="15117" y="21042"/>
                </a:lnTo>
                <a:cubicBezTo>
                  <a:pt x="15153" y="20962"/>
                  <a:pt x="15199" y="20891"/>
                  <a:pt x="15254" y="20832"/>
                </a:cubicBezTo>
                <a:cubicBezTo>
                  <a:pt x="15361" y="20715"/>
                  <a:pt x="15495" y="20649"/>
                  <a:pt x="15635" y="20643"/>
                </a:cubicBezTo>
                <a:lnTo>
                  <a:pt x="15896" y="20578"/>
                </a:lnTo>
                <a:lnTo>
                  <a:pt x="16108" y="20578"/>
                </a:lnTo>
                <a:lnTo>
                  <a:pt x="16320" y="20708"/>
                </a:lnTo>
                <a:cubicBezTo>
                  <a:pt x="16368" y="20765"/>
                  <a:pt x="16429" y="20799"/>
                  <a:pt x="16494" y="20805"/>
                </a:cubicBezTo>
                <a:cubicBezTo>
                  <a:pt x="16587" y="20814"/>
                  <a:pt x="16677" y="20766"/>
                  <a:pt x="16739" y="20676"/>
                </a:cubicBezTo>
                <a:lnTo>
                  <a:pt x="16988" y="20110"/>
                </a:lnTo>
                <a:lnTo>
                  <a:pt x="17250" y="19592"/>
                </a:lnTo>
                <a:cubicBezTo>
                  <a:pt x="17331" y="19471"/>
                  <a:pt x="17410" y="19347"/>
                  <a:pt x="17487" y="19220"/>
                </a:cubicBezTo>
                <a:cubicBezTo>
                  <a:pt x="17562" y="19095"/>
                  <a:pt x="17636" y="18967"/>
                  <a:pt x="17707" y="18837"/>
                </a:cubicBezTo>
                <a:lnTo>
                  <a:pt x="18063" y="18805"/>
                </a:lnTo>
                <a:lnTo>
                  <a:pt x="18151" y="18627"/>
                </a:lnTo>
                <a:lnTo>
                  <a:pt x="18358" y="18341"/>
                </a:lnTo>
                <a:lnTo>
                  <a:pt x="18454" y="18136"/>
                </a:lnTo>
                <a:lnTo>
                  <a:pt x="18691" y="17893"/>
                </a:lnTo>
                <a:cubicBezTo>
                  <a:pt x="18717" y="17817"/>
                  <a:pt x="18736" y="17738"/>
                  <a:pt x="18748" y="17656"/>
                </a:cubicBezTo>
                <a:cubicBezTo>
                  <a:pt x="18765" y="17543"/>
                  <a:pt x="18767" y="17423"/>
                  <a:pt x="18810" y="17321"/>
                </a:cubicBezTo>
                <a:cubicBezTo>
                  <a:pt x="18860" y="17203"/>
                  <a:pt x="18955" y="17129"/>
                  <a:pt x="19059" y="17127"/>
                </a:cubicBezTo>
                <a:lnTo>
                  <a:pt x="19413" y="16924"/>
                </a:lnTo>
                <a:lnTo>
                  <a:pt x="19787" y="16655"/>
                </a:lnTo>
                <a:lnTo>
                  <a:pt x="19874" y="16445"/>
                </a:lnTo>
                <a:lnTo>
                  <a:pt x="20023" y="16251"/>
                </a:lnTo>
                <a:lnTo>
                  <a:pt x="20285" y="15880"/>
                </a:lnTo>
                <a:lnTo>
                  <a:pt x="20451" y="15642"/>
                </a:lnTo>
                <a:lnTo>
                  <a:pt x="20476" y="15370"/>
                </a:lnTo>
                <a:cubicBezTo>
                  <a:pt x="20512" y="15250"/>
                  <a:pt x="20553" y="15133"/>
                  <a:pt x="20601" y="15020"/>
                </a:cubicBezTo>
                <a:cubicBezTo>
                  <a:pt x="20671" y="14852"/>
                  <a:pt x="20753" y="14693"/>
                  <a:pt x="20846" y="14545"/>
                </a:cubicBezTo>
                <a:cubicBezTo>
                  <a:pt x="20913" y="14433"/>
                  <a:pt x="20979" y="14320"/>
                  <a:pt x="21045" y="14206"/>
                </a:cubicBezTo>
                <a:cubicBezTo>
                  <a:pt x="21111" y="14091"/>
                  <a:pt x="21176" y="13976"/>
                  <a:pt x="21240" y="13860"/>
                </a:cubicBezTo>
                <a:cubicBezTo>
                  <a:pt x="21281" y="13719"/>
                  <a:pt x="21310" y="13572"/>
                  <a:pt x="21327" y="13423"/>
                </a:cubicBezTo>
                <a:cubicBezTo>
                  <a:pt x="21345" y="13266"/>
                  <a:pt x="21349" y="13107"/>
                  <a:pt x="21340" y="12948"/>
                </a:cubicBezTo>
                <a:lnTo>
                  <a:pt x="21550" y="12563"/>
                </a:lnTo>
                <a:cubicBezTo>
                  <a:pt x="21536" y="12461"/>
                  <a:pt x="21532" y="12358"/>
                  <a:pt x="21538" y="12255"/>
                </a:cubicBezTo>
                <a:cubicBezTo>
                  <a:pt x="21545" y="12135"/>
                  <a:pt x="21566" y="12016"/>
                  <a:pt x="21600" y="11904"/>
                </a:cubicBezTo>
                <a:lnTo>
                  <a:pt x="21600" y="11340"/>
                </a:lnTo>
                <a:lnTo>
                  <a:pt x="21538" y="11038"/>
                </a:lnTo>
                <a:lnTo>
                  <a:pt x="21389" y="10617"/>
                </a:lnTo>
                <a:lnTo>
                  <a:pt x="21281" y="10240"/>
                </a:lnTo>
                <a:lnTo>
                  <a:pt x="21028" y="9986"/>
                </a:lnTo>
                <a:lnTo>
                  <a:pt x="20791" y="9581"/>
                </a:lnTo>
                <a:lnTo>
                  <a:pt x="20733" y="9333"/>
                </a:lnTo>
                <a:lnTo>
                  <a:pt x="20397" y="8721"/>
                </a:lnTo>
                <a:lnTo>
                  <a:pt x="20297" y="8091"/>
                </a:lnTo>
                <a:lnTo>
                  <a:pt x="20106" y="7525"/>
                </a:lnTo>
                <a:lnTo>
                  <a:pt x="19820" y="6996"/>
                </a:lnTo>
                <a:lnTo>
                  <a:pt x="19620" y="6527"/>
                </a:lnTo>
                <a:lnTo>
                  <a:pt x="19210" y="6155"/>
                </a:lnTo>
                <a:lnTo>
                  <a:pt x="18886" y="5767"/>
                </a:lnTo>
                <a:cubicBezTo>
                  <a:pt x="18800" y="5685"/>
                  <a:pt x="18761" y="5544"/>
                  <a:pt x="18786" y="5410"/>
                </a:cubicBezTo>
                <a:cubicBezTo>
                  <a:pt x="18811" y="5280"/>
                  <a:pt x="18892" y="5181"/>
                  <a:pt x="18994" y="5157"/>
                </a:cubicBezTo>
                <a:lnTo>
                  <a:pt x="19055" y="4833"/>
                </a:lnTo>
                <a:lnTo>
                  <a:pt x="19055" y="4472"/>
                </a:lnTo>
                <a:lnTo>
                  <a:pt x="19217" y="4028"/>
                </a:lnTo>
                <a:lnTo>
                  <a:pt x="19027" y="3743"/>
                </a:lnTo>
                <a:lnTo>
                  <a:pt x="18969" y="3459"/>
                </a:lnTo>
                <a:lnTo>
                  <a:pt x="18936" y="3040"/>
                </a:lnTo>
                <a:lnTo>
                  <a:pt x="18737" y="2634"/>
                </a:lnTo>
                <a:lnTo>
                  <a:pt x="18500" y="2250"/>
                </a:lnTo>
                <a:lnTo>
                  <a:pt x="18264" y="1878"/>
                </a:lnTo>
                <a:cubicBezTo>
                  <a:pt x="18190" y="1776"/>
                  <a:pt x="18127" y="1662"/>
                  <a:pt x="18077" y="1539"/>
                </a:cubicBezTo>
                <a:cubicBezTo>
                  <a:pt x="17997" y="1344"/>
                  <a:pt x="17951" y="1129"/>
                  <a:pt x="17940" y="908"/>
                </a:cubicBezTo>
                <a:lnTo>
                  <a:pt x="17870" y="312"/>
                </a:lnTo>
                <a:lnTo>
                  <a:pt x="17679" y="0"/>
                </a:lnTo>
                <a:lnTo>
                  <a:pt x="17497" y="117"/>
                </a:lnTo>
                <a:lnTo>
                  <a:pt x="17298" y="441"/>
                </a:lnTo>
                <a:lnTo>
                  <a:pt x="17198" y="989"/>
                </a:lnTo>
                <a:lnTo>
                  <a:pt x="17173" y="1475"/>
                </a:lnTo>
                <a:lnTo>
                  <a:pt x="17090" y="1927"/>
                </a:lnTo>
                <a:lnTo>
                  <a:pt x="17016" y="2271"/>
                </a:lnTo>
                <a:lnTo>
                  <a:pt x="17003" y="2864"/>
                </a:lnTo>
                <a:lnTo>
                  <a:pt x="17016" y="3290"/>
                </a:lnTo>
                <a:cubicBezTo>
                  <a:pt x="16998" y="3361"/>
                  <a:pt x="16974" y="3430"/>
                  <a:pt x="16945" y="3495"/>
                </a:cubicBezTo>
                <a:cubicBezTo>
                  <a:pt x="16886" y="3627"/>
                  <a:pt x="16805" y="3742"/>
                  <a:pt x="16709" y="3829"/>
                </a:cubicBezTo>
                <a:lnTo>
                  <a:pt x="16476" y="4223"/>
                </a:lnTo>
                <a:lnTo>
                  <a:pt x="16090" y="4596"/>
                </a:lnTo>
                <a:lnTo>
                  <a:pt x="16028" y="4804"/>
                </a:lnTo>
                <a:lnTo>
                  <a:pt x="15868" y="4980"/>
                </a:lnTo>
                <a:lnTo>
                  <a:pt x="15471" y="4872"/>
                </a:lnTo>
                <a:lnTo>
                  <a:pt x="15263" y="4420"/>
                </a:lnTo>
                <a:lnTo>
                  <a:pt x="14941" y="4258"/>
                </a:lnTo>
                <a:lnTo>
                  <a:pt x="14663" y="4053"/>
                </a:lnTo>
                <a:lnTo>
                  <a:pt x="14476" y="3794"/>
                </a:lnTo>
                <a:lnTo>
                  <a:pt x="14089" y="3470"/>
                </a:lnTo>
                <a:lnTo>
                  <a:pt x="13749" y="3330"/>
                </a:lnTo>
                <a:lnTo>
                  <a:pt x="13637" y="2925"/>
                </a:lnTo>
                <a:lnTo>
                  <a:pt x="13637" y="2180"/>
                </a:lnTo>
                <a:lnTo>
                  <a:pt x="13757" y="1862"/>
                </a:lnTo>
                <a:lnTo>
                  <a:pt x="13894" y="1668"/>
                </a:lnTo>
                <a:lnTo>
                  <a:pt x="14093" y="1328"/>
                </a:lnTo>
                <a:lnTo>
                  <a:pt x="14301" y="1036"/>
                </a:lnTo>
                <a:lnTo>
                  <a:pt x="14077" y="799"/>
                </a:lnTo>
                <a:lnTo>
                  <a:pt x="13671" y="626"/>
                </a:lnTo>
                <a:lnTo>
                  <a:pt x="13551" y="529"/>
                </a:lnTo>
                <a:lnTo>
                  <a:pt x="12919" y="457"/>
                </a:lnTo>
                <a:lnTo>
                  <a:pt x="12492" y="155"/>
                </a:lnTo>
                <a:lnTo>
                  <a:pt x="12131" y="495"/>
                </a:lnTo>
                <a:lnTo>
                  <a:pt x="11861" y="716"/>
                </a:lnTo>
                <a:lnTo>
                  <a:pt x="11605" y="888"/>
                </a:lnTo>
                <a:lnTo>
                  <a:pt x="11058" y="1017"/>
                </a:lnTo>
                <a:lnTo>
                  <a:pt x="10851" y="1226"/>
                </a:lnTo>
                <a:lnTo>
                  <a:pt x="10702" y="1608"/>
                </a:lnTo>
                <a:lnTo>
                  <a:pt x="10603" y="1737"/>
                </a:lnTo>
                <a:lnTo>
                  <a:pt x="10416" y="1964"/>
                </a:lnTo>
                <a:lnTo>
                  <a:pt x="10428" y="2286"/>
                </a:lnTo>
                <a:lnTo>
                  <a:pt x="10594" y="2561"/>
                </a:lnTo>
                <a:lnTo>
                  <a:pt x="10478" y="2739"/>
                </a:lnTo>
                <a:lnTo>
                  <a:pt x="10159" y="3090"/>
                </a:lnTo>
                <a:cubicBezTo>
                  <a:pt x="10067" y="3086"/>
                  <a:pt x="9978" y="3052"/>
                  <a:pt x="9899" y="2993"/>
                </a:cubicBezTo>
                <a:cubicBezTo>
                  <a:pt x="9767" y="2894"/>
                  <a:pt x="9671" y="2731"/>
                  <a:pt x="9633" y="2540"/>
                </a:cubicBezTo>
                <a:lnTo>
                  <a:pt x="9197" y="2329"/>
                </a:lnTo>
                <a:cubicBezTo>
                  <a:pt x="9181" y="2199"/>
                  <a:pt x="9118" y="2087"/>
                  <a:pt x="9027" y="2027"/>
                </a:cubicBezTo>
                <a:cubicBezTo>
                  <a:pt x="8838" y="1903"/>
                  <a:pt x="8608" y="2025"/>
                  <a:pt x="8541" y="2286"/>
                </a:cubicBezTo>
                <a:lnTo>
                  <a:pt x="8250" y="2599"/>
                </a:lnTo>
                <a:cubicBezTo>
                  <a:pt x="8194" y="2686"/>
                  <a:pt x="8137" y="2772"/>
                  <a:pt x="8080" y="2857"/>
                </a:cubicBezTo>
                <a:cubicBezTo>
                  <a:pt x="7985" y="2999"/>
                  <a:pt x="7888" y="3139"/>
                  <a:pt x="7790" y="3277"/>
                </a:cubicBezTo>
                <a:lnTo>
                  <a:pt x="7467" y="3599"/>
                </a:lnTo>
                <a:lnTo>
                  <a:pt x="7293" y="3739"/>
                </a:lnTo>
                <a:lnTo>
                  <a:pt x="6986" y="3783"/>
                </a:lnTo>
                <a:lnTo>
                  <a:pt x="6987" y="4025"/>
                </a:lnTo>
                <a:lnTo>
                  <a:pt x="7057" y="4165"/>
                </a:lnTo>
                <a:lnTo>
                  <a:pt x="7119" y="4374"/>
                </a:lnTo>
                <a:lnTo>
                  <a:pt x="7007" y="4628"/>
                </a:lnTo>
                <a:cubicBezTo>
                  <a:pt x="7006" y="4750"/>
                  <a:pt x="6931" y="4851"/>
                  <a:pt x="6836" y="4854"/>
                </a:cubicBezTo>
                <a:cubicBezTo>
                  <a:pt x="6738" y="4858"/>
                  <a:pt x="6655" y="4756"/>
                  <a:pt x="6654" y="4628"/>
                </a:cubicBezTo>
                <a:lnTo>
                  <a:pt x="6421" y="4466"/>
                </a:lnTo>
                <a:lnTo>
                  <a:pt x="6280" y="4719"/>
                </a:lnTo>
                <a:lnTo>
                  <a:pt x="6160" y="4924"/>
                </a:lnTo>
                <a:lnTo>
                  <a:pt x="5954" y="5356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51" name="îṡļîḓe">
            <a:extLst>
              <a:ext uri="{FF2B5EF4-FFF2-40B4-BE49-F238E27FC236}">
                <a16:creationId xmlns:a16="http://schemas.microsoft.com/office/drawing/2014/main" id="{BB86A85B-94B7-41DD-BA8D-E032E6DF8326}"/>
              </a:ext>
            </a:extLst>
          </p:cNvPr>
          <p:cNvSpPr/>
          <p:nvPr/>
        </p:nvSpPr>
        <p:spPr>
          <a:xfrm>
            <a:off x="9633117" y="5362002"/>
            <a:ext cx="112038" cy="92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734" y="1038"/>
                </a:moveTo>
                <a:lnTo>
                  <a:pt x="5578" y="0"/>
                </a:lnTo>
                <a:lnTo>
                  <a:pt x="6344" y="2077"/>
                </a:lnTo>
                <a:lnTo>
                  <a:pt x="8057" y="3507"/>
                </a:lnTo>
                <a:lnTo>
                  <a:pt x="11245" y="5736"/>
                </a:lnTo>
                <a:lnTo>
                  <a:pt x="13944" y="4944"/>
                </a:lnTo>
                <a:lnTo>
                  <a:pt x="15669" y="2555"/>
                </a:lnTo>
                <a:lnTo>
                  <a:pt x="17659" y="2290"/>
                </a:lnTo>
                <a:lnTo>
                  <a:pt x="20048" y="2290"/>
                </a:lnTo>
                <a:lnTo>
                  <a:pt x="21600" y="3886"/>
                </a:lnTo>
                <a:lnTo>
                  <a:pt x="21073" y="6102"/>
                </a:lnTo>
                <a:lnTo>
                  <a:pt x="19449" y="6901"/>
                </a:lnTo>
                <a:lnTo>
                  <a:pt x="18263" y="8165"/>
                </a:lnTo>
                <a:lnTo>
                  <a:pt x="18130" y="10554"/>
                </a:lnTo>
                <a:lnTo>
                  <a:pt x="16494" y="13003"/>
                </a:lnTo>
                <a:lnTo>
                  <a:pt x="14149" y="14540"/>
                </a:lnTo>
                <a:lnTo>
                  <a:pt x="10318" y="16118"/>
                </a:lnTo>
                <a:lnTo>
                  <a:pt x="8234" y="17714"/>
                </a:lnTo>
                <a:lnTo>
                  <a:pt x="6954" y="19365"/>
                </a:lnTo>
                <a:lnTo>
                  <a:pt x="6111" y="21121"/>
                </a:lnTo>
                <a:lnTo>
                  <a:pt x="4171" y="21600"/>
                </a:lnTo>
                <a:lnTo>
                  <a:pt x="3062" y="19311"/>
                </a:lnTo>
                <a:lnTo>
                  <a:pt x="1521" y="19311"/>
                </a:lnTo>
                <a:lnTo>
                  <a:pt x="0" y="19258"/>
                </a:lnTo>
                <a:lnTo>
                  <a:pt x="667" y="16130"/>
                </a:lnTo>
                <a:lnTo>
                  <a:pt x="2456" y="13422"/>
                </a:lnTo>
                <a:lnTo>
                  <a:pt x="2806" y="11838"/>
                </a:lnTo>
                <a:lnTo>
                  <a:pt x="2673" y="8557"/>
                </a:lnTo>
                <a:lnTo>
                  <a:pt x="2673" y="6056"/>
                </a:lnTo>
                <a:lnTo>
                  <a:pt x="2190" y="4678"/>
                </a:lnTo>
                <a:lnTo>
                  <a:pt x="2734" y="1038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2" name="îsḻíḋe">
            <a:extLst>
              <a:ext uri="{FF2B5EF4-FFF2-40B4-BE49-F238E27FC236}">
                <a16:creationId xmlns:a16="http://schemas.microsoft.com/office/drawing/2014/main" id="{EE4E1B5F-F528-4D87-8AAE-393933F5DFBD}"/>
              </a:ext>
            </a:extLst>
          </p:cNvPr>
          <p:cNvSpPr/>
          <p:nvPr/>
        </p:nvSpPr>
        <p:spPr>
          <a:xfrm>
            <a:off x="10145436" y="5356522"/>
            <a:ext cx="304716" cy="1904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44" extrusionOk="0">
                <a:moveTo>
                  <a:pt x="2147" y="16913"/>
                </a:moveTo>
                <a:lnTo>
                  <a:pt x="1380" y="17278"/>
                </a:lnTo>
                <a:lnTo>
                  <a:pt x="508" y="19015"/>
                </a:lnTo>
                <a:lnTo>
                  <a:pt x="0" y="20356"/>
                </a:lnTo>
                <a:lnTo>
                  <a:pt x="1241" y="21466"/>
                </a:lnTo>
                <a:lnTo>
                  <a:pt x="2749" y="21544"/>
                </a:lnTo>
                <a:lnTo>
                  <a:pt x="5044" y="21466"/>
                </a:lnTo>
                <a:lnTo>
                  <a:pt x="6332" y="20691"/>
                </a:lnTo>
                <a:lnTo>
                  <a:pt x="8044" y="18990"/>
                </a:lnTo>
                <a:lnTo>
                  <a:pt x="9316" y="17905"/>
                </a:lnTo>
                <a:lnTo>
                  <a:pt x="10246" y="16587"/>
                </a:lnTo>
                <a:lnTo>
                  <a:pt x="11501" y="14151"/>
                </a:lnTo>
                <a:cubicBezTo>
                  <a:pt x="11635" y="13828"/>
                  <a:pt x="11800" y="13540"/>
                  <a:pt x="11990" y="13298"/>
                </a:cubicBezTo>
                <a:cubicBezTo>
                  <a:pt x="12464" y="12694"/>
                  <a:pt x="13064" y="12399"/>
                  <a:pt x="13670" y="12472"/>
                </a:cubicBezTo>
                <a:lnTo>
                  <a:pt x="14548" y="12562"/>
                </a:lnTo>
                <a:lnTo>
                  <a:pt x="15233" y="12097"/>
                </a:lnTo>
                <a:lnTo>
                  <a:pt x="15961" y="11558"/>
                </a:lnTo>
                <a:lnTo>
                  <a:pt x="16010" y="10246"/>
                </a:lnTo>
                <a:lnTo>
                  <a:pt x="17004" y="9130"/>
                </a:lnTo>
                <a:lnTo>
                  <a:pt x="18541" y="7346"/>
                </a:lnTo>
                <a:lnTo>
                  <a:pt x="20577" y="6490"/>
                </a:lnTo>
                <a:lnTo>
                  <a:pt x="21600" y="5415"/>
                </a:lnTo>
                <a:lnTo>
                  <a:pt x="21600" y="4405"/>
                </a:lnTo>
                <a:lnTo>
                  <a:pt x="21306" y="2773"/>
                </a:lnTo>
                <a:lnTo>
                  <a:pt x="20866" y="1007"/>
                </a:lnTo>
                <a:cubicBezTo>
                  <a:pt x="20843" y="468"/>
                  <a:pt x="20572" y="40"/>
                  <a:pt x="20232" y="3"/>
                </a:cubicBezTo>
                <a:cubicBezTo>
                  <a:pt x="19700" y="-56"/>
                  <a:pt x="19304" y="769"/>
                  <a:pt x="19482" y="1565"/>
                </a:cubicBezTo>
                <a:lnTo>
                  <a:pt x="18669" y="2426"/>
                </a:lnTo>
                <a:lnTo>
                  <a:pt x="17564" y="3640"/>
                </a:lnTo>
                <a:lnTo>
                  <a:pt x="17108" y="4363"/>
                </a:lnTo>
                <a:cubicBezTo>
                  <a:pt x="16812" y="4575"/>
                  <a:pt x="16538" y="4853"/>
                  <a:pt x="16293" y="5190"/>
                </a:cubicBezTo>
                <a:cubicBezTo>
                  <a:pt x="15810" y="5854"/>
                  <a:pt x="15457" y="6721"/>
                  <a:pt x="14988" y="7408"/>
                </a:cubicBezTo>
                <a:cubicBezTo>
                  <a:pt x="14591" y="7991"/>
                  <a:pt x="14119" y="8431"/>
                  <a:pt x="13604" y="8700"/>
                </a:cubicBezTo>
                <a:lnTo>
                  <a:pt x="11698" y="9704"/>
                </a:lnTo>
                <a:lnTo>
                  <a:pt x="9302" y="11254"/>
                </a:lnTo>
                <a:cubicBezTo>
                  <a:pt x="8906" y="11491"/>
                  <a:pt x="8515" y="11748"/>
                  <a:pt x="8130" y="12026"/>
                </a:cubicBezTo>
                <a:cubicBezTo>
                  <a:pt x="7579" y="12424"/>
                  <a:pt x="7040" y="12864"/>
                  <a:pt x="6515" y="13344"/>
                </a:cubicBezTo>
                <a:cubicBezTo>
                  <a:pt x="6085" y="13632"/>
                  <a:pt x="5652" y="13908"/>
                  <a:pt x="5215" y="14170"/>
                </a:cubicBezTo>
                <a:cubicBezTo>
                  <a:pt x="4730" y="14462"/>
                  <a:pt x="4240" y="14738"/>
                  <a:pt x="3748" y="14997"/>
                </a:cubicBezTo>
                <a:lnTo>
                  <a:pt x="2147" y="16913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53" name="îṧlíḋè">
            <a:extLst>
              <a:ext uri="{FF2B5EF4-FFF2-40B4-BE49-F238E27FC236}">
                <a16:creationId xmlns:a16="http://schemas.microsoft.com/office/drawing/2014/main" id="{5D6957A9-6403-45E6-BD48-4E0928954ACE}"/>
              </a:ext>
            </a:extLst>
          </p:cNvPr>
          <p:cNvSpPr/>
          <p:nvPr/>
        </p:nvSpPr>
        <p:spPr>
          <a:xfrm>
            <a:off x="10492048" y="5166845"/>
            <a:ext cx="149060" cy="2271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19" y="321"/>
                </a:moveTo>
                <a:lnTo>
                  <a:pt x="11636" y="0"/>
                </a:lnTo>
                <a:lnTo>
                  <a:pt x="11352" y="2568"/>
                </a:lnTo>
                <a:lnTo>
                  <a:pt x="11383" y="3806"/>
                </a:lnTo>
                <a:lnTo>
                  <a:pt x="12079" y="5151"/>
                </a:lnTo>
                <a:lnTo>
                  <a:pt x="12375" y="6967"/>
                </a:lnTo>
                <a:cubicBezTo>
                  <a:pt x="12672" y="7601"/>
                  <a:pt x="12637" y="8281"/>
                  <a:pt x="12275" y="8900"/>
                </a:cubicBezTo>
                <a:cubicBezTo>
                  <a:pt x="12047" y="9291"/>
                  <a:pt x="11695" y="9645"/>
                  <a:pt x="11242" y="9941"/>
                </a:cubicBezTo>
                <a:lnTo>
                  <a:pt x="10432" y="11157"/>
                </a:lnTo>
                <a:lnTo>
                  <a:pt x="7384" y="11982"/>
                </a:lnTo>
                <a:lnTo>
                  <a:pt x="4025" y="12743"/>
                </a:lnTo>
                <a:lnTo>
                  <a:pt x="2560" y="14347"/>
                </a:lnTo>
                <a:lnTo>
                  <a:pt x="2552" y="16107"/>
                </a:lnTo>
                <a:lnTo>
                  <a:pt x="3355" y="17541"/>
                </a:lnTo>
                <a:lnTo>
                  <a:pt x="1955" y="19191"/>
                </a:lnTo>
                <a:lnTo>
                  <a:pt x="116" y="19974"/>
                </a:lnTo>
                <a:lnTo>
                  <a:pt x="0" y="20821"/>
                </a:lnTo>
                <a:lnTo>
                  <a:pt x="1421" y="21600"/>
                </a:lnTo>
                <a:lnTo>
                  <a:pt x="3317" y="20948"/>
                </a:lnTo>
                <a:lnTo>
                  <a:pt x="5646" y="19126"/>
                </a:lnTo>
                <a:cubicBezTo>
                  <a:pt x="6124" y="18808"/>
                  <a:pt x="6661" y="18530"/>
                  <a:pt x="7246" y="18301"/>
                </a:cubicBezTo>
                <a:cubicBezTo>
                  <a:pt x="7999" y="18006"/>
                  <a:pt x="8821" y="17793"/>
                  <a:pt x="9679" y="17671"/>
                </a:cubicBezTo>
                <a:cubicBezTo>
                  <a:pt x="10238" y="17511"/>
                  <a:pt x="10792" y="17345"/>
                  <a:pt x="11342" y="17174"/>
                </a:cubicBezTo>
                <a:cubicBezTo>
                  <a:pt x="12241" y="16894"/>
                  <a:pt x="13139" y="16593"/>
                  <a:pt x="13842" y="16131"/>
                </a:cubicBezTo>
                <a:cubicBezTo>
                  <a:pt x="14311" y="15823"/>
                  <a:pt x="14674" y="15454"/>
                  <a:pt x="14908" y="15048"/>
                </a:cubicBezTo>
                <a:cubicBezTo>
                  <a:pt x="15071" y="14768"/>
                  <a:pt x="15345" y="14521"/>
                  <a:pt x="15704" y="14334"/>
                </a:cubicBezTo>
                <a:cubicBezTo>
                  <a:pt x="16529" y="13904"/>
                  <a:pt x="17653" y="13847"/>
                  <a:pt x="18567" y="13508"/>
                </a:cubicBezTo>
                <a:cubicBezTo>
                  <a:pt x="19153" y="13291"/>
                  <a:pt x="19628" y="12966"/>
                  <a:pt x="19933" y="12574"/>
                </a:cubicBezTo>
                <a:lnTo>
                  <a:pt x="21100" y="11358"/>
                </a:lnTo>
                <a:lnTo>
                  <a:pt x="21600" y="10578"/>
                </a:lnTo>
                <a:lnTo>
                  <a:pt x="19804" y="10386"/>
                </a:lnTo>
                <a:lnTo>
                  <a:pt x="18624" y="10060"/>
                </a:lnTo>
                <a:lnTo>
                  <a:pt x="17125" y="9017"/>
                </a:lnTo>
                <a:lnTo>
                  <a:pt x="14529" y="7584"/>
                </a:lnTo>
                <a:cubicBezTo>
                  <a:pt x="14314" y="7294"/>
                  <a:pt x="14124" y="6997"/>
                  <a:pt x="13962" y="6693"/>
                </a:cubicBezTo>
                <a:cubicBezTo>
                  <a:pt x="13643" y="6095"/>
                  <a:pt x="13431" y="5476"/>
                  <a:pt x="13329" y="4847"/>
                </a:cubicBezTo>
                <a:lnTo>
                  <a:pt x="14325" y="3524"/>
                </a:lnTo>
                <a:lnTo>
                  <a:pt x="14325" y="1808"/>
                </a:lnTo>
                <a:lnTo>
                  <a:pt x="13019" y="321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54" name="íṧľïďê">
            <a:extLst>
              <a:ext uri="{FF2B5EF4-FFF2-40B4-BE49-F238E27FC236}">
                <a16:creationId xmlns:a16="http://schemas.microsoft.com/office/drawing/2014/main" id="{8D0C830E-8888-439C-B938-9E15221108D6}"/>
              </a:ext>
            </a:extLst>
          </p:cNvPr>
          <p:cNvSpPr/>
          <p:nvPr/>
        </p:nvSpPr>
        <p:spPr>
          <a:xfrm>
            <a:off x="10502816" y="4965192"/>
            <a:ext cx="14800" cy="256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518" y="240"/>
                </a:moveTo>
                <a:lnTo>
                  <a:pt x="21579" y="0"/>
                </a:lnTo>
                <a:lnTo>
                  <a:pt x="21600" y="11228"/>
                </a:lnTo>
                <a:lnTo>
                  <a:pt x="15549" y="21600"/>
                </a:lnTo>
                <a:lnTo>
                  <a:pt x="2290" y="19891"/>
                </a:lnTo>
                <a:lnTo>
                  <a:pt x="0" y="10674"/>
                </a:lnTo>
                <a:lnTo>
                  <a:pt x="7518" y="24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7" name="i$ḷïḋe">
            <a:extLst>
              <a:ext uri="{FF2B5EF4-FFF2-40B4-BE49-F238E27FC236}">
                <a16:creationId xmlns:a16="http://schemas.microsoft.com/office/drawing/2014/main" id="{7DA8FCC7-171D-48B5-90F5-B53EDC726488}"/>
              </a:ext>
            </a:extLst>
          </p:cNvPr>
          <p:cNvSpPr/>
          <p:nvPr/>
        </p:nvSpPr>
        <p:spPr>
          <a:xfrm>
            <a:off x="10459377" y="4655843"/>
            <a:ext cx="117560" cy="9361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8" name="îšḷíḓé">
            <a:extLst>
              <a:ext uri="{FF2B5EF4-FFF2-40B4-BE49-F238E27FC236}">
                <a16:creationId xmlns:a16="http://schemas.microsoft.com/office/drawing/2014/main" id="{8FE212F8-F4A3-4240-BBB0-D89AA1967BD6}"/>
              </a:ext>
            </a:extLst>
          </p:cNvPr>
          <p:cNvSpPr/>
          <p:nvPr/>
        </p:nvSpPr>
        <p:spPr>
          <a:xfrm>
            <a:off x="10591910" y="4522032"/>
            <a:ext cx="57265" cy="45599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89" name="iṩḷiḋe">
            <a:extLst>
              <a:ext uri="{FF2B5EF4-FFF2-40B4-BE49-F238E27FC236}">
                <a16:creationId xmlns:a16="http://schemas.microsoft.com/office/drawing/2014/main" id="{351ADC6E-7BA1-445D-A346-2D8DA3620F49}"/>
              </a:ext>
            </a:extLst>
          </p:cNvPr>
          <p:cNvSpPr/>
          <p:nvPr/>
        </p:nvSpPr>
        <p:spPr>
          <a:xfrm>
            <a:off x="10247123" y="4202952"/>
            <a:ext cx="58264" cy="46395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0" name="îṡlïḑé">
            <a:extLst>
              <a:ext uri="{FF2B5EF4-FFF2-40B4-BE49-F238E27FC236}">
                <a16:creationId xmlns:a16="http://schemas.microsoft.com/office/drawing/2014/main" id="{EC60BD22-DC41-4097-BAF0-BB379FE3B97D}"/>
              </a:ext>
            </a:extLst>
          </p:cNvPr>
          <p:cNvSpPr/>
          <p:nvPr/>
        </p:nvSpPr>
        <p:spPr>
          <a:xfrm>
            <a:off x="10310363" y="4243230"/>
            <a:ext cx="41252" cy="3284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1" name="îṩḷîḍê">
            <a:extLst>
              <a:ext uri="{FF2B5EF4-FFF2-40B4-BE49-F238E27FC236}">
                <a16:creationId xmlns:a16="http://schemas.microsoft.com/office/drawing/2014/main" id="{D16DEA77-9FD9-4185-9D84-A8B3BC2687A4}"/>
              </a:ext>
            </a:extLst>
          </p:cNvPr>
          <p:cNvSpPr/>
          <p:nvPr/>
        </p:nvSpPr>
        <p:spPr>
          <a:xfrm>
            <a:off x="10326893" y="4293579"/>
            <a:ext cx="35234" cy="28056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2" name="ïṧľîḍé">
            <a:extLst>
              <a:ext uri="{FF2B5EF4-FFF2-40B4-BE49-F238E27FC236}">
                <a16:creationId xmlns:a16="http://schemas.microsoft.com/office/drawing/2014/main" id="{3D1C88E6-33AD-4A23-988A-4C6A74AB67AE}"/>
              </a:ext>
            </a:extLst>
          </p:cNvPr>
          <p:cNvSpPr/>
          <p:nvPr/>
        </p:nvSpPr>
        <p:spPr>
          <a:xfrm>
            <a:off x="10369454" y="4276329"/>
            <a:ext cx="42280" cy="3366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3" name="íŝḷïḓè">
            <a:extLst>
              <a:ext uri="{FF2B5EF4-FFF2-40B4-BE49-F238E27FC236}">
                <a16:creationId xmlns:a16="http://schemas.microsoft.com/office/drawing/2014/main" id="{77D0D3DE-832E-4DC6-A2F0-D855F7EE894E}"/>
              </a:ext>
            </a:extLst>
          </p:cNvPr>
          <p:cNvSpPr/>
          <p:nvPr/>
        </p:nvSpPr>
        <p:spPr>
          <a:xfrm>
            <a:off x="10391308" y="4329869"/>
            <a:ext cx="33899" cy="2699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4" name="íṡ1ïḋê">
            <a:extLst>
              <a:ext uri="{FF2B5EF4-FFF2-40B4-BE49-F238E27FC236}">
                <a16:creationId xmlns:a16="http://schemas.microsoft.com/office/drawing/2014/main" id="{533609DE-7784-49AD-B377-CC1BD70A44BE}"/>
              </a:ext>
            </a:extLst>
          </p:cNvPr>
          <p:cNvSpPr/>
          <p:nvPr/>
        </p:nvSpPr>
        <p:spPr>
          <a:xfrm>
            <a:off x="10419728" y="4306344"/>
            <a:ext cx="48961" cy="38987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5" name="îsļiḋé">
            <a:extLst>
              <a:ext uri="{FF2B5EF4-FFF2-40B4-BE49-F238E27FC236}">
                <a16:creationId xmlns:a16="http://schemas.microsoft.com/office/drawing/2014/main" id="{D5EF4487-6929-48E2-8F26-D73E16399AFE}"/>
              </a:ext>
            </a:extLst>
          </p:cNvPr>
          <p:cNvSpPr/>
          <p:nvPr/>
        </p:nvSpPr>
        <p:spPr>
          <a:xfrm>
            <a:off x="10445309" y="4367652"/>
            <a:ext cx="22086" cy="17587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6" name="îṡļiḋê">
            <a:extLst>
              <a:ext uri="{FF2B5EF4-FFF2-40B4-BE49-F238E27FC236}">
                <a16:creationId xmlns:a16="http://schemas.microsoft.com/office/drawing/2014/main" id="{831C15E1-7397-46C9-B0BF-334FCD721D68}"/>
              </a:ext>
            </a:extLst>
          </p:cNvPr>
          <p:cNvSpPr/>
          <p:nvPr/>
        </p:nvSpPr>
        <p:spPr>
          <a:xfrm>
            <a:off x="10159700" y="4107778"/>
            <a:ext cx="78731" cy="62693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7" name="íşľïḍê">
            <a:extLst>
              <a:ext uri="{FF2B5EF4-FFF2-40B4-BE49-F238E27FC236}">
                <a16:creationId xmlns:a16="http://schemas.microsoft.com/office/drawing/2014/main" id="{D7A1E081-EC1E-487B-B58E-32F542D05773}"/>
              </a:ext>
            </a:extLst>
          </p:cNvPr>
          <p:cNvSpPr/>
          <p:nvPr/>
        </p:nvSpPr>
        <p:spPr>
          <a:xfrm>
            <a:off x="10106122" y="4155726"/>
            <a:ext cx="104407" cy="8313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8" name="iṣḻiḓé">
            <a:extLst>
              <a:ext uri="{FF2B5EF4-FFF2-40B4-BE49-F238E27FC236}">
                <a16:creationId xmlns:a16="http://schemas.microsoft.com/office/drawing/2014/main" id="{1CDAF671-5EE4-4BCC-BE40-4AC4BAAE3522}"/>
              </a:ext>
            </a:extLst>
          </p:cNvPr>
          <p:cNvSpPr/>
          <p:nvPr/>
        </p:nvSpPr>
        <p:spPr>
          <a:xfrm>
            <a:off x="9571509" y="3974933"/>
            <a:ext cx="595040" cy="473828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67" name="íṧļïḑe">
            <a:extLst>
              <a:ext uri="{FF2B5EF4-FFF2-40B4-BE49-F238E27FC236}">
                <a16:creationId xmlns:a16="http://schemas.microsoft.com/office/drawing/2014/main" id="{07629E57-F677-42E9-95D5-00FA3F2C10C3}"/>
              </a:ext>
            </a:extLst>
          </p:cNvPr>
          <p:cNvSpPr/>
          <p:nvPr/>
        </p:nvSpPr>
        <p:spPr>
          <a:xfrm>
            <a:off x="9655236" y="3750685"/>
            <a:ext cx="16575" cy="206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034" y="0"/>
                </a:moveTo>
                <a:lnTo>
                  <a:pt x="0" y="3883"/>
                </a:lnTo>
                <a:lnTo>
                  <a:pt x="4598" y="21600"/>
                </a:lnTo>
                <a:lnTo>
                  <a:pt x="21600" y="15889"/>
                </a:lnTo>
                <a:lnTo>
                  <a:pt x="21600" y="4677"/>
                </a:lnTo>
                <a:lnTo>
                  <a:pt x="11034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8" name="îš1ïďè">
            <a:extLst>
              <a:ext uri="{FF2B5EF4-FFF2-40B4-BE49-F238E27FC236}">
                <a16:creationId xmlns:a16="http://schemas.microsoft.com/office/drawing/2014/main" id="{D15D9CC9-2F38-4149-8837-2C05B82DE954}"/>
              </a:ext>
            </a:extLst>
          </p:cNvPr>
          <p:cNvSpPr/>
          <p:nvPr/>
        </p:nvSpPr>
        <p:spPr>
          <a:xfrm>
            <a:off x="9945910" y="3467246"/>
            <a:ext cx="14800" cy="197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47" y="0"/>
                </a:moveTo>
                <a:lnTo>
                  <a:pt x="2757" y="5238"/>
                </a:lnTo>
                <a:lnTo>
                  <a:pt x="0" y="18231"/>
                </a:lnTo>
                <a:lnTo>
                  <a:pt x="17487" y="21600"/>
                </a:lnTo>
                <a:lnTo>
                  <a:pt x="21600" y="12744"/>
                </a:lnTo>
                <a:lnTo>
                  <a:pt x="11547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9" name="iṥļïďe">
            <a:extLst>
              <a:ext uri="{FF2B5EF4-FFF2-40B4-BE49-F238E27FC236}">
                <a16:creationId xmlns:a16="http://schemas.microsoft.com/office/drawing/2014/main" id="{54B1FD0B-9063-4CAB-B35B-A9B22157E175}"/>
              </a:ext>
            </a:extLst>
          </p:cNvPr>
          <p:cNvSpPr/>
          <p:nvPr/>
        </p:nvSpPr>
        <p:spPr>
          <a:xfrm>
            <a:off x="9922146" y="3536346"/>
            <a:ext cx="16599" cy="281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652" y="0"/>
                </a:moveTo>
                <a:lnTo>
                  <a:pt x="0" y="4334"/>
                </a:lnTo>
                <a:lnTo>
                  <a:pt x="342" y="20725"/>
                </a:lnTo>
                <a:lnTo>
                  <a:pt x="18905" y="21600"/>
                </a:lnTo>
                <a:lnTo>
                  <a:pt x="21600" y="4465"/>
                </a:lnTo>
                <a:lnTo>
                  <a:pt x="5652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0" name="iṡľïḋê">
            <a:extLst>
              <a:ext uri="{FF2B5EF4-FFF2-40B4-BE49-F238E27FC236}">
                <a16:creationId xmlns:a16="http://schemas.microsoft.com/office/drawing/2014/main" id="{099F5D15-713A-4EE0-BB88-D7CFC57E2F08}"/>
              </a:ext>
            </a:extLst>
          </p:cNvPr>
          <p:cNvSpPr/>
          <p:nvPr/>
        </p:nvSpPr>
        <p:spPr>
          <a:xfrm>
            <a:off x="10379176" y="3768144"/>
            <a:ext cx="17248" cy="261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7350"/>
                </a:lnTo>
                <a:lnTo>
                  <a:pt x="7288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25400" cap="flat">
            <a:noFill/>
            <a:prstDash val="solid"/>
            <a:miter lim="400000"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6" name="ïṡḻíḓé">
            <a:extLst>
              <a:ext uri="{FF2B5EF4-FFF2-40B4-BE49-F238E27FC236}">
                <a16:creationId xmlns:a16="http://schemas.microsoft.com/office/drawing/2014/main" id="{159E9B0E-F62F-4711-B200-D4E810CF60BE}"/>
              </a:ext>
            </a:extLst>
          </p:cNvPr>
          <p:cNvSpPr/>
          <p:nvPr/>
        </p:nvSpPr>
        <p:spPr>
          <a:xfrm>
            <a:off x="948082" y="2279155"/>
            <a:ext cx="3202566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Text here</a:t>
            </a:r>
            <a:endParaRPr lang="id-ID" altLang="zh-CN" sz="1600" b="1" dirty="0">
              <a:solidFill>
                <a:schemeClr val="tx1"/>
              </a:solidFill>
            </a:endParaRPr>
          </a:p>
        </p:txBody>
      </p:sp>
      <p:sp>
        <p:nvSpPr>
          <p:cNvPr id="27" name="ïṣliḓ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48082" y="2704325"/>
            <a:ext cx="3202566" cy="96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cxnSp>
        <p:nvCxnSpPr>
          <p:cNvPr id="8" name="ïšḷíḑè">
            <a:extLst>
              <a:ext uri="{FF2B5EF4-FFF2-40B4-BE49-F238E27FC236}">
                <a16:creationId xmlns:a16="http://schemas.microsoft.com/office/drawing/2014/main" id="{D539A112-9AD1-4D04-813F-15ACAE485DF4}"/>
              </a:ext>
            </a:extLst>
          </p:cNvPr>
          <p:cNvCxnSpPr/>
          <p:nvPr/>
        </p:nvCxnSpPr>
        <p:spPr>
          <a:xfrm>
            <a:off x="1110464" y="3670605"/>
            <a:ext cx="2877802" cy="0"/>
          </a:xfrm>
          <a:prstGeom prst="line">
            <a:avLst/>
          </a:prstGeom>
          <a:ln w="12700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ïṣḻiḓê">
            <a:extLst>
              <a:ext uri="{FF2B5EF4-FFF2-40B4-BE49-F238E27FC236}">
                <a16:creationId xmlns:a16="http://schemas.microsoft.com/office/drawing/2014/main" id="{19FC2546-1D56-4610-83FB-71413515F22F}"/>
              </a:ext>
            </a:extLst>
          </p:cNvPr>
          <p:cNvSpPr/>
          <p:nvPr/>
        </p:nvSpPr>
        <p:spPr>
          <a:xfrm>
            <a:off x="2060097" y="4006709"/>
            <a:ext cx="978536" cy="97853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163" name="íSḷïdè">
            <a:extLst>
              <a:ext uri="{FF2B5EF4-FFF2-40B4-BE49-F238E27FC236}">
                <a16:creationId xmlns:a16="http://schemas.microsoft.com/office/drawing/2014/main" id="{F657AA9C-FDBB-4A84-B432-98115A031EA9}"/>
              </a:ext>
            </a:extLst>
          </p:cNvPr>
          <p:cNvSpPr/>
          <p:nvPr/>
        </p:nvSpPr>
        <p:spPr>
          <a:xfrm>
            <a:off x="2370104" y="4332722"/>
            <a:ext cx="358522" cy="326511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2" name="iṥļïďe">
            <a:extLst>
              <a:ext uri="{FF2B5EF4-FFF2-40B4-BE49-F238E27FC236}">
                <a16:creationId xmlns:a16="http://schemas.microsoft.com/office/drawing/2014/main" id="{8D54F50B-BE1C-439A-B6E0-01EEF4A8F6E8}"/>
              </a:ext>
            </a:extLst>
          </p:cNvPr>
          <p:cNvSpPr/>
          <p:nvPr/>
        </p:nvSpPr>
        <p:spPr>
          <a:xfrm>
            <a:off x="4488367" y="2279155"/>
            <a:ext cx="3202566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Text here</a:t>
            </a:r>
            <a:endParaRPr lang="id-ID" altLang="zh-CN" sz="1600" b="1" dirty="0">
              <a:solidFill>
                <a:schemeClr val="tx1"/>
              </a:solidFill>
            </a:endParaRPr>
          </a:p>
        </p:txBody>
      </p:sp>
      <p:sp>
        <p:nvSpPr>
          <p:cNvPr id="23" name="íś1íď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4488367" y="2704325"/>
            <a:ext cx="3202566" cy="96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cxnSp>
        <p:nvCxnSpPr>
          <p:cNvPr id="11" name="ï$ḷidê">
            <a:extLst>
              <a:ext uri="{FF2B5EF4-FFF2-40B4-BE49-F238E27FC236}">
                <a16:creationId xmlns:a16="http://schemas.microsoft.com/office/drawing/2014/main" id="{F7852F3E-01DB-41D8-B7A9-32042BDB7119}"/>
              </a:ext>
            </a:extLst>
          </p:cNvPr>
          <p:cNvCxnSpPr/>
          <p:nvPr/>
        </p:nvCxnSpPr>
        <p:spPr>
          <a:xfrm>
            <a:off x="4650749" y="3670605"/>
            <a:ext cx="2877802" cy="0"/>
          </a:xfrm>
          <a:prstGeom prst="line">
            <a:avLst/>
          </a:prstGeom>
          <a:ln w="12700" cap="rnd">
            <a:solidFill>
              <a:schemeClr val="accent2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íṥḷidé">
            <a:extLst>
              <a:ext uri="{FF2B5EF4-FFF2-40B4-BE49-F238E27FC236}">
                <a16:creationId xmlns:a16="http://schemas.microsoft.com/office/drawing/2014/main" id="{9BF5A923-BF22-4C7C-BB41-5CBA356AFA87}"/>
              </a:ext>
            </a:extLst>
          </p:cNvPr>
          <p:cNvSpPr/>
          <p:nvPr/>
        </p:nvSpPr>
        <p:spPr>
          <a:xfrm>
            <a:off x="5600382" y="4006709"/>
            <a:ext cx="978536" cy="97853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200" name="ïŝļidê">
            <a:extLst>
              <a:ext uri="{FF2B5EF4-FFF2-40B4-BE49-F238E27FC236}">
                <a16:creationId xmlns:a16="http://schemas.microsoft.com/office/drawing/2014/main" id="{95B0667E-434D-4E3F-AA86-72E887830B40}"/>
              </a:ext>
            </a:extLst>
          </p:cNvPr>
          <p:cNvSpPr/>
          <p:nvPr/>
        </p:nvSpPr>
        <p:spPr>
          <a:xfrm>
            <a:off x="5910389" y="4353233"/>
            <a:ext cx="358522" cy="285489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8" name="ïsļïďe">
            <a:extLst>
              <a:ext uri="{FF2B5EF4-FFF2-40B4-BE49-F238E27FC236}">
                <a16:creationId xmlns:a16="http://schemas.microsoft.com/office/drawing/2014/main" id="{8AB9C817-5DAE-4E7F-9785-B51B9B5B60E6}"/>
              </a:ext>
            </a:extLst>
          </p:cNvPr>
          <p:cNvSpPr/>
          <p:nvPr/>
        </p:nvSpPr>
        <p:spPr>
          <a:xfrm>
            <a:off x="8028652" y="2279155"/>
            <a:ext cx="3202566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Text here</a:t>
            </a:r>
            <a:endParaRPr lang="id-ID" altLang="zh-CN" sz="1600" b="1" dirty="0">
              <a:solidFill>
                <a:schemeClr val="tx1"/>
              </a:solidFill>
            </a:endParaRPr>
          </a:p>
        </p:txBody>
      </p:sp>
      <p:sp>
        <p:nvSpPr>
          <p:cNvPr id="19" name="ïşḻîḋ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028652" y="2704325"/>
            <a:ext cx="3202566" cy="96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cxnSp>
        <p:nvCxnSpPr>
          <p:cNvPr id="14" name="íśḷîḋé">
            <a:extLst>
              <a:ext uri="{FF2B5EF4-FFF2-40B4-BE49-F238E27FC236}">
                <a16:creationId xmlns:a16="http://schemas.microsoft.com/office/drawing/2014/main" id="{B50E0BFD-5512-4913-B88D-62A55EB6CD35}"/>
              </a:ext>
            </a:extLst>
          </p:cNvPr>
          <p:cNvCxnSpPr/>
          <p:nvPr/>
        </p:nvCxnSpPr>
        <p:spPr>
          <a:xfrm>
            <a:off x="8191034" y="3670605"/>
            <a:ext cx="2877802" cy="0"/>
          </a:xfrm>
          <a:prstGeom prst="line">
            <a:avLst/>
          </a:prstGeom>
          <a:ln w="12700" cap="rnd">
            <a:solidFill>
              <a:schemeClr val="accent3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i$ḻïḍé">
            <a:extLst>
              <a:ext uri="{FF2B5EF4-FFF2-40B4-BE49-F238E27FC236}">
                <a16:creationId xmlns:a16="http://schemas.microsoft.com/office/drawing/2014/main" id="{F9B982BF-A85B-4BD4-8FFF-8B5DC169A75A}"/>
              </a:ext>
            </a:extLst>
          </p:cNvPr>
          <p:cNvSpPr/>
          <p:nvPr/>
        </p:nvSpPr>
        <p:spPr>
          <a:xfrm>
            <a:off x="9140667" y="4006709"/>
            <a:ext cx="978536" cy="97853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164" name="îşľïde">
            <a:extLst>
              <a:ext uri="{FF2B5EF4-FFF2-40B4-BE49-F238E27FC236}">
                <a16:creationId xmlns:a16="http://schemas.microsoft.com/office/drawing/2014/main" id="{CB079935-96C4-41C8-A642-F3D582537E77}"/>
              </a:ext>
            </a:extLst>
          </p:cNvPr>
          <p:cNvSpPr/>
          <p:nvPr/>
        </p:nvSpPr>
        <p:spPr>
          <a:xfrm>
            <a:off x="9450674" y="4346740"/>
            <a:ext cx="358522" cy="298474"/>
          </a:xfrm>
          <a:custGeom>
            <a:avLst/>
            <a:gdLst>
              <a:gd name="connsiteX0" fmla="*/ 482197 w 526297"/>
              <a:gd name="connsiteY0" fmla="*/ 133350 h 438150"/>
              <a:gd name="connsiteX1" fmla="*/ 526298 w 526297"/>
              <a:gd name="connsiteY1" fmla="*/ 177451 h 438150"/>
              <a:gd name="connsiteX2" fmla="*/ 526203 w 526297"/>
              <a:gd name="connsiteY2" fmla="*/ 180880 h 438150"/>
              <a:gd name="connsiteX3" fmla="*/ 512867 w 526297"/>
              <a:gd name="connsiteY3" fmla="*/ 354616 h 438150"/>
              <a:gd name="connsiteX4" fmla="*/ 484388 w 526297"/>
              <a:gd name="connsiteY4" fmla="*/ 381000 h 438150"/>
              <a:gd name="connsiteX5" fmla="*/ 453622 w 526297"/>
              <a:gd name="connsiteY5" fmla="*/ 381000 h 438150"/>
              <a:gd name="connsiteX6" fmla="*/ 453622 w 526297"/>
              <a:gd name="connsiteY6" fmla="*/ 438150 h 438150"/>
              <a:gd name="connsiteX7" fmla="*/ 434572 w 526297"/>
              <a:gd name="connsiteY7" fmla="*/ 438150 h 438150"/>
              <a:gd name="connsiteX8" fmla="*/ 434572 w 526297"/>
              <a:gd name="connsiteY8" fmla="*/ 381000 h 438150"/>
              <a:gd name="connsiteX9" fmla="*/ 91672 w 526297"/>
              <a:gd name="connsiteY9" fmla="*/ 381000 h 438150"/>
              <a:gd name="connsiteX10" fmla="*/ 91672 w 526297"/>
              <a:gd name="connsiteY10" fmla="*/ 438150 h 438150"/>
              <a:gd name="connsiteX11" fmla="*/ 72622 w 526297"/>
              <a:gd name="connsiteY11" fmla="*/ 438150 h 438150"/>
              <a:gd name="connsiteX12" fmla="*/ 72622 w 526297"/>
              <a:gd name="connsiteY12" fmla="*/ 381000 h 438150"/>
              <a:gd name="connsiteX13" fmla="*/ 41952 w 526297"/>
              <a:gd name="connsiteY13" fmla="*/ 381000 h 438150"/>
              <a:gd name="connsiteX14" fmla="*/ 13472 w 526297"/>
              <a:gd name="connsiteY14" fmla="*/ 354616 h 438150"/>
              <a:gd name="connsiteX15" fmla="*/ 137 w 526297"/>
              <a:gd name="connsiteY15" fmla="*/ 180880 h 438150"/>
              <a:gd name="connsiteX16" fmla="*/ 40714 w 526297"/>
              <a:gd name="connsiteY16" fmla="*/ 133541 h 438150"/>
              <a:gd name="connsiteX17" fmla="*/ 44142 w 526297"/>
              <a:gd name="connsiteY17" fmla="*/ 133445 h 438150"/>
              <a:gd name="connsiteX18" fmla="*/ 100531 w 526297"/>
              <a:gd name="connsiteY18" fmla="*/ 180213 h 438150"/>
              <a:gd name="connsiteX19" fmla="*/ 120247 w 526297"/>
              <a:gd name="connsiteY19" fmla="*/ 285750 h 438150"/>
              <a:gd name="connsiteX20" fmla="*/ 405997 w 526297"/>
              <a:gd name="connsiteY20" fmla="*/ 285750 h 438150"/>
              <a:gd name="connsiteX21" fmla="*/ 425809 w 526297"/>
              <a:gd name="connsiteY21" fmla="*/ 180118 h 438150"/>
              <a:gd name="connsiteX22" fmla="*/ 482197 w 526297"/>
              <a:gd name="connsiteY22" fmla="*/ 133350 h 438150"/>
              <a:gd name="connsiteX23" fmla="*/ 415522 w 526297"/>
              <a:gd name="connsiteY23" fmla="*/ 0 h 438150"/>
              <a:gd name="connsiteX24" fmla="*/ 482197 w 526297"/>
              <a:gd name="connsiteY24" fmla="*/ 66675 h 438150"/>
              <a:gd name="connsiteX25" fmla="*/ 482197 w 526297"/>
              <a:gd name="connsiteY25" fmla="*/ 114776 h 438150"/>
              <a:gd name="connsiteX26" fmla="*/ 475053 w 526297"/>
              <a:gd name="connsiteY26" fmla="*/ 114300 h 438150"/>
              <a:gd name="connsiteX27" fmla="*/ 410664 w 526297"/>
              <a:gd name="connsiteY27" fmla="*/ 165830 h 438150"/>
              <a:gd name="connsiteX28" fmla="*/ 410188 w 526297"/>
              <a:gd name="connsiteY28" fmla="*/ 168116 h 438150"/>
              <a:gd name="connsiteX29" fmla="*/ 391710 w 526297"/>
              <a:gd name="connsiteY29" fmla="*/ 266700 h 438150"/>
              <a:gd name="connsiteX30" fmla="*/ 134535 w 526297"/>
              <a:gd name="connsiteY30" fmla="*/ 266700 h 438150"/>
              <a:gd name="connsiteX31" fmla="*/ 116057 w 526297"/>
              <a:gd name="connsiteY31" fmla="*/ 168116 h 438150"/>
              <a:gd name="connsiteX32" fmla="*/ 51191 w 526297"/>
              <a:gd name="connsiteY32" fmla="*/ 114300 h 438150"/>
              <a:gd name="connsiteX33" fmla="*/ 53572 w 526297"/>
              <a:gd name="connsiteY33" fmla="*/ 66675 h 438150"/>
              <a:gd name="connsiteX34" fmla="*/ 120247 w 526297"/>
              <a:gd name="connsiteY34" fmla="*/ 0 h 438150"/>
              <a:gd name="connsiteX35" fmla="*/ 415522 w 526297"/>
              <a:gd name="connsiteY35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2197" y="133350"/>
                </a:moveTo>
                <a:cubicBezTo>
                  <a:pt x="506582" y="133350"/>
                  <a:pt x="526298" y="153067"/>
                  <a:pt x="526298" y="177451"/>
                </a:cubicBezTo>
                <a:cubicBezTo>
                  <a:pt x="526298" y="178594"/>
                  <a:pt x="526298" y="179737"/>
                  <a:pt x="526203" y="180880"/>
                </a:cubicBezTo>
                <a:lnTo>
                  <a:pt x="512867" y="354616"/>
                </a:lnTo>
                <a:cubicBezTo>
                  <a:pt x="511724" y="369475"/>
                  <a:pt x="499343" y="381000"/>
                  <a:pt x="484388" y="381000"/>
                </a:cubicBezTo>
                <a:lnTo>
                  <a:pt x="453622" y="381000"/>
                </a:lnTo>
                <a:lnTo>
                  <a:pt x="453622" y="438150"/>
                </a:lnTo>
                <a:lnTo>
                  <a:pt x="434572" y="438150"/>
                </a:lnTo>
                <a:lnTo>
                  <a:pt x="434572" y="381000"/>
                </a:lnTo>
                <a:lnTo>
                  <a:pt x="91672" y="381000"/>
                </a:lnTo>
                <a:lnTo>
                  <a:pt x="91672" y="438150"/>
                </a:lnTo>
                <a:lnTo>
                  <a:pt x="72622" y="438150"/>
                </a:lnTo>
                <a:lnTo>
                  <a:pt x="72622" y="381000"/>
                </a:lnTo>
                <a:lnTo>
                  <a:pt x="41952" y="381000"/>
                </a:lnTo>
                <a:cubicBezTo>
                  <a:pt x="26998" y="381000"/>
                  <a:pt x="14615" y="369475"/>
                  <a:pt x="13472" y="354616"/>
                </a:cubicBezTo>
                <a:lnTo>
                  <a:pt x="137" y="180880"/>
                </a:lnTo>
                <a:cubicBezTo>
                  <a:pt x="-1768" y="156591"/>
                  <a:pt x="16424" y="135350"/>
                  <a:pt x="40714" y="133541"/>
                </a:cubicBezTo>
                <a:cubicBezTo>
                  <a:pt x="41857" y="133445"/>
                  <a:pt x="42999" y="133445"/>
                  <a:pt x="44142" y="133445"/>
                </a:cubicBezTo>
                <a:cubicBezTo>
                  <a:pt x="71765" y="133445"/>
                  <a:pt x="95482" y="153067"/>
                  <a:pt x="100531" y="180213"/>
                </a:cubicBezTo>
                <a:lnTo>
                  <a:pt x="120247" y="285750"/>
                </a:lnTo>
                <a:lnTo>
                  <a:pt x="405997" y="285750"/>
                </a:lnTo>
                <a:lnTo>
                  <a:pt x="425809" y="180118"/>
                </a:lnTo>
                <a:cubicBezTo>
                  <a:pt x="430857" y="152972"/>
                  <a:pt x="454574" y="133350"/>
                  <a:pt x="482197" y="133350"/>
                </a:cubicBezTo>
                <a:close/>
                <a:moveTo>
                  <a:pt x="415522" y="0"/>
                </a:moveTo>
                <a:cubicBezTo>
                  <a:pt x="452384" y="0"/>
                  <a:pt x="482197" y="29813"/>
                  <a:pt x="482197" y="66675"/>
                </a:cubicBezTo>
                <a:lnTo>
                  <a:pt x="482197" y="114776"/>
                </a:lnTo>
                <a:cubicBezTo>
                  <a:pt x="479816" y="114491"/>
                  <a:pt x="477435" y="114300"/>
                  <a:pt x="475053" y="114300"/>
                </a:cubicBezTo>
                <a:cubicBezTo>
                  <a:pt x="444097" y="114300"/>
                  <a:pt x="417427" y="135827"/>
                  <a:pt x="410664" y="165830"/>
                </a:cubicBezTo>
                <a:lnTo>
                  <a:pt x="410188" y="168116"/>
                </a:lnTo>
                <a:lnTo>
                  <a:pt x="391710" y="266700"/>
                </a:lnTo>
                <a:lnTo>
                  <a:pt x="134535" y="266700"/>
                </a:lnTo>
                <a:lnTo>
                  <a:pt x="116057" y="168116"/>
                </a:lnTo>
                <a:cubicBezTo>
                  <a:pt x="110245" y="136874"/>
                  <a:pt x="82909" y="114300"/>
                  <a:pt x="51191" y="114300"/>
                </a:cubicBezTo>
                <a:lnTo>
                  <a:pt x="53572" y="66675"/>
                </a:lnTo>
                <a:cubicBezTo>
                  <a:pt x="53572" y="29813"/>
                  <a:pt x="83385" y="0"/>
                  <a:pt x="120247" y="0"/>
                </a:cubicBezTo>
                <a:lnTo>
                  <a:pt x="415522" y="0"/>
                </a:lnTo>
                <a:close/>
              </a:path>
            </a:pathLst>
          </a:cu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5249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lîde">
            <a:extLst>
              <a:ext uri="{FF2B5EF4-FFF2-40B4-BE49-F238E27FC236}">
                <a16:creationId xmlns:a16="http://schemas.microsoft.com/office/drawing/2014/main" id="{2E2858F7-BA6D-42F7-930E-EFB6FFB39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ṧľîḓê">
            <a:extLst>
              <a:ext uri="{FF2B5EF4-FFF2-40B4-BE49-F238E27FC236}">
                <a16:creationId xmlns:a16="http://schemas.microsoft.com/office/drawing/2014/main" id="{FC7C4C3F-605F-4445-B2F2-219A330D8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śľiďê">
            <a:extLst>
              <a:ext uri="{FF2B5EF4-FFF2-40B4-BE49-F238E27FC236}">
                <a16:creationId xmlns:a16="http://schemas.microsoft.com/office/drawing/2014/main" id="{A2697189-3687-42A4-AE8F-8082BF46F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9" name="ïsļiḋe">
            <a:extLst>
              <a:ext uri="{FF2B5EF4-FFF2-40B4-BE49-F238E27FC236}">
                <a16:creationId xmlns:a16="http://schemas.microsoft.com/office/drawing/2014/main" id="{5B413CCA-AF63-4157-AC41-6EF218CE9FE4}"/>
              </a:ext>
            </a:extLst>
          </p:cNvPr>
          <p:cNvSpPr/>
          <p:nvPr/>
        </p:nvSpPr>
        <p:spPr>
          <a:xfrm>
            <a:off x="1838325" y="2382830"/>
            <a:ext cx="1936071" cy="1936070"/>
          </a:xfrm>
          <a:prstGeom prst="ellipse">
            <a:avLst/>
          </a:prstGeom>
          <a:solidFill>
            <a:schemeClr val="accent1"/>
          </a:solidFill>
          <a:ln w="19050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0" name="ïsḻïďê">
            <a:extLst>
              <a:ext uri="{FF2B5EF4-FFF2-40B4-BE49-F238E27FC236}">
                <a16:creationId xmlns:a16="http://schemas.microsoft.com/office/drawing/2014/main" id="{9025A2EE-FF19-4498-A653-673709D1411B}"/>
              </a:ext>
            </a:extLst>
          </p:cNvPr>
          <p:cNvSpPr/>
          <p:nvPr/>
        </p:nvSpPr>
        <p:spPr>
          <a:xfrm>
            <a:off x="5127965" y="2382830"/>
            <a:ext cx="1936071" cy="1936070"/>
          </a:xfrm>
          <a:prstGeom prst="ellipse">
            <a:avLst/>
          </a:prstGeom>
          <a:solidFill>
            <a:schemeClr val="accent2"/>
          </a:solidFill>
          <a:ln w="19050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1" name="iSḷïḓe">
            <a:extLst>
              <a:ext uri="{FF2B5EF4-FFF2-40B4-BE49-F238E27FC236}">
                <a16:creationId xmlns:a16="http://schemas.microsoft.com/office/drawing/2014/main" id="{FEFC7C87-B0C4-45B5-BECB-439B1AD5D0C2}"/>
              </a:ext>
            </a:extLst>
          </p:cNvPr>
          <p:cNvSpPr/>
          <p:nvPr/>
        </p:nvSpPr>
        <p:spPr>
          <a:xfrm>
            <a:off x="8417604" y="2382830"/>
            <a:ext cx="1936071" cy="1936070"/>
          </a:xfrm>
          <a:prstGeom prst="ellipse">
            <a:avLst/>
          </a:prstGeom>
          <a:solidFill>
            <a:schemeClr val="accent1"/>
          </a:solidFill>
          <a:ln w="19050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2" name="íṥlïḓé">
            <a:extLst>
              <a:ext uri="{FF2B5EF4-FFF2-40B4-BE49-F238E27FC236}">
                <a16:creationId xmlns:a16="http://schemas.microsoft.com/office/drawing/2014/main" id="{1C01D01A-179D-46EF-AEA3-82B3705FA03C}"/>
              </a:ext>
            </a:extLst>
          </p:cNvPr>
          <p:cNvSpPr/>
          <p:nvPr/>
        </p:nvSpPr>
        <p:spPr>
          <a:xfrm>
            <a:off x="3728296" y="2616655"/>
            <a:ext cx="1468420" cy="146842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3" name="iSlîďê">
            <a:extLst>
              <a:ext uri="{FF2B5EF4-FFF2-40B4-BE49-F238E27FC236}">
                <a16:creationId xmlns:a16="http://schemas.microsoft.com/office/drawing/2014/main" id="{0E136E55-7921-4E97-B1FF-6AB8118F5E7D}"/>
              </a:ext>
            </a:extLst>
          </p:cNvPr>
          <p:cNvSpPr/>
          <p:nvPr/>
        </p:nvSpPr>
        <p:spPr>
          <a:xfrm>
            <a:off x="7006610" y="2616655"/>
            <a:ext cx="1468420" cy="146842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4" name="îṥľíḍè">
            <a:extLst>
              <a:ext uri="{FF2B5EF4-FFF2-40B4-BE49-F238E27FC236}">
                <a16:creationId xmlns:a16="http://schemas.microsoft.com/office/drawing/2014/main" id="{AB702018-D9CF-4221-B526-6AA065D3DB5E}"/>
              </a:ext>
            </a:extLst>
          </p:cNvPr>
          <p:cNvSpPr/>
          <p:nvPr/>
        </p:nvSpPr>
        <p:spPr>
          <a:xfrm>
            <a:off x="2405755" y="3031865"/>
            <a:ext cx="801208" cy="637999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5" name="iṧḻiḓê">
            <a:extLst>
              <a:ext uri="{FF2B5EF4-FFF2-40B4-BE49-F238E27FC236}">
                <a16:creationId xmlns:a16="http://schemas.microsoft.com/office/drawing/2014/main" id="{526BB0CD-C487-4E2D-BD3E-F6C032C2768C}"/>
              </a:ext>
            </a:extLst>
          </p:cNvPr>
          <p:cNvSpPr/>
          <p:nvPr/>
        </p:nvSpPr>
        <p:spPr>
          <a:xfrm>
            <a:off x="5799255" y="2950260"/>
            <a:ext cx="593489" cy="801210"/>
          </a:xfrm>
          <a:custGeom>
            <a:avLst/>
            <a:gdLst>
              <a:gd name="connsiteX0" fmla="*/ 85725 w 381000"/>
              <a:gd name="connsiteY0" fmla="*/ 38100 h 514350"/>
              <a:gd name="connsiteX1" fmla="*/ 85725 w 381000"/>
              <a:gd name="connsiteY1" fmla="*/ 57150 h 514350"/>
              <a:gd name="connsiteX2" fmla="*/ 121920 w 381000"/>
              <a:gd name="connsiteY2" fmla="*/ 95250 h 514350"/>
              <a:gd name="connsiteX3" fmla="*/ 123825 w 381000"/>
              <a:gd name="connsiteY3" fmla="*/ 95250 h 514350"/>
              <a:gd name="connsiteX4" fmla="*/ 257175 w 381000"/>
              <a:gd name="connsiteY4" fmla="*/ 95250 h 514350"/>
              <a:gd name="connsiteX5" fmla="*/ 295275 w 381000"/>
              <a:gd name="connsiteY5" fmla="*/ 59055 h 514350"/>
              <a:gd name="connsiteX6" fmla="*/ 295275 w 381000"/>
              <a:gd name="connsiteY6" fmla="*/ 57150 h 514350"/>
              <a:gd name="connsiteX7" fmla="*/ 295275 w 381000"/>
              <a:gd name="connsiteY7" fmla="*/ 38100 h 514350"/>
              <a:gd name="connsiteX8" fmla="*/ 352425 w 381000"/>
              <a:gd name="connsiteY8" fmla="*/ 38100 h 514350"/>
              <a:gd name="connsiteX9" fmla="*/ 381000 w 381000"/>
              <a:gd name="connsiteY9" fmla="*/ 66675 h 514350"/>
              <a:gd name="connsiteX10" fmla="*/ 381000 w 381000"/>
              <a:gd name="connsiteY10" fmla="*/ 485775 h 514350"/>
              <a:gd name="connsiteX11" fmla="*/ 352425 w 381000"/>
              <a:gd name="connsiteY11" fmla="*/ 514350 h 514350"/>
              <a:gd name="connsiteX12" fmla="*/ 28575 w 381000"/>
              <a:gd name="connsiteY12" fmla="*/ 514350 h 514350"/>
              <a:gd name="connsiteX13" fmla="*/ 0 w 381000"/>
              <a:gd name="connsiteY13" fmla="*/ 485775 h 514350"/>
              <a:gd name="connsiteX14" fmla="*/ 0 w 381000"/>
              <a:gd name="connsiteY14" fmla="*/ 66675 h 514350"/>
              <a:gd name="connsiteX15" fmla="*/ 28575 w 381000"/>
              <a:gd name="connsiteY15" fmla="*/ 38100 h 514350"/>
              <a:gd name="connsiteX16" fmla="*/ 85725 w 381000"/>
              <a:gd name="connsiteY16" fmla="*/ 38100 h 514350"/>
              <a:gd name="connsiteX17" fmla="*/ 190500 w 381000"/>
              <a:gd name="connsiteY17" fmla="*/ 333375 h 514350"/>
              <a:gd name="connsiteX18" fmla="*/ 76200 w 381000"/>
              <a:gd name="connsiteY18" fmla="*/ 333375 h 514350"/>
              <a:gd name="connsiteX19" fmla="*/ 76200 w 381000"/>
              <a:gd name="connsiteY19" fmla="*/ 352425 h 514350"/>
              <a:gd name="connsiteX20" fmla="*/ 190500 w 381000"/>
              <a:gd name="connsiteY20" fmla="*/ 352425 h 514350"/>
              <a:gd name="connsiteX21" fmla="*/ 190500 w 381000"/>
              <a:gd name="connsiteY21" fmla="*/ 333375 h 514350"/>
              <a:gd name="connsiteX22" fmla="*/ 304800 w 381000"/>
              <a:gd name="connsiteY22" fmla="*/ 257175 h 514350"/>
              <a:gd name="connsiteX23" fmla="*/ 76200 w 381000"/>
              <a:gd name="connsiteY23" fmla="*/ 257175 h 514350"/>
              <a:gd name="connsiteX24" fmla="*/ 76200 w 381000"/>
              <a:gd name="connsiteY24" fmla="*/ 276225 h 514350"/>
              <a:gd name="connsiteX25" fmla="*/ 304800 w 381000"/>
              <a:gd name="connsiteY25" fmla="*/ 276225 h 514350"/>
              <a:gd name="connsiteX26" fmla="*/ 304800 w 381000"/>
              <a:gd name="connsiteY26" fmla="*/ 257175 h 514350"/>
              <a:gd name="connsiteX27" fmla="*/ 304800 w 381000"/>
              <a:gd name="connsiteY27" fmla="*/ 180975 h 514350"/>
              <a:gd name="connsiteX28" fmla="*/ 76200 w 381000"/>
              <a:gd name="connsiteY28" fmla="*/ 180975 h 514350"/>
              <a:gd name="connsiteX29" fmla="*/ 76200 w 381000"/>
              <a:gd name="connsiteY29" fmla="*/ 200025 h 514350"/>
              <a:gd name="connsiteX30" fmla="*/ 304800 w 381000"/>
              <a:gd name="connsiteY30" fmla="*/ 200025 h 514350"/>
              <a:gd name="connsiteX31" fmla="*/ 304800 w 381000"/>
              <a:gd name="connsiteY31" fmla="*/ 180975 h 514350"/>
              <a:gd name="connsiteX32" fmla="*/ 247650 w 381000"/>
              <a:gd name="connsiteY32" fmla="*/ 0 h 514350"/>
              <a:gd name="connsiteX33" fmla="*/ 276225 w 381000"/>
              <a:gd name="connsiteY33" fmla="*/ 28575 h 514350"/>
              <a:gd name="connsiteX34" fmla="*/ 276225 w 381000"/>
              <a:gd name="connsiteY34" fmla="*/ 47625 h 514350"/>
              <a:gd name="connsiteX35" fmla="*/ 247650 w 381000"/>
              <a:gd name="connsiteY35" fmla="*/ 76200 h 514350"/>
              <a:gd name="connsiteX36" fmla="*/ 133350 w 381000"/>
              <a:gd name="connsiteY36" fmla="*/ 76200 h 514350"/>
              <a:gd name="connsiteX37" fmla="*/ 104775 w 381000"/>
              <a:gd name="connsiteY37" fmla="*/ 47625 h 514350"/>
              <a:gd name="connsiteX38" fmla="*/ 104775 w 381000"/>
              <a:gd name="connsiteY38" fmla="*/ 28575 h 514350"/>
              <a:gd name="connsiteX39" fmla="*/ 133350 w 381000"/>
              <a:gd name="connsiteY39" fmla="*/ 0 h 514350"/>
              <a:gd name="connsiteX40" fmla="*/ 247650 w 381000"/>
              <a:gd name="connsiteY40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81000" h="514350">
                <a:moveTo>
                  <a:pt x="85725" y="38100"/>
                </a:moveTo>
                <a:lnTo>
                  <a:pt x="85725" y="57150"/>
                </a:lnTo>
                <a:cubicBezTo>
                  <a:pt x="85725" y="77534"/>
                  <a:pt x="101727" y="94202"/>
                  <a:pt x="121920" y="95250"/>
                </a:cubicBezTo>
                <a:lnTo>
                  <a:pt x="123825" y="95250"/>
                </a:lnTo>
                <a:lnTo>
                  <a:pt x="257175" y="95250"/>
                </a:lnTo>
                <a:cubicBezTo>
                  <a:pt x="277559" y="95250"/>
                  <a:pt x="294227" y="79248"/>
                  <a:pt x="295275" y="59055"/>
                </a:cubicBezTo>
                <a:lnTo>
                  <a:pt x="295275" y="57150"/>
                </a:lnTo>
                <a:lnTo>
                  <a:pt x="295275" y="38100"/>
                </a:lnTo>
                <a:lnTo>
                  <a:pt x="352425" y="38100"/>
                </a:lnTo>
                <a:cubicBezTo>
                  <a:pt x="368236" y="38100"/>
                  <a:pt x="381000" y="50864"/>
                  <a:pt x="381000" y="66675"/>
                </a:cubicBezTo>
                <a:lnTo>
                  <a:pt x="381000" y="485775"/>
                </a:lnTo>
                <a:cubicBezTo>
                  <a:pt x="381000" y="501587"/>
                  <a:pt x="368236" y="514350"/>
                  <a:pt x="352425" y="514350"/>
                </a:cubicBezTo>
                <a:lnTo>
                  <a:pt x="28575" y="514350"/>
                </a:lnTo>
                <a:cubicBezTo>
                  <a:pt x="12764" y="514350"/>
                  <a:pt x="0" y="501587"/>
                  <a:pt x="0" y="485775"/>
                </a:cubicBezTo>
                <a:lnTo>
                  <a:pt x="0" y="66675"/>
                </a:lnTo>
                <a:cubicBezTo>
                  <a:pt x="0" y="50864"/>
                  <a:pt x="12764" y="38100"/>
                  <a:pt x="28575" y="38100"/>
                </a:cubicBezTo>
                <a:lnTo>
                  <a:pt x="85725" y="38100"/>
                </a:lnTo>
                <a:close/>
                <a:moveTo>
                  <a:pt x="190500" y="333375"/>
                </a:moveTo>
                <a:lnTo>
                  <a:pt x="76200" y="333375"/>
                </a:lnTo>
                <a:lnTo>
                  <a:pt x="76200" y="352425"/>
                </a:lnTo>
                <a:lnTo>
                  <a:pt x="190500" y="352425"/>
                </a:lnTo>
                <a:lnTo>
                  <a:pt x="190500" y="333375"/>
                </a:lnTo>
                <a:close/>
                <a:moveTo>
                  <a:pt x="304800" y="257175"/>
                </a:moveTo>
                <a:lnTo>
                  <a:pt x="76200" y="257175"/>
                </a:lnTo>
                <a:lnTo>
                  <a:pt x="76200" y="276225"/>
                </a:lnTo>
                <a:lnTo>
                  <a:pt x="304800" y="276225"/>
                </a:lnTo>
                <a:lnTo>
                  <a:pt x="304800" y="257175"/>
                </a:lnTo>
                <a:close/>
                <a:moveTo>
                  <a:pt x="304800" y="180975"/>
                </a:moveTo>
                <a:lnTo>
                  <a:pt x="76200" y="180975"/>
                </a:lnTo>
                <a:lnTo>
                  <a:pt x="76200" y="200025"/>
                </a:lnTo>
                <a:lnTo>
                  <a:pt x="304800" y="200025"/>
                </a:lnTo>
                <a:lnTo>
                  <a:pt x="304800" y="180975"/>
                </a:lnTo>
                <a:close/>
                <a:moveTo>
                  <a:pt x="247650" y="0"/>
                </a:moveTo>
                <a:cubicBezTo>
                  <a:pt x="263461" y="0"/>
                  <a:pt x="276225" y="12763"/>
                  <a:pt x="276225" y="28575"/>
                </a:cubicBezTo>
                <a:lnTo>
                  <a:pt x="276225" y="47625"/>
                </a:lnTo>
                <a:cubicBezTo>
                  <a:pt x="276225" y="63437"/>
                  <a:pt x="263461" y="76200"/>
                  <a:pt x="247650" y="76200"/>
                </a:cubicBezTo>
                <a:lnTo>
                  <a:pt x="133350" y="76200"/>
                </a:lnTo>
                <a:cubicBezTo>
                  <a:pt x="117539" y="76200"/>
                  <a:pt x="104775" y="63437"/>
                  <a:pt x="104775" y="47625"/>
                </a:cubicBezTo>
                <a:lnTo>
                  <a:pt x="104775" y="28575"/>
                </a:lnTo>
                <a:cubicBezTo>
                  <a:pt x="104775" y="12763"/>
                  <a:pt x="117539" y="0"/>
                  <a:pt x="133350" y="0"/>
                </a:cubicBezTo>
                <a:lnTo>
                  <a:pt x="247650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6" name="i$ḻíḑé">
            <a:extLst>
              <a:ext uri="{FF2B5EF4-FFF2-40B4-BE49-F238E27FC236}">
                <a16:creationId xmlns:a16="http://schemas.microsoft.com/office/drawing/2014/main" id="{A9DE036C-6DA6-4C1D-B210-FDF3E410226A}"/>
              </a:ext>
            </a:extLst>
          </p:cNvPr>
          <p:cNvSpPr/>
          <p:nvPr/>
        </p:nvSpPr>
        <p:spPr>
          <a:xfrm>
            <a:off x="8985035" y="2986028"/>
            <a:ext cx="801208" cy="729671"/>
          </a:xfrm>
          <a:custGeom>
            <a:avLst/>
            <a:gdLst>
              <a:gd name="connsiteX0" fmla="*/ 123825 w 533400"/>
              <a:gd name="connsiteY0" fmla="*/ 228600 h 485775"/>
              <a:gd name="connsiteX1" fmla="*/ 123825 w 533400"/>
              <a:gd name="connsiteY1" fmla="*/ 276225 h 485775"/>
              <a:gd name="connsiteX2" fmla="*/ 142875 w 533400"/>
              <a:gd name="connsiteY2" fmla="*/ 276225 h 485775"/>
              <a:gd name="connsiteX3" fmla="*/ 142875 w 533400"/>
              <a:gd name="connsiteY3" fmla="*/ 228600 h 485775"/>
              <a:gd name="connsiteX4" fmla="*/ 390525 w 533400"/>
              <a:gd name="connsiteY4" fmla="*/ 228600 h 485775"/>
              <a:gd name="connsiteX5" fmla="*/ 390525 w 533400"/>
              <a:gd name="connsiteY5" fmla="*/ 276225 h 485775"/>
              <a:gd name="connsiteX6" fmla="*/ 409575 w 533400"/>
              <a:gd name="connsiteY6" fmla="*/ 276225 h 485775"/>
              <a:gd name="connsiteX7" fmla="*/ 409575 w 533400"/>
              <a:gd name="connsiteY7" fmla="*/ 228600 h 485775"/>
              <a:gd name="connsiteX8" fmla="*/ 533400 w 533400"/>
              <a:gd name="connsiteY8" fmla="*/ 228600 h 485775"/>
              <a:gd name="connsiteX9" fmla="*/ 533400 w 533400"/>
              <a:gd name="connsiteY9" fmla="*/ 457200 h 485775"/>
              <a:gd name="connsiteX10" fmla="*/ 504825 w 533400"/>
              <a:gd name="connsiteY10" fmla="*/ 485775 h 485775"/>
              <a:gd name="connsiteX11" fmla="*/ 28575 w 533400"/>
              <a:gd name="connsiteY11" fmla="*/ 485775 h 485775"/>
              <a:gd name="connsiteX12" fmla="*/ 0 w 533400"/>
              <a:gd name="connsiteY12" fmla="*/ 457200 h 485775"/>
              <a:gd name="connsiteX13" fmla="*/ 0 w 533400"/>
              <a:gd name="connsiteY13" fmla="*/ 228600 h 485775"/>
              <a:gd name="connsiteX14" fmla="*/ 123825 w 533400"/>
              <a:gd name="connsiteY14" fmla="*/ 228600 h 485775"/>
              <a:gd name="connsiteX15" fmla="*/ 371475 w 533400"/>
              <a:gd name="connsiteY15" fmla="*/ 0 h 485775"/>
              <a:gd name="connsiteX16" fmla="*/ 409575 w 533400"/>
              <a:gd name="connsiteY16" fmla="*/ 36195 h 485775"/>
              <a:gd name="connsiteX17" fmla="*/ 409575 w 533400"/>
              <a:gd name="connsiteY17" fmla="*/ 38100 h 485775"/>
              <a:gd name="connsiteX18" fmla="*/ 409575 w 533400"/>
              <a:gd name="connsiteY18" fmla="*/ 114300 h 485775"/>
              <a:gd name="connsiteX19" fmla="*/ 504825 w 533400"/>
              <a:gd name="connsiteY19" fmla="*/ 114300 h 485775"/>
              <a:gd name="connsiteX20" fmla="*/ 533400 w 533400"/>
              <a:gd name="connsiteY20" fmla="*/ 142875 h 485775"/>
              <a:gd name="connsiteX21" fmla="*/ 533400 w 533400"/>
              <a:gd name="connsiteY21" fmla="*/ 209550 h 485775"/>
              <a:gd name="connsiteX22" fmla="*/ 0 w 533400"/>
              <a:gd name="connsiteY22" fmla="*/ 209550 h 485775"/>
              <a:gd name="connsiteX23" fmla="*/ 0 w 533400"/>
              <a:gd name="connsiteY23" fmla="*/ 142875 h 485775"/>
              <a:gd name="connsiteX24" fmla="*/ 28575 w 533400"/>
              <a:gd name="connsiteY24" fmla="*/ 114300 h 485775"/>
              <a:gd name="connsiteX25" fmla="*/ 123825 w 533400"/>
              <a:gd name="connsiteY25" fmla="*/ 114300 h 485775"/>
              <a:gd name="connsiteX26" fmla="*/ 123825 w 533400"/>
              <a:gd name="connsiteY26" fmla="*/ 38100 h 485775"/>
              <a:gd name="connsiteX27" fmla="*/ 160020 w 533400"/>
              <a:gd name="connsiteY27" fmla="*/ 0 h 485775"/>
              <a:gd name="connsiteX28" fmla="*/ 161925 w 533400"/>
              <a:gd name="connsiteY28" fmla="*/ 0 h 485775"/>
              <a:gd name="connsiteX29" fmla="*/ 371475 w 533400"/>
              <a:gd name="connsiteY29" fmla="*/ 0 h 485775"/>
              <a:gd name="connsiteX30" fmla="*/ 371475 w 533400"/>
              <a:gd name="connsiteY30" fmla="*/ 19050 h 485775"/>
              <a:gd name="connsiteX31" fmla="*/ 161925 w 533400"/>
              <a:gd name="connsiteY31" fmla="*/ 19050 h 485775"/>
              <a:gd name="connsiteX32" fmla="*/ 142970 w 533400"/>
              <a:gd name="connsiteY32" fmla="*/ 36671 h 485775"/>
              <a:gd name="connsiteX33" fmla="*/ 142875 w 533400"/>
              <a:gd name="connsiteY33" fmla="*/ 38100 h 485775"/>
              <a:gd name="connsiteX34" fmla="*/ 142875 w 533400"/>
              <a:gd name="connsiteY34" fmla="*/ 114300 h 485775"/>
              <a:gd name="connsiteX35" fmla="*/ 390525 w 533400"/>
              <a:gd name="connsiteY35" fmla="*/ 114300 h 485775"/>
              <a:gd name="connsiteX36" fmla="*/ 390525 w 533400"/>
              <a:gd name="connsiteY36" fmla="*/ 38100 h 485775"/>
              <a:gd name="connsiteX37" fmla="*/ 374333 w 533400"/>
              <a:gd name="connsiteY37" fmla="*/ 19241 h 485775"/>
              <a:gd name="connsiteX38" fmla="*/ 372904 w 533400"/>
              <a:gd name="connsiteY38" fmla="*/ 19050 h 485775"/>
              <a:gd name="connsiteX39" fmla="*/ 371475 w 533400"/>
              <a:gd name="connsiteY39" fmla="*/ 1905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3825" y="228600"/>
                </a:moveTo>
                <a:lnTo>
                  <a:pt x="123825" y="276225"/>
                </a:lnTo>
                <a:lnTo>
                  <a:pt x="142875" y="276225"/>
                </a:lnTo>
                <a:lnTo>
                  <a:pt x="142875" y="228600"/>
                </a:lnTo>
                <a:lnTo>
                  <a:pt x="390525" y="228600"/>
                </a:lnTo>
                <a:lnTo>
                  <a:pt x="390525" y="276225"/>
                </a:lnTo>
                <a:lnTo>
                  <a:pt x="409575" y="276225"/>
                </a:lnTo>
                <a:lnTo>
                  <a:pt x="409575" y="228600"/>
                </a:lnTo>
                <a:lnTo>
                  <a:pt x="533400" y="228600"/>
                </a:lnTo>
                <a:lnTo>
                  <a:pt x="533400" y="457200"/>
                </a:lnTo>
                <a:cubicBezTo>
                  <a:pt x="533400" y="473012"/>
                  <a:pt x="520637" y="485775"/>
                  <a:pt x="504825" y="485775"/>
                </a:cubicBezTo>
                <a:lnTo>
                  <a:pt x="28575" y="485775"/>
                </a:lnTo>
                <a:cubicBezTo>
                  <a:pt x="12763" y="485775"/>
                  <a:pt x="0" y="473012"/>
                  <a:pt x="0" y="457200"/>
                </a:cubicBezTo>
                <a:lnTo>
                  <a:pt x="0" y="228600"/>
                </a:lnTo>
                <a:lnTo>
                  <a:pt x="123825" y="228600"/>
                </a:lnTo>
                <a:close/>
                <a:moveTo>
                  <a:pt x="371475" y="0"/>
                </a:moveTo>
                <a:cubicBezTo>
                  <a:pt x="391859" y="0"/>
                  <a:pt x="408527" y="16002"/>
                  <a:pt x="409575" y="36195"/>
                </a:cubicBezTo>
                <a:lnTo>
                  <a:pt x="409575" y="38100"/>
                </a:lnTo>
                <a:lnTo>
                  <a:pt x="409575" y="114300"/>
                </a:lnTo>
                <a:lnTo>
                  <a:pt x="504825" y="114300"/>
                </a:lnTo>
                <a:cubicBezTo>
                  <a:pt x="520637" y="114300"/>
                  <a:pt x="533400" y="127064"/>
                  <a:pt x="533400" y="142875"/>
                </a:cubicBezTo>
                <a:lnTo>
                  <a:pt x="533400" y="209550"/>
                </a:lnTo>
                <a:lnTo>
                  <a:pt x="0" y="209550"/>
                </a:lnTo>
                <a:lnTo>
                  <a:pt x="0" y="142875"/>
                </a:lnTo>
                <a:cubicBezTo>
                  <a:pt x="0" y="127064"/>
                  <a:pt x="12763" y="114300"/>
                  <a:pt x="28575" y="114300"/>
                </a:cubicBezTo>
                <a:lnTo>
                  <a:pt x="123825" y="114300"/>
                </a:lnTo>
                <a:lnTo>
                  <a:pt x="123825" y="38100"/>
                </a:lnTo>
                <a:cubicBezTo>
                  <a:pt x="123825" y="17716"/>
                  <a:pt x="139828" y="1048"/>
                  <a:pt x="160020" y="0"/>
                </a:cubicBezTo>
                <a:lnTo>
                  <a:pt x="161925" y="0"/>
                </a:lnTo>
                <a:lnTo>
                  <a:pt x="371475" y="0"/>
                </a:lnTo>
                <a:close/>
                <a:moveTo>
                  <a:pt x="371475" y="19050"/>
                </a:moveTo>
                <a:lnTo>
                  <a:pt x="161925" y="19050"/>
                </a:lnTo>
                <a:cubicBezTo>
                  <a:pt x="151923" y="19050"/>
                  <a:pt x="143637" y="26861"/>
                  <a:pt x="142970" y="36671"/>
                </a:cubicBezTo>
                <a:lnTo>
                  <a:pt x="142875" y="38100"/>
                </a:lnTo>
                <a:lnTo>
                  <a:pt x="142875" y="114300"/>
                </a:lnTo>
                <a:lnTo>
                  <a:pt x="390525" y="114300"/>
                </a:lnTo>
                <a:lnTo>
                  <a:pt x="390525" y="38100"/>
                </a:lnTo>
                <a:cubicBezTo>
                  <a:pt x="390525" y="28575"/>
                  <a:pt x="383477" y="20669"/>
                  <a:pt x="374333" y="19241"/>
                </a:cubicBezTo>
                <a:lnTo>
                  <a:pt x="372904" y="19050"/>
                </a:lnTo>
                <a:lnTo>
                  <a:pt x="371475" y="1905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7" name="i$ļíḓè">
            <a:extLst>
              <a:ext uri="{FF2B5EF4-FFF2-40B4-BE49-F238E27FC236}">
                <a16:creationId xmlns:a16="http://schemas.microsoft.com/office/drawing/2014/main" id="{A2DABDD1-8F8C-4B79-B6CC-793A82168A3F}"/>
              </a:ext>
            </a:extLst>
          </p:cNvPr>
          <p:cNvSpPr/>
          <p:nvPr/>
        </p:nvSpPr>
        <p:spPr>
          <a:xfrm>
            <a:off x="4370767" y="3226985"/>
            <a:ext cx="183478" cy="247760"/>
          </a:xfrm>
          <a:prstGeom prst="chevron">
            <a:avLst>
              <a:gd name="adj" fmla="val 63071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8" name="îşľiďe">
            <a:extLst>
              <a:ext uri="{FF2B5EF4-FFF2-40B4-BE49-F238E27FC236}">
                <a16:creationId xmlns:a16="http://schemas.microsoft.com/office/drawing/2014/main" id="{928358A3-B6CC-4BD6-8D07-8017A1D824C3}"/>
              </a:ext>
            </a:extLst>
          </p:cNvPr>
          <p:cNvSpPr/>
          <p:nvPr/>
        </p:nvSpPr>
        <p:spPr>
          <a:xfrm>
            <a:off x="7649081" y="3226985"/>
            <a:ext cx="183478" cy="247760"/>
          </a:xfrm>
          <a:prstGeom prst="chevron">
            <a:avLst>
              <a:gd name="adj" fmla="val 63071"/>
            </a:avLst>
          </a:prstGeom>
          <a:solidFill>
            <a:schemeClr val="tx1">
              <a:lumMod val="50000"/>
              <a:lumOff val="50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grpSp>
        <p:nvGrpSpPr>
          <p:cNvPr id="39" name="ïṡlidè">
            <a:extLst>
              <a:ext uri="{FF2B5EF4-FFF2-40B4-BE49-F238E27FC236}">
                <a16:creationId xmlns:a16="http://schemas.microsoft.com/office/drawing/2014/main" id="{963D6B28-DD1F-45BE-AFBA-AFF6E5080FD9}"/>
              </a:ext>
            </a:extLst>
          </p:cNvPr>
          <p:cNvGrpSpPr/>
          <p:nvPr/>
        </p:nvGrpSpPr>
        <p:grpSpPr>
          <a:xfrm>
            <a:off x="4449764" y="4785017"/>
            <a:ext cx="3292473" cy="1278554"/>
            <a:chOff x="577094" y="1257300"/>
            <a:chExt cx="3292473" cy="1278554"/>
          </a:xfrm>
        </p:grpSpPr>
        <p:sp>
          <p:nvSpPr>
            <p:cNvPr id="49" name="îṥļíḑê">
              <a:extLst>
                <a:ext uri="{FF2B5EF4-FFF2-40B4-BE49-F238E27FC236}">
                  <a16:creationId xmlns:a16="http://schemas.microsoft.com/office/drawing/2014/main" id="{9006D069-8124-460C-82C3-F07A292CA8DF}"/>
                </a:ext>
              </a:extLst>
            </p:cNvPr>
            <p:cNvSpPr/>
            <p:nvPr/>
          </p:nvSpPr>
          <p:spPr bwMode="auto">
            <a:xfrm>
              <a:off x="577094" y="1689323"/>
              <a:ext cx="3292473" cy="846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……</a:t>
              </a:r>
            </a:p>
          </p:txBody>
        </p:sp>
        <p:sp>
          <p:nvSpPr>
            <p:cNvPr id="50" name="i$ḻíḑé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577094" y="1257300"/>
              <a:ext cx="3292473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b="1" i="1"/>
                <a:t>02.Text here</a:t>
              </a:r>
              <a:endParaRPr lang="en-US" altLang="zh-CN" b="1" i="1" dirty="0"/>
            </a:p>
          </p:txBody>
        </p:sp>
      </p:grpSp>
      <p:grpSp>
        <p:nvGrpSpPr>
          <p:cNvPr id="40" name="îŝļíḍé">
            <a:extLst>
              <a:ext uri="{FF2B5EF4-FFF2-40B4-BE49-F238E27FC236}">
                <a16:creationId xmlns:a16="http://schemas.microsoft.com/office/drawing/2014/main" id="{81413E97-19E3-4E21-A4EB-689039C593CD}"/>
              </a:ext>
            </a:extLst>
          </p:cNvPr>
          <p:cNvGrpSpPr/>
          <p:nvPr/>
        </p:nvGrpSpPr>
        <p:grpSpPr>
          <a:xfrm>
            <a:off x="965278" y="4785017"/>
            <a:ext cx="3292473" cy="1278554"/>
            <a:chOff x="577094" y="1257300"/>
            <a:chExt cx="3292473" cy="1278554"/>
          </a:xfrm>
        </p:grpSpPr>
        <p:sp>
          <p:nvSpPr>
            <p:cNvPr id="47" name="íśḻïďé">
              <a:extLst>
                <a:ext uri="{FF2B5EF4-FFF2-40B4-BE49-F238E27FC236}">
                  <a16:creationId xmlns:a16="http://schemas.microsoft.com/office/drawing/2014/main" id="{9006D069-8124-460C-82C3-F07A292CA8DF}"/>
                </a:ext>
              </a:extLst>
            </p:cNvPr>
            <p:cNvSpPr/>
            <p:nvPr/>
          </p:nvSpPr>
          <p:spPr bwMode="auto">
            <a:xfrm>
              <a:off x="577094" y="1689323"/>
              <a:ext cx="3292473" cy="846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……</a:t>
              </a:r>
            </a:p>
          </p:txBody>
        </p:sp>
        <p:sp>
          <p:nvSpPr>
            <p:cNvPr id="48" name="ïsḻïḋè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577094" y="1257300"/>
              <a:ext cx="3292473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b="1" i="1"/>
                <a:t>01.Text here</a:t>
              </a:r>
              <a:endParaRPr lang="en-US" altLang="zh-CN" b="1" i="1" dirty="0"/>
            </a:p>
          </p:txBody>
        </p:sp>
      </p:grpSp>
      <p:grpSp>
        <p:nvGrpSpPr>
          <p:cNvPr id="41" name="îS1îďe">
            <a:extLst>
              <a:ext uri="{FF2B5EF4-FFF2-40B4-BE49-F238E27FC236}">
                <a16:creationId xmlns:a16="http://schemas.microsoft.com/office/drawing/2014/main" id="{6E4F0E0E-B3ED-4550-9B12-D5517EE33530}"/>
              </a:ext>
            </a:extLst>
          </p:cNvPr>
          <p:cNvGrpSpPr/>
          <p:nvPr/>
        </p:nvGrpSpPr>
        <p:grpSpPr>
          <a:xfrm>
            <a:off x="7934248" y="4785017"/>
            <a:ext cx="3292473" cy="1278554"/>
            <a:chOff x="577094" y="1257300"/>
            <a:chExt cx="3292473" cy="1278554"/>
          </a:xfrm>
        </p:grpSpPr>
        <p:sp>
          <p:nvSpPr>
            <p:cNvPr id="45" name="iṣļîdé">
              <a:extLst>
                <a:ext uri="{FF2B5EF4-FFF2-40B4-BE49-F238E27FC236}">
                  <a16:creationId xmlns:a16="http://schemas.microsoft.com/office/drawing/2014/main" id="{9006D069-8124-460C-82C3-F07A292CA8DF}"/>
                </a:ext>
              </a:extLst>
            </p:cNvPr>
            <p:cNvSpPr/>
            <p:nvPr/>
          </p:nvSpPr>
          <p:spPr bwMode="auto">
            <a:xfrm>
              <a:off x="577094" y="1689323"/>
              <a:ext cx="3292473" cy="846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……</a:t>
              </a:r>
            </a:p>
          </p:txBody>
        </p:sp>
        <p:sp>
          <p:nvSpPr>
            <p:cNvPr id="46" name="îślïḍe">
              <a:extLst>
                <a:ext uri="{FF2B5EF4-FFF2-40B4-BE49-F238E27FC236}">
                  <a16:creationId xmlns:a16="http://schemas.microsoft.com/office/drawing/2014/main" id="{F29B8C60-FE24-4C9E-854E-3BB576656541}"/>
                </a:ext>
              </a:extLst>
            </p:cNvPr>
            <p:cNvSpPr txBox="1"/>
            <p:nvPr/>
          </p:nvSpPr>
          <p:spPr bwMode="auto">
            <a:xfrm>
              <a:off x="577094" y="1257300"/>
              <a:ext cx="3292473" cy="43202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b="1" i="1"/>
                <a:t>03.Text here</a:t>
              </a:r>
              <a:endParaRPr lang="en-US" altLang="zh-CN" b="1" i="1" dirty="0"/>
            </a:p>
          </p:txBody>
        </p:sp>
      </p:grpSp>
      <p:cxnSp>
        <p:nvCxnSpPr>
          <p:cNvPr id="42" name="îṡḻîḓê">
            <a:extLst>
              <a:ext uri="{FF2B5EF4-FFF2-40B4-BE49-F238E27FC236}">
                <a16:creationId xmlns:a16="http://schemas.microsoft.com/office/drawing/2014/main" id="{E8835BD7-D2A3-497B-8BC7-A59320C8B2A9}"/>
              </a:ext>
            </a:extLst>
          </p:cNvPr>
          <p:cNvCxnSpPr/>
          <p:nvPr/>
        </p:nvCxnSpPr>
        <p:spPr>
          <a:xfrm>
            <a:off x="4353758" y="4831660"/>
            <a:ext cx="0" cy="118526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îṥļïḍè">
            <a:extLst>
              <a:ext uri="{FF2B5EF4-FFF2-40B4-BE49-F238E27FC236}">
                <a16:creationId xmlns:a16="http://schemas.microsoft.com/office/drawing/2014/main" id="{634B82F0-3403-4BE2-A37B-E885CC5EF209}"/>
              </a:ext>
            </a:extLst>
          </p:cNvPr>
          <p:cNvCxnSpPr/>
          <p:nvPr/>
        </p:nvCxnSpPr>
        <p:spPr>
          <a:xfrm>
            <a:off x="7838242" y="4831660"/>
            <a:ext cx="0" cy="118526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ïṩḻîḑé">
            <a:extLst>
              <a:ext uri="{FF2B5EF4-FFF2-40B4-BE49-F238E27FC236}">
                <a16:creationId xmlns:a16="http://schemas.microsoft.com/office/drawing/2014/main" id="{D90DC0CD-4780-42AB-A4AA-9033686C4F61}"/>
              </a:ext>
            </a:extLst>
          </p:cNvPr>
          <p:cNvSpPr txBox="1"/>
          <p:nvPr/>
        </p:nvSpPr>
        <p:spPr>
          <a:xfrm>
            <a:off x="673102" y="1130300"/>
            <a:ext cx="10845795" cy="8485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en-US" sz="2800" b="1" dirty="0"/>
              <a:t>Unified fonts make reading more fluent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94900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$ḷí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1íḍé">
            <a:extLst>
              <a:ext uri="{FF2B5EF4-FFF2-40B4-BE49-F238E27FC236}">
                <a16:creationId xmlns:a16="http://schemas.microsoft.com/office/drawing/2014/main" id="{2E2858F7-BA6D-42F7-930E-EFB6FFB39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$ḷïdê">
            <a:extLst>
              <a:ext uri="{FF2B5EF4-FFF2-40B4-BE49-F238E27FC236}">
                <a16:creationId xmlns:a16="http://schemas.microsoft.com/office/drawing/2014/main" id="{FC7C4C3F-605F-4445-B2F2-219A330D8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líďè">
            <a:extLst>
              <a:ext uri="{FF2B5EF4-FFF2-40B4-BE49-F238E27FC236}">
                <a16:creationId xmlns:a16="http://schemas.microsoft.com/office/drawing/2014/main" id="{A2697189-3687-42A4-AE8F-8082BF46F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9" name="í$liḑ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62D5D97-ABE1-47F4-A439-5279FE80A9FE}"/>
              </a:ext>
            </a:extLst>
          </p:cNvPr>
          <p:cNvGrpSpPr>
            <a:grpSpLocks noChangeAspect="1"/>
          </p:cNvGrpSpPr>
          <p:nvPr/>
        </p:nvGrpSpPr>
        <p:grpSpPr>
          <a:xfrm>
            <a:off x="1196159" y="2335577"/>
            <a:ext cx="9799682" cy="3156799"/>
            <a:chOff x="1196159" y="2990001"/>
            <a:chExt cx="9799682" cy="3156799"/>
          </a:xfrm>
        </p:grpSpPr>
        <p:cxnSp>
          <p:nvCxnSpPr>
            <p:cNvPr id="62" name="îSḷîḍe">
              <a:extLst>
                <a:ext uri="{FF2B5EF4-FFF2-40B4-BE49-F238E27FC236}">
                  <a16:creationId xmlns:a16="http://schemas.microsoft.com/office/drawing/2014/main" id="{5776F197-30A9-4422-BD69-4997437319CD}"/>
                </a:ext>
              </a:extLst>
            </p:cNvPr>
            <p:cNvCxnSpPr>
              <a:stCxn id="64" idx="3"/>
              <a:endCxn id="73" idx="1"/>
            </p:cNvCxnSpPr>
            <p:nvPr/>
          </p:nvCxnSpPr>
          <p:spPr>
            <a:xfrm>
              <a:off x="3526066" y="3629151"/>
              <a:ext cx="5139868" cy="0"/>
            </a:xfrm>
            <a:prstGeom prst="line">
              <a:avLst/>
            </a:prstGeom>
            <a:ln w="190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ís1iḑe">
              <a:extLst>
                <a:ext uri="{FF2B5EF4-FFF2-40B4-BE49-F238E27FC236}">
                  <a16:creationId xmlns:a16="http://schemas.microsoft.com/office/drawing/2014/main" id="{EF4B8F51-B025-4075-B059-BAC60EA797D4}"/>
                </a:ext>
              </a:extLst>
            </p:cNvPr>
            <p:cNvSpPr/>
            <p:nvPr/>
          </p:nvSpPr>
          <p:spPr>
            <a:xfrm>
              <a:off x="1731881" y="2990001"/>
              <a:ext cx="1794185" cy="415768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600" u="sng" dirty="0"/>
                <a:t>Text here. </a:t>
              </a:r>
            </a:p>
          </p:txBody>
        </p:sp>
        <p:sp>
          <p:nvSpPr>
            <p:cNvPr id="64" name="î$1iḓè">
              <a:extLst>
                <a:ext uri="{FF2B5EF4-FFF2-40B4-BE49-F238E27FC236}">
                  <a16:creationId xmlns:a16="http://schemas.microsoft.com/office/drawing/2014/main" id="{225FC258-6A89-42D4-8D5E-66604A193F92}"/>
                </a:ext>
              </a:extLst>
            </p:cNvPr>
            <p:cNvSpPr/>
            <p:nvPr/>
          </p:nvSpPr>
          <p:spPr>
            <a:xfrm>
              <a:off x="1731881" y="3405769"/>
              <a:ext cx="1794185" cy="44676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zh-CN" altLang="en-US" sz="1600" dirty="0"/>
            </a:p>
          </p:txBody>
        </p:sp>
        <p:sp>
          <p:nvSpPr>
            <p:cNvPr id="65" name="î$lïdé">
              <a:extLst>
                <a:ext uri="{FF2B5EF4-FFF2-40B4-BE49-F238E27FC236}">
                  <a16:creationId xmlns:a16="http://schemas.microsoft.com/office/drawing/2014/main" id="{51848E5D-4537-47D7-90D1-511AD0B71668}"/>
                </a:ext>
              </a:extLst>
            </p:cNvPr>
            <p:cNvSpPr txBox="1"/>
            <p:nvPr/>
          </p:nvSpPr>
          <p:spPr>
            <a:xfrm>
              <a:off x="1196159" y="3991449"/>
              <a:ext cx="2865629" cy="1041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66" name="íSlíde">
              <a:extLst>
                <a:ext uri="{FF2B5EF4-FFF2-40B4-BE49-F238E27FC236}">
                  <a16:creationId xmlns:a16="http://schemas.microsoft.com/office/drawing/2014/main" id="{51848E5D-4537-47D7-90D1-511AD0B71668}"/>
                </a:ext>
              </a:extLst>
            </p:cNvPr>
            <p:cNvSpPr txBox="1"/>
            <p:nvPr/>
          </p:nvSpPr>
          <p:spPr>
            <a:xfrm>
              <a:off x="1196159" y="5105087"/>
              <a:ext cx="2865629" cy="1041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67" name="îš1íḑè">
              <a:extLst>
                <a:ext uri="{FF2B5EF4-FFF2-40B4-BE49-F238E27FC236}">
                  <a16:creationId xmlns:a16="http://schemas.microsoft.com/office/drawing/2014/main" id="{8700518B-8F44-41BF-BD46-2311FE87625D}"/>
                </a:ext>
              </a:extLst>
            </p:cNvPr>
            <p:cNvSpPr/>
            <p:nvPr/>
          </p:nvSpPr>
          <p:spPr>
            <a:xfrm>
              <a:off x="2461485" y="3489713"/>
              <a:ext cx="334976" cy="278872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68" name="ïṩḷîḋê">
              <a:extLst>
                <a:ext uri="{FF2B5EF4-FFF2-40B4-BE49-F238E27FC236}">
                  <a16:creationId xmlns:a16="http://schemas.microsoft.com/office/drawing/2014/main" id="{EF4B8F51-B025-4075-B059-BAC60EA797D4}"/>
                </a:ext>
              </a:extLst>
            </p:cNvPr>
            <p:cNvSpPr/>
            <p:nvPr/>
          </p:nvSpPr>
          <p:spPr>
            <a:xfrm>
              <a:off x="5198908" y="2990001"/>
              <a:ext cx="1794185" cy="415768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600" u="sng" dirty="0"/>
                <a:t>Text here. </a:t>
              </a:r>
            </a:p>
          </p:txBody>
        </p:sp>
        <p:sp>
          <p:nvSpPr>
            <p:cNvPr id="69" name="ïṩľiḓé">
              <a:extLst>
                <a:ext uri="{FF2B5EF4-FFF2-40B4-BE49-F238E27FC236}">
                  <a16:creationId xmlns:a16="http://schemas.microsoft.com/office/drawing/2014/main" id="{225FC258-6A89-42D4-8D5E-66604A193F92}"/>
                </a:ext>
              </a:extLst>
            </p:cNvPr>
            <p:cNvSpPr/>
            <p:nvPr/>
          </p:nvSpPr>
          <p:spPr>
            <a:xfrm>
              <a:off x="5198908" y="3405769"/>
              <a:ext cx="1794185" cy="44676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zh-CN" altLang="en-US" sz="1600" dirty="0"/>
            </a:p>
          </p:txBody>
        </p:sp>
        <p:sp>
          <p:nvSpPr>
            <p:cNvPr id="70" name="íṡľïḑè">
              <a:extLst>
                <a:ext uri="{FF2B5EF4-FFF2-40B4-BE49-F238E27FC236}">
                  <a16:creationId xmlns:a16="http://schemas.microsoft.com/office/drawing/2014/main" id="{51848E5D-4537-47D7-90D1-511AD0B71668}"/>
                </a:ext>
              </a:extLst>
            </p:cNvPr>
            <p:cNvSpPr txBox="1"/>
            <p:nvPr/>
          </p:nvSpPr>
          <p:spPr>
            <a:xfrm>
              <a:off x="4663186" y="3991449"/>
              <a:ext cx="2865629" cy="1041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71" name="íṧḻïḍè">
              <a:extLst>
                <a:ext uri="{FF2B5EF4-FFF2-40B4-BE49-F238E27FC236}">
                  <a16:creationId xmlns:a16="http://schemas.microsoft.com/office/drawing/2014/main" id="{33979753-357A-4A89-A570-AB98B1D5E7BA}"/>
                </a:ext>
              </a:extLst>
            </p:cNvPr>
            <p:cNvSpPr/>
            <p:nvPr/>
          </p:nvSpPr>
          <p:spPr>
            <a:xfrm>
              <a:off x="5934016" y="3481629"/>
              <a:ext cx="323968" cy="295042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2" name="ïs1iḍé">
              <a:extLst>
                <a:ext uri="{FF2B5EF4-FFF2-40B4-BE49-F238E27FC236}">
                  <a16:creationId xmlns:a16="http://schemas.microsoft.com/office/drawing/2014/main" id="{EF4B8F51-B025-4075-B059-BAC60EA797D4}"/>
                </a:ext>
              </a:extLst>
            </p:cNvPr>
            <p:cNvSpPr/>
            <p:nvPr/>
          </p:nvSpPr>
          <p:spPr>
            <a:xfrm>
              <a:off x="8665934" y="2990001"/>
              <a:ext cx="1794185" cy="415768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600" u="sng" dirty="0"/>
                <a:t>Text here. </a:t>
              </a:r>
            </a:p>
          </p:txBody>
        </p:sp>
        <p:sp>
          <p:nvSpPr>
            <p:cNvPr id="73" name="ï$ļîdè">
              <a:extLst>
                <a:ext uri="{FF2B5EF4-FFF2-40B4-BE49-F238E27FC236}">
                  <a16:creationId xmlns:a16="http://schemas.microsoft.com/office/drawing/2014/main" id="{225FC258-6A89-42D4-8D5E-66604A193F92}"/>
                </a:ext>
              </a:extLst>
            </p:cNvPr>
            <p:cNvSpPr/>
            <p:nvPr/>
          </p:nvSpPr>
          <p:spPr>
            <a:xfrm>
              <a:off x="8665934" y="3405769"/>
              <a:ext cx="1794185" cy="44676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zh-CN" altLang="en-US" sz="1600" dirty="0"/>
            </a:p>
          </p:txBody>
        </p:sp>
        <p:sp>
          <p:nvSpPr>
            <p:cNvPr id="74" name="îSḻídé">
              <a:extLst>
                <a:ext uri="{FF2B5EF4-FFF2-40B4-BE49-F238E27FC236}">
                  <a16:creationId xmlns:a16="http://schemas.microsoft.com/office/drawing/2014/main" id="{51848E5D-4537-47D7-90D1-511AD0B71668}"/>
                </a:ext>
              </a:extLst>
            </p:cNvPr>
            <p:cNvSpPr txBox="1"/>
            <p:nvPr/>
          </p:nvSpPr>
          <p:spPr>
            <a:xfrm>
              <a:off x="8130212" y="3991449"/>
              <a:ext cx="2865629" cy="1041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75" name="í$lîdé">
              <a:extLst>
                <a:ext uri="{FF2B5EF4-FFF2-40B4-BE49-F238E27FC236}">
                  <a16:creationId xmlns:a16="http://schemas.microsoft.com/office/drawing/2014/main" id="{51848E5D-4537-47D7-90D1-511AD0B71668}"/>
                </a:ext>
              </a:extLst>
            </p:cNvPr>
            <p:cNvSpPr txBox="1"/>
            <p:nvPr/>
          </p:nvSpPr>
          <p:spPr>
            <a:xfrm>
              <a:off x="8130212" y="5105087"/>
              <a:ext cx="2865629" cy="1041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76" name="îṧľîdê">
              <a:extLst>
                <a:ext uri="{FF2B5EF4-FFF2-40B4-BE49-F238E27FC236}">
                  <a16:creationId xmlns:a16="http://schemas.microsoft.com/office/drawing/2014/main" id="{90FBB661-8819-4422-849C-5CD80A58532E}"/>
                </a:ext>
              </a:extLst>
            </p:cNvPr>
            <p:cNvSpPr/>
            <p:nvPr/>
          </p:nvSpPr>
          <p:spPr>
            <a:xfrm>
              <a:off x="9407828" y="3505565"/>
              <a:ext cx="310398" cy="247168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971507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5c129978-1ed4-4bff-bbf1-0348d1a757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5;#438741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2;#438745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7;#438746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41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4;#438745;#438747;#438746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77794;"/>
  <p:tag name="ISLIDE.ICON" val="#438750;#438748;#438746;#438744;#438749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3;#438747;#438750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41;#438742;#438743;#438745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5;#438741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42;#438741;#438743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2;#438762;#438741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8169;#420270;#420271;#420272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7;#438746;#438750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674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63;#438768;#438742;#438743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477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#438746;#438741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5;#438747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#438747;#438741;#438745;#438748;#438744;#438746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090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1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1;#438742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FE5A2C"/>
      </a:accent2>
      <a:accent3>
        <a:srgbClr val="5063F8"/>
      </a:accent3>
      <a:accent4>
        <a:srgbClr val="A6B3CB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2027</Words>
  <Application>Microsoft Office PowerPoint</Application>
  <PresentationFormat>宽屏</PresentationFormat>
  <Paragraphs>436</Paragraphs>
  <Slides>2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3" baseType="lpstr">
      <vt:lpstr>等线</vt:lpstr>
      <vt:lpstr>字魂111号-金榜招牌体</vt:lpstr>
      <vt:lpstr>Arial</vt:lpstr>
      <vt:lpstr>Calibri</vt:lpstr>
      <vt:lpstr>主题5</vt:lpstr>
      <vt:lpstr>think-cell Slide</vt:lpstr>
      <vt:lpstr>华中科技大学通用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华中科技大学论文答辩通用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4</cp:revision>
  <cp:lastPrinted>2020-09-09T16:00:00Z</cp:lastPrinted>
  <dcterms:created xsi:type="dcterms:W3CDTF">2020-09-09T16:00:00Z</dcterms:created>
  <dcterms:modified xsi:type="dcterms:W3CDTF">2024-09-15T02:56:02Z</dcterms:modified>
  <cp:contentStatus>华中科技大学论文答辩通用PPT模板，www.51pptmoban.com</cp:contentStatus>
  <cp:version>51pptmoban.com（V51PPT-24050901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5c129978-1ed4-4bff-bbf1-0348d1a75716</vt:lpwstr>
  </property>
</Properties>
</file>